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2.xml" ContentType="application/vnd.openxmlformats-officedocument.presentationml.notesSlide+xml"/>
  <Override PartName="/ppt/tags/tag99.xml" ContentType="application/vnd.openxmlformats-officedocument.presentationml.tags+xml"/>
  <Override PartName="/ppt/notesSlides/notesSlide13.xml" ContentType="application/vnd.openxmlformats-officedocument.presentationml.notesSlide+xml"/>
  <Override PartName="/ppt/tags/tag10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6"/>
  </p:notesMasterIdLst>
  <p:handoutMasterIdLst>
    <p:handoutMasterId r:id="rId17"/>
  </p:handoutMasterIdLst>
  <p:sldIdLst>
    <p:sldId id="263" r:id="rId2"/>
    <p:sldId id="269" r:id="rId3"/>
    <p:sldId id="260" r:id="rId4"/>
    <p:sldId id="268" r:id="rId5"/>
    <p:sldId id="276" r:id="rId6"/>
    <p:sldId id="264" r:id="rId7"/>
    <p:sldId id="265" r:id="rId8"/>
    <p:sldId id="274" r:id="rId9"/>
    <p:sldId id="277" r:id="rId10"/>
    <p:sldId id="275" r:id="rId11"/>
    <p:sldId id="271" r:id="rId12"/>
    <p:sldId id="273" r:id="rId13"/>
    <p:sldId id="272" r:id="rId14"/>
    <p:sldId id="261" r:id="rId15"/>
  </p:sldIdLst>
  <p:sldSz cx="12192000" cy="6858000"/>
  <p:notesSz cx="6950075" cy="9236075"/>
  <p:custShowLst>
    <p:custShow name="Format Guide Workshop" id="0">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527083"/>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53" autoAdjust="0"/>
    <p:restoredTop sz="85748" autoAdjust="0"/>
  </p:normalViewPr>
  <p:slideViewPr>
    <p:cSldViewPr snapToGrid="0">
      <p:cViewPr varScale="1">
        <p:scale>
          <a:sx n="92" d="100"/>
          <a:sy n="92" d="100"/>
        </p:scale>
        <p:origin x="1048"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 Welcome and roll into intro</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533339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Andrew – talks to Sankey creation and issues working with the formatting.</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538169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 Our goal was to show the flight paths for the top 3 people carriers, hoping to highlight any deficiencies for Delta to capture. Once the data was cleaned up, it became a matter of pulling the airport names. Separating out each flight path according to the airline and mapping all that using overlays to show the different airlines based on color. We settled on using Leaflet to utilize the overlays and legend functionality for easy display.</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71632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and Ivan – We tackled this mess in a few different ways but ended with Leaflet.  Here is an example showing Delta flight paths. Each airport location has a name pop-up associated to it’s location.</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648254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036565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err="1"/>
              <a:t>Javascript</a:t>
            </a:r>
            <a:r>
              <a:rPr lang="en-US" dirty="0"/>
              <a:t> was a beast and we appreciate the experience. Very much looking forward to diving into Tableau! Thank you.</a:t>
            </a:r>
          </a:p>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95199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 Intro – still working on this one.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02057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 brief mention of the types of charts we will show but first, the creating of the data. Turn over to Jae/Ivan.</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980741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Jae and Ivan – speak to the creation of our data and pieces to get to the plotting phase. Mention the types of plots we used, maybe mention the types of plots we tried (D3). Mention Dipika’s library but leave it to her to tell the story when it’s her turn.</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792534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el or Jae can speak if this screen shot is needed. Showing site layout in case we have technical issues. *Animations included-clicker can be used-shows the site as if we scrolled (animations with mac are different than PC, did my best).</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026338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Jae – brief description of data pull. Note the separation of each airline as it’s key to most charts/map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566666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Dipika – notes on your fun quest on the library, you can mention the hard coding of revenue since that wasn’t part of the initial pull. Apex library for the YOY revenue and </a:t>
            </a:r>
            <a:r>
              <a:rPr lang="en-US" dirty="0" err="1"/>
              <a:t>plotly</a:t>
            </a:r>
            <a:r>
              <a:rPr lang="en-US" dirty="0"/>
              <a:t> for quarterly/needing to build 3 separate variables to pull the full chart together…</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07526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Image shows hover information</a:t>
            </a:r>
          </a:p>
          <a:p>
            <a:r>
              <a:rPr lang="en-US" dirty="0"/>
              <a:t>Results of revenue chart code</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858577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Andrew – talk about Sankey and the requirements to build the chart.</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9543319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6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4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ightingMongoos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ightingMongoos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4.xml"/><Relationship Id="rId7" Type="http://schemas.openxmlformats.org/officeDocument/2006/relationships/image" Target="../media/image20.emf"/><Relationship Id="rId2" Type="http://schemas.openxmlformats.org/officeDocument/2006/relationships/tags" Target="../tags/tag93.xml"/><Relationship Id="rId1" Type="http://schemas.openxmlformats.org/officeDocument/2006/relationships/vmlDrawing" Target="../drawings/vmlDrawing26.vml"/><Relationship Id="rId6" Type="http://schemas.openxmlformats.org/officeDocument/2006/relationships/oleObject" Target="../embeddings/oleObject25.bin"/><Relationship Id="rId5" Type="http://schemas.openxmlformats.org/officeDocument/2006/relationships/notesSlide" Target="../notesSlides/notesSlide10.xml"/><Relationship Id="rId10" Type="http://schemas.openxmlformats.org/officeDocument/2006/relationships/image" Target="../media/image27.png"/><Relationship Id="rId4" Type="http://schemas.openxmlformats.org/officeDocument/2006/relationships/slideLayout" Target="../slideLayouts/slideLayout30.xml"/><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11.xml"/><Relationship Id="rId10" Type="http://schemas.openxmlformats.org/officeDocument/2006/relationships/image" Target="../media/image30.png"/><Relationship Id="rId4" Type="http://schemas.openxmlformats.org/officeDocument/2006/relationships/slideLayout" Target="../slideLayouts/slideLayout30.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8.xml"/><Relationship Id="rId7" Type="http://schemas.openxmlformats.org/officeDocument/2006/relationships/oleObject" Target="../embeddings/oleObject26.bin"/><Relationship Id="rId2" Type="http://schemas.openxmlformats.org/officeDocument/2006/relationships/tags" Target="../tags/tag97.xml"/><Relationship Id="rId1" Type="http://schemas.openxmlformats.org/officeDocument/2006/relationships/vmlDrawing" Target="../drawings/vmlDrawing28.vml"/><Relationship Id="rId6" Type="http://schemas.openxmlformats.org/officeDocument/2006/relationships/image" Target="../media/image31.png"/><Relationship Id="rId5" Type="http://schemas.openxmlformats.org/officeDocument/2006/relationships/notesSlide" Target="../notesSlides/notesSlide12.xml"/><Relationship Id="rId10" Type="http://schemas.openxmlformats.org/officeDocument/2006/relationships/image" Target="../media/image33.png"/><Relationship Id="rId4" Type="http://schemas.openxmlformats.org/officeDocument/2006/relationships/slideLayout" Target="../slideLayouts/slideLayout30.xml"/><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image" Target="../media/image34.jp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slideLayout" Target="../slideLayouts/slideLayout25.xml"/><Relationship Id="rId7" Type="http://schemas.openxmlformats.org/officeDocument/2006/relationships/image" Target="../media/image35.png"/><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notesSlide" Target="../notesSlides/notesSlide14.xml"/><Relationship Id="rId9" Type="http://schemas.openxmlformats.org/officeDocument/2006/relationships/image" Target="../media/image37.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hyperlink" Target="https://www.worldatlas.com/articles/the-world-s-largest-airlines-by-passengers-carried.html" TargetMode="Externa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hyperlink" Target="https://openflights.org/data.html" TargetMode="External"/><Relationship Id="rId2" Type="http://schemas.openxmlformats.org/officeDocument/2006/relationships/tags" Target="../tags/tag84.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1.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86.xml"/><Relationship Id="rId7" Type="http://schemas.openxmlformats.org/officeDocument/2006/relationships/image" Target="../media/image10.emf"/><Relationship Id="rId2" Type="http://schemas.openxmlformats.org/officeDocument/2006/relationships/tags" Target="../tags/tag8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6.xml"/><Relationship Id="rId4" Type="http://schemas.openxmlformats.org/officeDocument/2006/relationships/slideLayout" Target="../slideLayouts/slideLayout30.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7.xml"/><Relationship Id="rId4" Type="http://schemas.openxmlformats.org/officeDocument/2006/relationships/slideLayout" Target="../slideLayouts/slideLayout30.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0.xml"/><Relationship Id="rId7" Type="http://schemas.openxmlformats.org/officeDocument/2006/relationships/image" Target="../media/image10.emf"/><Relationship Id="rId2" Type="http://schemas.openxmlformats.org/officeDocument/2006/relationships/tags" Target="../tags/tag89.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8.xml"/><Relationship Id="rId10" Type="http://schemas.openxmlformats.org/officeDocument/2006/relationships/hyperlink" Target="https://www.macrotrends.net/" TargetMode="External"/><Relationship Id="rId4" Type="http://schemas.openxmlformats.org/officeDocument/2006/relationships/slideLayout" Target="../slideLayouts/slideLayout30.xm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2.xml"/><Relationship Id="rId7" Type="http://schemas.openxmlformats.org/officeDocument/2006/relationships/image" Target="../media/image20.emf"/><Relationship Id="rId12" Type="http://schemas.openxmlformats.org/officeDocument/2006/relationships/hyperlink" Target="http://vizdiff.blogspot.com/2018/12/creating-sankey-chart-as-easy-as-1-2-3.html#!/2018/12/creating-sankey-chart-as-easy-as-1-2-3.html" TargetMode="External"/><Relationship Id="rId2" Type="http://schemas.openxmlformats.org/officeDocument/2006/relationships/tags" Target="../tags/tag91.xml"/><Relationship Id="rId1" Type="http://schemas.openxmlformats.org/officeDocument/2006/relationships/vmlDrawing" Target="../drawings/vmlDrawing25.vml"/><Relationship Id="rId6" Type="http://schemas.openxmlformats.org/officeDocument/2006/relationships/oleObject" Target="../embeddings/oleObject24.bin"/><Relationship Id="rId11" Type="http://schemas.openxmlformats.org/officeDocument/2006/relationships/image" Target="../media/image24.jpg"/><Relationship Id="rId5" Type="http://schemas.openxmlformats.org/officeDocument/2006/relationships/notesSlide" Target="../notesSlides/notesSlide9.xml"/><Relationship Id="rId10" Type="http://schemas.openxmlformats.org/officeDocument/2006/relationships/image" Target="../media/image23.jpg"/><Relationship Id="rId4" Type="http://schemas.openxmlformats.org/officeDocument/2006/relationships/slideLayout" Target="../slideLayouts/slideLayout30.xml"/><Relationship Id="rId9" Type="http://schemas.openxmlformats.org/officeDocument/2006/relationships/image" Target="../media/image22.jp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100000">
              <a:srgbClr val="527083"/>
            </a:gs>
            <a:gs pos="0">
              <a:schemeClr val="accent2"/>
            </a:gs>
          </a:gsLst>
          <a:lin ang="8100000" scaled="1"/>
        </a:gradFill>
        <a:effectLst/>
      </p:bgPr>
    </p:bg>
    <p:spTree>
      <p:nvGrpSpPr>
        <p:cNvPr id="1" name=""/>
        <p:cNvGrpSpPr/>
        <p:nvPr/>
      </p:nvGrpSpPr>
      <p:grpSpPr>
        <a:xfrm>
          <a:off x="0" y="0"/>
          <a:ext cx="0" cy="0"/>
          <a:chOff x="0" y="0"/>
          <a:chExt cx="0" cy="0"/>
        </a:xfrm>
      </p:grpSpPr>
      <p:sp>
        <p:nvSpPr>
          <p:cNvPr id="2" name="TextBox 1"/>
          <p:cNvSpPr txBox="1"/>
          <p:nvPr/>
        </p:nvSpPr>
        <p:spPr>
          <a:xfrm>
            <a:off x="1965960" y="2209800"/>
            <a:ext cx="8823960" cy="1676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dirty="0">
                <a:solidFill>
                  <a:schemeClr val="bg1"/>
                </a:solidFill>
              </a:rPr>
              <a:t>Airline Industry Key Players Analysis</a:t>
            </a:r>
          </a:p>
        </p:txBody>
      </p:sp>
      <p:sp>
        <p:nvSpPr>
          <p:cNvPr id="3" name="TextBox 2"/>
          <p:cNvSpPr txBox="1"/>
          <p:nvPr/>
        </p:nvSpPr>
        <p:spPr>
          <a:xfrm>
            <a:off x="4828032" y="4949952"/>
            <a:ext cx="7071360" cy="1804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dirty="0">
                <a:solidFill>
                  <a:schemeClr val="bg1">
                    <a:alpha val="52000"/>
                  </a:schemeClr>
                </a:solidFill>
              </a:rPr>
              <a:t>Ivan </a:t>
            </a:r>
            <a:r>
              <a:rPr lang="en-US" dirty="0" err="1">
                <a:solidFill>
                  <a:schemeClr val="bg1">
                    <a:alpha val="52000"/>
                  </a:schemeClr>
                </a:solidFill>
              </a:rPr>
              <a:t>Escalona-Faria</a:t>
            </a:r>
            <a:endParaRPr lang="en-US" dirty="0">
              <a:solidFill>
                <a:schemeClr val="bg1">
                  <a:alpha val="52000"/>
                </a:schemeClr>
              </a:solidFill>
            </a:endParaRPr>
          </a:p>
          <a:p>
            <a:pPr algn="r"/>
            <a:r>
              <a:rPr lang="en-US" dirty="0">
                <a:solidFill>
                  <a:schemeClr val="bg1">
                    <a:alpha val="52000"/>
                  </a:schemeClr>
                </a:solidFill>
              </a:rPr>
              <a:t> Andrew Josephson</a:t>
            </a:r>
          </a:p>
          <a:p>
            <a:pPr algn="r"/>
            <a:r>
              <a:rPr lang="en-US" dirty="0">
                <a:solidFill>
                  <a:schemeClr val="bg1">
                    <a:alpha val="52000"/>
                  </a:schemeClr>
                </a:solidFill>
              </a:rPr>
              <a:t>Dipika Kumar</a:t>
            </a:r>
          </a:p>
          <a:p>
            <a:pPr algn="r"/>
            <a:r>
              <a:rPr lang="en-US" dirty="0">
                <a:solidFill>
                  <a:schemeClr val="bg1">
                    <a:alpha val="52000"/>
                  </a:schemeClr>
                </a:solidFill>
              </a:rPr>
              <a:t>Jae-Lee</a:t>
            </a:r>
          </a:p>
          <a:p>
            <a:pPr algn="r"/>
            <a:r>
              <a:rPr lang="en-US" dirty="0">
                <a:solidFill>
                  <a:schemeClr val="bg1">
                    <a:alpha val="52000"/>
                  </a:schemeClr>
                </a:solidFill>
              </a:rPr>
              <a:t> Heloisa Walsh</a:t>
            </a:r>
          </a:p>
        </p:txBody>
      </p:sp>
    </p:spTree>
    <p:extLst>
      <p:ext uri="{BB962C8B-B14F-4D97-AF65-F5344CB8AC3E}">
        <p14:creationId xmlns:p14="http://schemas.microsoft.com/office/powerpoint/2010/main" val="1409984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0" name="think-cell Slide" r:id="rId6" imgW="338" imgH="338" progId="TCLayout.ActiveDocument.1">
                  <p:embed/>
                </p:oleObj>
              </mc:Choice>
              <mc:Fallback>
                <p:oleObj name="think-cell Slide" r:id="rId6" imgW="338" imgH="338"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solidFill>
                  <a:schemeClr val="accent6">
                    <a:lumMod val="75000"/>
                  </a:schemeClr>
                </a:solidFill>
              </a:rPr>
              <a:t>Top destinations</a:t>
            </a:r>
          </a:p>
        </p:txBody>
      </p:sp>
      <p:sp>
        <p:nvSpPr>
          <p:cNvPr id="597" name="Freeform 596"/>
          <p:cNvSpPr>
            <a:spLocks/>
          </p:cNvSpPr>
          <p:nvPr/>
        </p:nvSpPr>
        <p:spPr bwMode="auto">
          <a:xfrm>
            <a:off x="12504737" y="2807949"/>
            <a:ext cx="70970" cy="40745"/>
          </a:xfrm>
          <a:custGeom>
            <a:avLst/>
            <a:gdLst>
              <a:gd name="T0" fmla="*/ 4026 w 69"/>
              <a:gd name="T1" fmla="*/ 8379 h 36"/>
              <a:gd name="T2" fmla="*/ 4026 w 69"/>
              <a:gd name="T3" fmla="*/ 4189 h 36"/>
              <a:gd name="T4" fmla="*/ 0 w 69"/>
              <a:gd name="T5" fmla="*/ 4189 h 36"/>
              <a:gd name="T6" fmla="*/ 4026 w 69"/>
              <a:gd name="T7" fmla="*/ 4189 h 36"/>
              <a:gd name="T8" fmla="*/ 4026 w 69"/>
              <a:gd name="T9" fmla="*/ 0 h 36"/>
              <a:gd name="T10" fmla="*/ 7247 w 69"/>
              <a:gd name="T11" fmla="*/ 0 h 36"/>
              <a:gd name="T12" fmla="*/ 7247 w 69"/>
              <a:gd name="T13" fmla="*/ 4189 h 36"/>
              <a:gd name="T14" fmla="*/ 10468 w 69"/>
              <a:gd name="T15" fmla="*/ 4189 h 36"/>
              <a:gd name="T16" fmla="*/ 14495 w 69"/>
              <a:gd name="T17" fmla="*/ 4189 h 36"/>
              <a:gd name="T18" fmla="*/ 10468 w 69"/>
              <a:gd name="T19" fmla="*/ 4189 h 36"/>
              <a:gd name="T20" fmla="*/ 7247 w 69"/>
              <a:gd name="T21" fmla="*/ 8379 h 36"/>
              <a:gd name="T22" fmla="*/ 4026 w 69"/>
              <a:gd name="T23" fmla="*/ 837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599" name="Freeform 598"/>
          <p:cNvSpPr>
            <a:spLocks/>
          </p:cNvSpPr>
          <p:nvPr/>
        </p:nvSpPr>
        <p:spPr bwMode="auto">
          <a:xfrm>
            <a:off x="11419925" y="4208285"/>
            <a:ext cx="178436" cy="205868"/>
          </a:xfrm>
          <a:custGeom>
            <a:avLst/>
            <a:gdLst>
              <a:gd name="T0" fmla="*/ 0 w 175"/>
              <a:gd name="T1" fmla="*/ 28575 h 192"/>
              <a:gd name="T2" fmla="*/ 0 w 175"/>
              <a:gd name="T3" fmla="*/ 28575 h 192"/>
              <a:gd name="T4" fmla="*/ 0 w 175"/>
              <a:gd name="T5" fmla="*/ 31750 h 192"/>
              <a:gd name="T6" fmla="*/ 3991 w 175"/>
              <a:gd name="T7" fmla="*/ 31750 h 192"/>
              <a:gd name="T8" fmla="*/ 20755 w 175"/>
              <a:gd name="T9" fmla="*/ 31750 h 192"/>
              <a:gd name="T10" fmla="*/ 20755 w 175"/>
              <a:gd name="T11" fmla="*/ 34925 h 192"/>
              <a:gd name="T12" fmla="*/ 17562 w 175"/>
              <a:gd name="T13" fmla="*/ 34925 h 192"/>
              <a:gd name="T14" fmla="*/ 20755 w 175"/>
              <a:gd name="T15" fmla="*/ 34925 h 192"/>
              <a:gd name="T16" fmla="*/ 24747 w 175"/>
              <a:gd name="T17" fmla="*/ 31750 h 192"/>
              <a:gd name="T18" fmla="*/ 27940 w 175"/>
              <a:gd name="T19" fmla="*/ 31750 h 192"/>
              <a:gd name="T20" fmla="*/ 27940 w 175"/>
              <a:gd name="T21" fmla="*/ 34925 h 192"/>
              <a:gd name="T22" fmla="*/ 31931 w 175"/>
              <a:gd name="T23" fmla="*/ 34925 h 192"/>
              <a:gd name="T24" fmla="*/ 31931 w 175"/>
              <a:gd name="T25" fmla="*/ 38100 h 192"/>
              <a:gd name="T26" fmla="*/ 35125 w 175"/>
              <a:gd name="T27" fmla="*/ 38100 h 192"/>
              <a:gd name="T28" fmla="*/ 35125 w 175"/>
              <a:gd name="T29" fmla="*/ 31750 h 192"/>
              <a:gd name="T30" fmla="*/ 31931 w 175"/>
              <a:gd name="T31" fmla="*/ 31750 h 192"/>
              <a:gd name="T32" fmla="*/ 35125 w 175"/>
              <a:gd name="T33" fmla="*/ 28575 h 192"/>
              <a:gd name="T34" fmla="*/ 31931 w 175"/>
              <a:gd name="T35" fmla="*/ 31750 h 192"/>
              <a:gd name="T36" fmla="*/ 27940 w 175"/>
              <a:gd name="T37" fmla="*/ 28575 h 192"/>
              <a:gd name="T38" fmla="*/ 35125 w 175"/>
              <a:gd name="T39" fmla="*/ 22225 h 192"/>
              <a:gd name="T40" fmla="*/ 31931 w 175"/>
              <a:gd name="T41" fmla="*/ 24606 h 192"/>
              <a:gd name="T42" fmla="*/ 27940 w 175"/>
              <a:gd name="T43" fmla="*/ 22225 h 192"/>
              <a:gd name="T44" fmla="*/ 31931 w 175"/>
              <a:gd name="T45" fmla="*/ 19050 h 192"/>
              <a:gd name="T46" fmla="*/ 20755 w 175"/>
              <a:gd name="T47" fmla="*/ 19050 h 192"/>
              <a:gd name="T48" fmla="*/ 17562 w 175"/>
              <a:gd name="T49" fmla="*/ 15875 h 192"/>
              <a:gd name="T50" fmla="*/ 20755 w 175"/>
              <a:gd name="T51" fmla="*/ 12700 h 192"/>
              <a:gd name="T52" fmla="*/ 17562 w 175"/>
              <a:gd name="T53" fmla="*/ 12700 h 192"/>
              <a:gd name="T54" fmla="*/ 14369 w 175"/>
              <a:gd name="T55" fmla="*/ 15875 h 192"/>
              <a:gd name="T56" fmla="*/ 20755 w 175"/>
              <a:gd name="T57" fmla="*/ 0 h 192"/>
              <a:gd name="T58" fmla="*/ 14369 w 175"/>
              <a:gd name="T59" fmla="*/ 3175 h 192"/>
              <a:gd name="T60" fmla="*/ 3991 w 175"/>
              <a:gd name="T61" fmla="*/ 22225 h 192"/>
              <a:gd name="T62" fmla="*/ 3991 w 175"/>
              <a:gd name="T63" fmla="*/ 24606 h 192"/>
              <a:gd name="T64" fmla="*/ 0 w 175"/>
              <a:gd name="T65" fmla="*/ 28575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653" name="Freeform 652"/>
          <p:cNvSpPr>
            <a:spLocks/>
          </p:cNvSpPr>
          <p:nvPr/>
        </p:nvSpPr>
        <p:spPr bwMode="auto">
          <a:xfrm>
            <a:off x="13334062" y="2599937"/>
            <a:ext cx="36498" cy="40745"/>
          </a:xfrm>
          <a:custGeom>
            <a:avLst/>
            <a:gdLst>
              <a:gd name="T0" fmla="*/ 3969 w 36"/>
              <a:gd name="T1" fmla="*/ 0 h 36"/>
              <a:gd name="T2" fmla="*/ 3969 w 36"/>
              <a:gd name="T3" fmla="*/ 4189 h 36"/>
              <a:gd name="T4" fmla="*/ 7144 w 36"/>
              <a:gd name="T5" fmla="*/ 8379 h 36"/>
              <a:gd name="T6" fmla="*/ 3969 w 36"/>
              <a:gd name="T7" fmla="*/ 4189 h 36"/>
              <a:gd name="T8" fmla="*/ 0 w 36"/>
              <a:gd name="T9" fmla="*/ 4189 h 36"/>
              <a:gd name="T10" fmla="*/ 396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714" name="Freeform 713"/>
          <p:cNvSpPr>
            <a:spLocks/>
          </p:cNvSpPr>
          <p:nvPr/>
        </p:nvSpPr>
        <p:spPr bwMode="auto">
          <a:xfrm>
            <a:off x="12598011" y="5029613"/>
            <a:ext cx="20277" cy="17156"/>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716" name="Freeform 715"/>
          <p:cNvSpPr>
            <a:spLocks/>
          </p:cNvSpPr>
          <p:nvPr/>
        </p:nvSpPr>
        <p:spPr bwMode="auto">
          <a:xfrm>
            <a:off x="12671007" y="5029613"/>
            <a:ext cx="14194" cy="17156"/>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pic>
        <p:nvPicPr>
          <p:cNvPr id="6" name="Picture 5">
            <a:extLst>
              <a:ext uri="{FF2B5EF4-FFF2-40B4-BE49-F238E27FC236}">
                <a16:creationId xmlns:a16="http://schemas.microsoft.com/office/drawing/2014/main" id="{072B1A00-E255-5B45-977A-125E65827678}"/>
              </a:ext>
            </a:extLst>
          </p:cNvPr>
          <p:cNvPicPr>
            <a:picLocks noChangeAspect="1"/>
          </p:cNvPicPr>
          <p:nvPr/>
        </p:nvPicPr>
        <p:blipFill>
          <a:blip r:embed="rId8"/>
          <a:stretch>
            <a:fillRect/>
          </a:stretch>
        </p:blipFill>
        <p:spPr>
          <a:xfrm>
            <a:off x="198716" y="1384151"/>
            <a:ext cx="11794567" cy="3792911"/>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3F7405A1-D6D2-E547-9438-BC5BF8927AB9}"/>
              </a:ext>
            </a:extLst>
          </p:cNvPr>
          <p:cNvPicPr>
            <a:picLocks noChangeAspect="1"/>
          </p:cNvPicPr>
          <p:nvPr/>
        </p:nvPicPr>
        <p:blipFill>
          <a:blip r:embed="rId9"/>
          <a:stretch>
            <a:fillRect/>
          </a:stretch>
        </p:blipFill>
        <p:spPr>
          <a:xfrm>
            <a:off x="6166464" y="927810"/>
            <a:ext cx="5169746" cy="5930190"/>
          </a:xfrm>
          <a:prstGeom prst="rect">
            <a:avLst/>
          </a:prstGeom>
        </p:spPr>
      </p:pic>
      <p:pic>
        <p:nvPicPr>
          <p:cNvPr id="10" name="Picture 9">
            <a:extLst>
              <a:ext uri="{FF2B5EF4-FFF2-40B4-BE49-F238E27FC236}">
                <a16:creationId xmlns:a16="http://schemas.microsoft.com/office/drawing/2014/main" id="{63AB1115-D8D3-454D-A219-00F2B7B2242A}"/>
              </a:ext>
            </a:extLst>
          </p:cNvPr>
          <p:cNvPicPr>
            <a:picLocks noChangeAspect="1"/>
          </p:cNvPicPr>
          <p:nvPr/>
        </p:nvPicPr>
        <p:blipFill>
          <a:blip r:embed="rId10"/>
          <a:stretch>
            <a:fillRect/>
          </a:stretch>
        </p:blipFill>
        <p:spPr>
          <a:xfrm>
            <a:off x="1055077" y="927810"/>
            <a:ext cx="5169746" cy="5930190"/>
          </a:xfrm>
          <a:prstGeom prst="rect">
            <a:avLst/>
          </a:prstGeom>
        </p:spPr>
      </p:pic>
    </p:spTree>
    <p:extLst>
      <p:ext uri="{BB962C8B-B14F-4D97-AF65-F5344CB8AC3E}">
        <p14:creationId xmlns:p14="http://schemas.microsoft.com/office/powerpoint/2010/main" val="1293090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par>
                                <p:cTn id="8" presetID="9" presetClass="exit" presetSubtype="0" fill="hold" nodeType="withEffect">
                                  <p:stCondLst>
                                    <p:cond delay="0"/>
                                  </p:stCondLst>
                                  <p:childTnLst>
                                    <p:animEffect transition="out" filter="dissolv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9"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6123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30"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chemeClr val="accent6">
                    <a:lumMod val="75000"/>
                  </a:schemeClr>
                </a:solidFill>
              </a:rPr>
              <a:t>Flight paths</a:t>
            </a:r>
          </a:p>
        </p:txBody>
      </p:sp>
      <p:grpSp>
        <p:nvGrpSpPr>
          <p:cNvPr id="116" name="Group 115"/>
          <p:cNvGrpSpPr/>
          <p:nvPr/>
        </p:nvGrpSpPr>
        <p:grpSpPr>
          <a:xfrm>
            <a:off x="4144518" y="1392521"/>
            <a:ext cx="6276141" cy="4721515"/>
            <a:chOff x="4573588" y="4098926"/>
            <a:chExt cx="3153569" cy="2241482"/>
          </a:xfrm>
        </p:grpSpPr>
        <p:sp>
          <p:nvSpPr>
            <p:cNvPr id="30" name="Freeform 735">
              <a:extLst>
                <a:ext uri="{FF2B5EF4-FFF2-40B4-BE49-F238E27FC236}">
                  <a16:creationId xmlns:a16="http://schemas.microsoft.com/office/drawing/2014/main" id="{B507BD3B-7D59-4553-B2B7-44A391DC7BDC}"/>
                </a:ext>
              </a:extLst>
            </p:cNvPr>
            <p:cNvSpPr>
              <a:spLocks/>
            </p:cNvSpPr>
            <p:nvPr/>
          </p:nvSpPr>
          <p:spPr bwMode="auto">
            <a:xfrm>
              <a:off x="7646194" y="4130676"/>
              <a:ext cx="80963" cy="38100"/>
            </a:xfrm>
            <a:custGeom>
              <a:avLst/>
              <a:gdLst>
                <a:gd name="T0" fmla="*/ 5 w 51"/>
                <a:gd name="T1" fmla="*/ 10 h 24"/>
                <a:gd name="T2" fmla="*/ 7 w 51"/>
                <a:gd name="T3" fmla="*/ 10 h 24"/>
                <a:gd name="T4" fmla="*/ 9 w 51"/>
                <a:gd name="T5" fmla="*/ 12 h 24"/>
                <a:gd name="T6" fmla="*/ 9 w 51"/>
                <a:gd name="T7" fmla="*/ 12 h 24"/>
                <a:gd name="T8" fmla="*/ 12 w 51"/>
                <a:gd name="T9" fmla="*/ 12 h 24"/>
                <a:gd name="T10" fmla="*/ 12 w 51"/>
                <a:gd name="T11" fmla="*/ 12 h 24"/>
                <a:gd name="T12" fmla="*/ 12 w 51"/>
                <a:gd name="T13" fmla="*/ 14 h 24"/>
                <a:gd name="T14" fmla="*/ 12 w 51"/>
                <a:gd name="T15" fmla="*/ 17 h 24"/>
                <a:gd name="T16" fmla="*/ 14 w 51"/>
                <a:gd name="T17" fmla="*/ 17 h 24"/>
                <a:gd name="T18" fmla="*/ 16 w 51"/>
                <a:gd name="T19" fmla="*/ 17 h 24"/>
                <a:gd name="T20" fmla="*/ 16 w 51"/>
                <a:gd name="T21" fmla="*/ 12 h 24"/>
                <a:gd name="T22" fmla="*/ 21 w 51"/>
                <a:gd name="T23" fmla="*/ 12 h 24"/>
                <a:gd name="T24" fmla="*/ 21 w 51"/>
                <a:gd name="T25" fmla="*/ 14 h 24"/>
                <a:gd name="T26" fmla="*/ 23 w 51"/>
                <a:gd name="T27" fmla="*/ 12 h 24"/>
                <a:gd name="T28" fmla="*/ 26 w 51"/>
                <a:gd name="T29" fmla="*/ 14 h 24"/>
                <a:gd name="T30" fmla="*/ 28 w 51"/>
                <a:gd name="T31" fmla="*/ 14 h 24"/>
                <a:gd name="T32" fmla="*/ 35 w 51"/>
                <a:gd name="T33" fmla="*/ 10 h 24"/>
                <a:gd name="T34" fmla="*/ 37 w 51"/>
                <a:gd name="T35" fmla="*/ 7 h 24"/>
                <a:gd name="T36" fmla="*/ 46 w 51"/>
                <a:gd name="T37" fmla="*/ 5 h 24"/>
                <a:gd name="T38" fmla="*/ 49 w 51"/>
                <a:gd name="T39" fmla="*/ 7 h 24"/>
                <a:gd name="T40" fmla="*/ 46 w 51"/>
                <a:gd name="T41" fmla="*/ 7 h 24"/>
                <a:gd name="T42" fmla="*/ 46 w 51"/>
                <a:gd name="T43" fmla="*/ 10 h 24"/>
                <a:gd name="T44" fmla="*/ 44 w 51"/>
                <a:gd name="T45" fmla="*/ 12 h 24"/>
                <a:gd name="T46" fmla="*/ 42 w 51"/>
                <a:gd name="T47" fmla="*/ 14 h 24"/>
                <a:gd name="T48" fmla="*/ 42 w 51"/>
                <a:gd name="T49" fmla="*/ 14 h 24"/>
                <a:gd name="T50" fmla="*/ 44 w 51"/>
                <a:gd name="T51" fmla="*/ 14 h 24"/>
                <a:gd name="T52" fmla="*/ 46 w 51"/>
                <a:gd name="T53" fmla="*/ 17 h 24"/>
                <a:gd name="T54" fmla="*/ 46 w 51"/>
                <a:gd name="T55" fmla="*/ 19 h 24"/>
                <a:gd name="T56" fmla="*/ 44 w 51"/>
                <a:gd name="T57" fmla="*/ 19 h 24"/>
                <a:gd name="T58" fmla="*/ 42 w 51"/>
                <a:gd name="T59" fmla="*/ 24 h 24"/>
                <a:gd name="T60" fmla="*/ 39 w 51"/>
                <a:gd name="T61" fmla="*/ 24 h 24"/>
                <a:gd name="T62" fmla="*/ 37 w 51"/>
                <a:gd name="T63" fmla="*/ 24 h 24"/>
                <a:gd name="T64" fmla="*/ 35 w 51"/>
                <a:gd name="T65" fmla="*/ 21 h 24"/>
                <a:gd name="T66" fmla="*/ 37 w 51"/>
                <a:gd name="T67" fmla="*/ 19 h 24"/>
                <a:gd name="T68" fmla="*/ 35 w 51"/>
                <a:gd name="T69" fmla="*/ 19 h 24"/>
                <a:gd name="T70" fmla="*/ 33 w 51"/>
                <a:gd name="T71" fmla="*/ 19 h 24"/>
                <a:gd name="T72" fmla="*/ 33 w 51"/>
                <a:gd name="T73" fmla="*/ 17 h 24"/>
                <a:gd name="T74" fmla="*/ 33 w 51"/>
                <a:gd name="T75" fmla="*/ 17 h 24"/>
                <a:gd name="T76" fmla="*/ 33 w 51"/>
                <a:gd name="T77" fmla="*/ 17 h 24"/>
                <a:gd name="T78" fmla="*/ 30 w 51"/>
                <a:gd name="T79" fmla="*/ 17 h 24"/>
                <a:gd name="T80" fmla="*/ 28 w 51"/>
                <a:gd name="T81" fmla="*/ 21 h 24"/>
                <a:gd name="T82" fmla="*/ 30 w 51"/>
                <a:gd name="T83" fmla="*/ 21 h 24"/>
                <a:gd name="T84" fmla="*/ 26 w 51"/>
                <a:gd name="T85" fmla="*/ 21 h 24"/>
                <a:gd name="T86" fmla="*/ 23 w 51"/>
                <a:gd name="T87" fmla="*/ 21 h 24"/>
                <a:gd name="T88" fmla="*/ 21 w 51"/>
                <a:gd name="T89" fmla="*/ 24 h 24"/>
                <a:gd name="T90" fmla="*/ 16 w 51"/>
                <a:gd name="T91" fmla="*/ 21 h 24"/>
                <a:gd name="T92" fmla="*/ 16 w 51"/>
                <a:gd name="T93" fmla="*/ 19 h 24"/>
                <a:gd name="T94" fmla="*/ 14 w 51"/>
                <a:gd name="T95" fmla="*/ 19 h 24"/>
                <a:gd name="T96" fmla="*/ 12 w 51"/>
                <a:gd name="T97" fmla="*/ 21 h 24"/>
                <a:gd name="T98" fmla="*/ 7 w 51"/>
                <a:gd name="T99" fmla="*/ 19 h 24"/>
                <a:gd name="T100" fmla="*/ 7 w 51"/>
                <a:gd name="T101" fmla="*/ 17 h 24"/>
                <a:gd name="T102" fmla="*/ 5 w 51"/>
                <a:gd name="T103" fmla="*/ 17 h 24"/>
                <a:gd name="T104" fmla="*/ 0 w 51"/>
                <a:gd name="T105" fmla="*/ 17 h 24"/>
                <a:gd name="T106" fmla="*/ 0 w 51"/>
                <a:gd name="T107" fmla="*/ 10 h 24"/>
                <a:gd name="T108" fmla="*/ 5 w 51"/>
                <a:gd name="T109" fmla="*/ 0 h 24"/>
                <a:gd name="T110" fmla="*/ 5 w 51"/>
                <a:gd name="T111"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4">
                  <a:moveTo>
                    <a:pt x="5" y="7"/>
                  </a:moveTo>
                  <a:lnTo>
                    <a:pt x="5" y="7"/>
                  </a:lnTo>
                  <a:lnTo>
                    <a:pt x="5" y="7"/>
                  </a:lnTo>
                  <a:lnTo>
                    <a:pt x="5" y="7"/>
                  </a:lnTo>
                  <a:lnTo>
                    <a:pt x="5" y="7"/>
                  </a:lnTo>
                  <a:lnTo>
                    <a:pt x="5" y="10"/>
                  </a:lnTo>
                  <a:lnTo>
                    <a:pt x="5" y="10"/>
                  </a:lnTo>
                  <a:lnTo>
                    <a:pt x="5" y="10"/>
                  </a:lnTo>
                  <a:lnTo>
                    <a:pt x="5" y="10"/>
                  </a:lnTo>
                  <a:lnTo>
                    <a:pt x="5" y="10"/>
                  </a:lnTo>
                  <a:lnTo>
                    <a:pt x="5" y="10"/>
                  </a:lnTo>
                  <a:lnTo>
                    <a:pt x="5" y="10"/>
                  </a:lnTo>
                  <a:lnTo>
                    <a:pt x="5" y="10"/>
                  </a:lnTo>
                  <a:lnTo>
                    <a:pt x="5" y="10"/>
                  </a:lnTo>
                  <a:lnTo>
                    <a:pt x="7" y="10"/>
                  </a:lnTo>
                  <a:lnTo>
                    <a:pt x="7" y="10"/>
                  </a:lnTo>
                  <a:lnTo>
                    <a:pt x="7" y="10"/>
                  </a:lnTo>
                  <a:lnTo>
                    <a:pt x="7" y="10"/>
                  </a:lnTo>
                  <a:lnTo>
                    <a:pt x="7" y="10"/>
                  </a:lnTo>
                  <a:lnTo>
                    <a:pt x="7" y="10"/>
                  </a:lnTo>
                  <a:lnTo>
                    <a:pt x="7" y="10"/>
                  </a:lnTo>
                  <a:lnTo>
                    <a:pt x="7" y="12"/>
                  </a:lnTo>
                  <a:lnTo>
                    <a:pt x="9" y="12"/>
                  </a:lnTo>
                  <a:lnTo>
                    <a:pt x="9" y="12"/>
                  </a:lnTo>
                  <a:lnTo>
                    <a:pt x="9" y="12"/>
                  </a:lnTo>
                  <a:lnTo>
                    <a:pt x="9" y="12"/>
                  </a:lnTo>
                  <a:lnTo>
                    <a:pt x="9" y="12"/>
                  </a:lnTo>
                  <a:lnTo>
                    <a:pt x="12" y="12"/>
                  </a:lnTo>
                  <a:lnTo>
                    <a:pt x="12" y="12"/>
                  </a:lnTo>
                  <a:lnTo>
                    <a:pt x="12" y="12"/>
                  </a:lnTo>
                  <a:lnTo>
                    <a:pt x="12" y="14"/>
                  </a:lnTo>
                  <a:lnTo>
                    <a:pt x="9" y="12"/>
                  </a:lnTo>
                  <a:lnTo>
                    <a:pt x="9" y="12"/>
                  </a:lnTo>
                  <a:lnTo>
                    <a:pt x="9" y="14"/>
                  </a:lnTo>
                  <a:lnTo>
                    <a:pt x="12" y="14"/>
                  </a:lnTo>
                  <a:lnTo>
                    <a:pt x="12" y="14"/>
                  </a:lnTo>
                  <a:lnTo>
                    <a:pt x="12" y="14"/>
                  </a:lnTo>
                  <a:lnTo>
                    <a:pt x="12" y="14"/>
                  </a:lnTo>
                  <a:lnTo>
                    <a:pt x="12" y="14"/>
                  </a:lnTo>
                  <a:lnTo>
                    <a:pt x="12" y="12"/>
                  </a:lnTo>
                  <a:lnTo>
                    <a:pt x="12" y="12"/>
                  </a:lnTo>
                  <a:lnTo>
                    <a:pt x="12" y="12"/>
                  </a:lnTo>
                  <a:lnTo>
                    <a:pt x="12" y="12"/>
                  </a:lnTo>
                  <a:lnTo>
                    <a:pt x="12" y="12"/>
                  </a:lnTo>
                  <a:lnTo>
                    <a:pt x="12" y="12"/>
                  </a:lnTo>
                  <a:lnTo>
                    <a:pt x="12" y="12"/>
                  </a:lnTo>
                  <a:lnTo>
                    <a:pt x="12" y="12"/>
                  </a:lnTo>
                  <a:lnTo>
                    <a:pt x="12" y="12"/>
                  </a:lnTo>
                  <a:lnTo>
                    <a:pt x="12" y="14"/>
                  </a:lnTo>
                  <a:lnTo>
                    <a:pt x="12" y="14"/>
                  </a:lnTo>
                  <a:lnTo>
                    <a:pt x="12" y="14"/>
                  </a:lnTo>
                  <a:lnTo>
                    <a:pt x="12" y="14"/>
                  </a:lnTo>
                  <a:lnTo>
                    <a:pt x="12" y="14"/>
                  </a:lnTo>
                  <a:lnTo>
                    <a:pt x="12" y="14"/>
                  </a:lnTo>
                  <a:lnTo>
                    <a:pt x="12" y="14"/>
                  </a:lnTo>
                  <a:lnTo>
                    <a:pt x="12" y="14"/>
                  </a:lnTo>
                  <a:lnTo>
                    <a:pt x="12" y="17"/>
                  </a:lnTo>
                  <a:lnTo>
                    <a:pt x="12" y="17"/>
                  </a:lnTo>
                  <a:lnTo>
                    <a:pt x="12" y="17"/>
                  </a:lnTo>
                  <a:lnTo>
                    <a:pt x="12" y="17"/>
                  </a:lnTo>
                  <a:lnTo>
                    <a:pt x="12" y="17"/>
                  </a:lnTo>
                  <a:lnTo>
                    <a:pt x="12" y="17"/>
                  </a:lnTo>
                  <a:lnTo>
                    <a:pt x="12" y="17"/>
                  </a:lnTo>
                  <a:lnTo>
                    <a:pt x="12" y="17"/>
                  </a:lnTo>
                  <a:lnTo>
                    <a:pt x="14" y="17"/>
                  </a:lnTo>
                  <a:lnTo>
                    <a:pt x="14" y="17"/>
                  </a:lnTo>
                  <a:lnTo>
                    <a:pt x="14" y="17"/>
                  </a:lnTo>
                  <a:lnTo>
                    <a:pt x="14" y="17"/>
                  </a:lnTo>
                  <a:lnTo>
                    <a:pt x="14" y="17"/>
                  </a:lnTo>
                  <a:lnTo>
                    <a:pt x="14" y="17"/>
                  </a:lnTo>
                  <a:lnTo>
                    <a:pt x="14" y="17"/>
                  </a:lnTo>
                  <a:lnTo>
                    <a:pt x="14" y="17"/>
                  </a:lnTo>
                  <a:lnTo>
                    <a:pt x="14" y="17"/>
                  </a:lnTo>
                  <a:lnTo>
                    <a:pt x="14" y="17"/>
                  </a:lnTo>
                  <a:lnTo>
                    <a:pt x="14" y="17"/>
                  </a:lnTo>
                  <a:lnTo>
                    <a:pt x="14" y="17"/>
                  </a:lnTo>
                  <a:lnTo>
                    <a:pt x="16" y="17"/>
                  </a:lnTo>
                  <a:lnTo>
                    <a:pt x="16" y="17"/>
                  </a:lnTo>
                  <a:lnTo>
                    <a:pt x="16" y="17"/>
                  </a:lnTo>
                  <a:lnTo>
                    <a:pt x="16" y="17"/>
                  </a:lnTo>
                  <a:lnTo>
                    <a:pt x="16" y="14"/>
                  </a:lnTo>
                  <a:lnTo>
                    <a:pt x="16" y="14"/>
                  </a:lnTo>
                  <a:lnTo>
                    <a:pt x="16" y="14"/>
                  </a:lnTo>
                  <a:lnTo>
                    <a:pt x="16" y="14"/>
                  </a:lnTo>
                  <a:lnTo>
                    <a:pt x="16" y="14"/>
                  </a:lnTo>
                  <a:lnTo>
                    <a:pt x="14" y="14"/>
                  </a:lnTo>
                  <a:lnTo>
                    <a:pt x="16" y="14"/>
                  </a:lnTo>
                  <a:lnTo>
                    <a:pt x="16" y="12"/>
                  </a:lnTo>
                  <a:lnTo>
                    <a:pt x="16" y="12"/>
                  </a:lnTo>
                  <a:lnTo>
                    <a:pt x="19" y="12"/>
                  </a:lnTo>
                  <a:lnTo>
                    <a:pt x="19" y="12"/>
                  </a:lnTo>
                  <a:lnTo>
                    <a:pt x="19" y="12"/>
                  </a:lnTo>
                  <a:lnTo>
                    <a:pt x="19" y="12"/>
                  </a:lnTo>
                  <a:lnTo>
                    <a:pt x="19" y="12"/>
                  </a:lnTo>
                  <a:lnTo>
                    <a:pt x="21" y="12"/>
                  </a:lnTo>
                  <a:lnTo>
                    <a:pt x="21" y="12"/>
                  </a:lnTo>
                  <a:lnTo>
                    <a:pt x="21" y="12"/>
                  </a:lnTo>
                  <a:lnTo>
                    <a:pt x="21" y="12"/>
                  </a:lnTo>
                  <a:lnTo>
                    <a:pt x="21" y="12"/>
                  </a:lnTo>
                  <a:lnTo>
                    <a:pt x="21" y="14"/>
                  </a:lnTo>
                  <a:lnTo>
                    <a:pt x="21" y="14"/>
                  </a:lnTo>
                  <a:lnTo>
                    <a:pt x="21" y="14"/>
                  </a:lnTo>
                  <a:lnTo>
                    <a:pt x="21" y="14"/>
                  </a:lnTo>
                  <a:lnTo>
                    <a:pt x="21" y="14"/>
                  </a:lnTo>
                  <a:lnTo>
                    <a:pt x="21" y="14"/>
                  </a:lnTo>
                  <a:lnTo>
                    <a:pt x="21" y="14"/>
                  </a:lnTo>
                  <a:lnTo>
                    <a:pt x="21" y="12"/>
                  </a:lnTo>
                  <a:lnTo>
                    <a:pt x="21" y="12"/>
                  </a:lnTo>
                  <a:lnTo>
                    <a:pt x="21" y="12"/>
                  </a:lnTo>
                  <a:lnTo>
                    <a:pt x="21" y="12"/>
                  </a:lnTo>
                  <a:lnTo>
                    <a:pt x="21" y="12"/>
                  </a:lnTo>
                  <a:lnTo>
                    <a:pt x="23" y="12"/>
                  </a:lnTo>
                  <a:lnTo>
                    <a:pt x="23" y="12"/>
                  </a:lnTo>
                  <a:lnTo>
                    <a:pt x="23" y="12"/>
                  </a:lnTo>
                  <a:lnTo>
                    <a:pt x="23" y="12"/>
                  </a:lnTo>
                  <a:lnTo>
                    <a:pt x="23" y="12"/>
                  </a:lnTo>
                  <a:lnTo>
                    <a:pt x="26" y="14"/>
                  </a:lnTo>
                  <a:lnTo>
                    <a:pt x="26" y="14"/>
                  </a:lnTo>
                  <a:lnTo>
                    <a:pt x="26" y="14"/>
                  </a:lnTo>
                  <a:lnTo>
                    <a:pt x="26" y="14"/>
                  </a:lnTo>
                  <a:lnTo>
                    <a:pt x="26" y="14"/>
                  </a:lnTo>
                  <a:lnTo>
                    <a:pt x="26" y="14"/>
                  </a:lnTo>
                  <a:lnTo>
                    <a:pt x="26" y="14"/>
                  </a:lnTo>
                  <a:lnTo>
                    <a:pt x="26" y="14"/>
                  </a:lnTo>
                  <a:lnTo>
                    <a:pt x="28" y="14"/>
                  </a:lnTo>
                  <a:lnTo>
                    <a:pt x="28" y="14"/>
                  </a:lnTo>
                  <a:lnTo>
                    <a:pt x="28" y="14"/>
                  </a:lnTo>
                  <a:lnTo>
                    <a:pt x="28" y="14"/>
                  </a:lnTo>
                  <a:lnTo>
                    <a:pt x="28" y="14"/>
                  </a:lnTo>
                  <a:lnTo>
                    <a:pt x="28" y="14"/>
                  </a:lnTo>
                  <a:lnTo>
                    <a:pt x="28" y="12"/>
                  </a:lnTo>
                  <a:lnTo>
                    <a:pt x="30" y="12"/>
                  </a:lnTo>
                  <a:lnTo>
                    <a:pt x="33" y="12"/>
                  </a:lnTo>
                  <a:lnTo>
                    <a:pt x="35" y="10"/>
                  </a:lnTo>
                  <a:lnTo>
                    <a:pt x="35" y="10"/>
                  </a:lnTo>
                  <a:lnTo>
                    <a:pt x="35" y="10"/>
                  </a:lnTo>
                  <a:lnTo>
                    <a:pt x="35" y="10"/>
                  </a:lnTo>
                  <a:lnTo>
                    <a:pt x="35" y="10"/>
                  </a:lnTo>
                  <a:lnTo>
                    <a:pt x="35" y="10"/>
                  </a:lnTo>
                  <a:lnTo>
                    <a:pt x="35" y="10"/>
                  </a:lnTo>
                  <a:lnTo>
                    <a:pt x="39" y="7"/>
                  </a:lnTo>
                  <a:lnTo>
                    <a:pt x="39" y="7"/>
                  </a:lnTo>
                  <a:lnTo>
                    <a:pt x="37" y="7"/>
                  </a:lnTo>
                  <a:lnTo>
                    <a:pt x="37" y="7"/>
                  </a:lnTo>
                  <a:lnTo>
                    <a:pt x="37" y="7"/>
                  </a:lnTo>
                  <a:lnTo>
                    <a:pt x="39" y="7"/>
                  </a:lnTo>
                  <a:lnTo>
                    <a:pt x="39" y="7"/>
                  </a:lnTo>
                  <a:lnTo>
                    <a:pt x="39" y="7"/>
                  </a:lnTo>
                  <a:lnTo>
                    <a:pt x="39" y="7"/>
                  </a:lnTo>
                  <a:lnTo>
                    <a:pt x="39" y="5"/>
                  </a:lnTo>
                  <a:lnTo>
                    <a:pt x="44" y="5"/>
                  </a:lnTo>
                  <a:lnTo>
                    <a:pt x="46" y="5"/>
                  </a:lnTo>
                  <a:lnTo>
                    <a:pt x="46" y="3"/>
                  </a:lnTo>
                  <a:lnTo>
                    <a:pt x="49" y="3"/>
                  </a:lnTo>
                  <a:lnTo>
                    <a:pt x="51" y="3"/>
                  </a:lnTo>
                  <a:lnTo>
                    <a:pt x="51" y="3"/>
                  </a:lnTo>
                  <a:lnTo>
                    <a:pt x="51" y="3"/>
                  </a:lnTo>
                  <a:lnTo>
                    <a:pt x="51" y="3"/>
                  </a:lnTo>
                  <a:lnTo>
                    <a:pt x="51" y="5"/>
                  </a:lnTo>
                  <a:lnTo>
                    <a:pt x="49" y="7"/>
                  </a:lnTo>
                  <a:lnTo>
                    <a:pt x="49" y="7"/>
                  </a:lnTo>
                  <a:lnTo>
                    <a:pt x="49" y="7"/>
                  </a:lnTo>
                  <a:lnTo>
                    <a:pt x="49" y="7"/>
                  </a:lnTo>
                  <a:lnTo>
                    <a:pt x="46" y="7"/>
                  </a:lnTo>
                  <a:lnTo>
                    <a:pt x="46" y="7"/>
                  </a:lnTo>
                  <a:lnTo>
                    <a:pt x="46" y="7"/>
                  </a:lnTo>
                  <a:lnTo>
                    <a:pt x="46" y="7"/>
                  </a:lnTo>
                  <a:lnTo>
                    <a:pt x="46" y="7"/>
                  </a:lnTo>
                  <a:lnTo>
                    <a:pt x="46" y="7"/>
                  </a:lnTo>
                  <a:lnTo>
                    <a:pt x="46" y="7"/>
                  </a:lnTo>
                  <a:lnTo>
                    <a:pt x="44" y="7"/>
                  </a:lnTo>
                  <a:lnTo>
                    <a:pt x="44" y="7"/>
                  </a:lnTo>
                  <a:lnTo>
                    <a:pt x="46" y="10"/>
                  </a:lnTo>
                  <a:lnTo>
                    <a:pt x="46" y="10"/>
                  </a:lnTo>
                  <a:lnTo>
                    <a:pt x="46" y="10"/>
                  </a:lnTo>
                  <a:lnTo>
                    <a:pt x="46" y="10"/>
                  </a:lnTo>
                  <a:lnTo>
                    <a:pt x="46" y="10"/>
                  </a:lnTo>
                  <a:lnTo>
                    <a:pt x="44" y="10"/>
                  </a:lnTo>
                  <a:lnTo>
                    <a:pt x="46" y="10"/>
                  </a:lnTo>
                  <a:lnTo>
                    <a:pt x="46" y="12"/>
                  </a:lnTo>
                  <a:lnTo>
                    <a:pt x="46" y="12"/>
                  </a:lnTo>
                  <a:lnTo>
                    <a:pt x="44" y="12"/>
                  </a:lnTo>
                  <a:lnTo>
                    <a:pt x="44" y="12"/>
                  </a:lnTo>
                  <a:lnTo>
                    <a:pt x="44" y="12"/>
                  </a:lnTo>
                  <a:lnTo>
                    <a:pt x="44" y="12"/>
                  </a:lnTo>
                  <a:lnTo>
                    <a:pt x="46" y="12"/>
                  </a:lnTo>
                  <a:lnTo>
                    <a:pt x="46" y="14"/>
                  </a:lnTo>
                  <a:lnTo>
                    <a:pt x="44" y="14"/>
                  </a:lnTo>
                  <a:lnTo>
                    <a:pt x="44" y="14"/>
                  </a:lnTo>
                  <a:lnTo>
                    <a:pt x="42" y="14"/>
                  </a:lnTo>
                  <a:lnTo>
                    <a:pt x="42" y="14"/>
                  </a:lnTo>
                  <a:lnTo>
                    <a:pt x="42" y="14"/>
                  </a:lnTo>
                  <a:lnTo>
                    <a:pt x="44" y="14"/>
                  </a:lnTo>
                  <a:lnTo>
                    <a:pt x="44" y="14"/>
                  </a:lnTo>
                  <a:lnTo>
                    <a:pt x="44" y="14"/>
                  </a:lnTo>
                  <a:lnTo>
                    <a:pt x="44" y="14"/>
                  </a:lnTo>
                  <a:lnTo>
                    <a:pt x="42" y="14"/>
                  </a:lnTo>
                  <a:lnTo>
                    <a:pt x="42" y="14"/>
                  </a:lnTo>
                  <a:lnTo>
                    <a:pt x="42" y="14"/>
                  </a:lnTo>
                  <a:lnTo>
                    <a:pt x="42" y="14"/>
                  </a:lnTo>
                  <a:lnTo>
                    <a:pt x="42" y="14"/>
                  </a:lnTo>
                  <a:lnTo>
                    <a:pt x="42" y="14"/>
                  </a:lnTo>
                  <a:lnTo>
                    <a:pt x="42" y="14"/>
                  </a:lnTo>
                  <a:lnTo>
                    <a:pt x="42" y="14"/>
                  </a:lnTo>
                  <a:lnTo>
                    <a:pt x="42" y="14"/>
                  </a:lnTo>
                  <a:lnTo>
                    <a:pt x="42" y="17"/>
                  </a:lnTo>
                  <a:lnTo>
                    <a:pt x="42" y="17"/>
                  </a:lnTo>
                  <a:lnTo>
                    <a:pt x="44" y="14"/>
                  </a:lnTo>
                  <a:lnTo>
                    <a:pt x="44" y="14"/>
                  </a:lnTo>
                  <a:lnTo>
                    <a:pt x="44" y="17"/>
                  </a:lnTo>
                  <a:lnTo>
                    <a:pt x="44" y="17"/>
                  </a:lnTo>
                  <a:lnTo>
                    <a:pt x="44" y="17"/>
                  </a:lnTo>
                  <a:lnTo>
                    <a:pt x="44" y="17"/>
                  </a:lnTo>
                  <a:lnTo>
                    <a:pt x="44" y="17"/>
                  </a:lnTo>
                  <a:lnTo>
                    <a:pt x="46" y="17"/>
                  </a:lnTo>
                  <a:lnTo>
                    <a:pt x="46" y="17"/>
                  </a:lnTo>
                  <a:lnTo>
                    <a:pt x="44" y="17"/>
                  </a:lnTo>
                  <a:lnTo>
                    <a:pt x="44" y="17"/>
                  </a:lnTo>
                  <a:lnTo>
                    <a:pt x="44" y="17"/>
                  </a:lnTo>
                  <a:lnTo>
                    <a:pt x="46" y="17"/>
                  </a:lnTo>
                  <a:lnTo>
                    <a:pt x="46" y="17"/>
                  </a:lnTo>
                  <a:lnTo>
                    <a:pt x="46" y="17"/>
                  </a:lnTo>
                  <a:lnTo>
                    <a:pt x="46" y="17"/>
                  </a:lnTo>
                  <a:lnTo>
                    <a:pt x="46" y="19"/>
                  </a:lnTo>
                  <a:lnTo>
                    <a:pt x="46" y="19"/>
                  </a:lnTo>
                  <a:lnTo>
                    <a:pt x="46" y="19"/>
                  </a:lnTo>
                  <a:lnTo>
                    <a:pt x="46" y="19"/>
                  </a:lnTo>
                  <a:lnTo>
                    <a:pt x="46" y="19"/>
                  </a:lnTo>
                  <a:lnTo>
                    <a:pt x="44" y="19"/>
                  </a:lnTo>
                  <a:lnTo>
                    <a:pt x="44" y="19"/>
                  </a:lnTo>
                  <a:lnTo>
                    <a:pt x="44" y="19"/>
                  </a:lnTo>
                  <a:lnTo>
                    <a:pt x="44" y="19"/>
                  </a:lnTo>
                  <a:lnTo>
                    <a:pt x="46" y="19"/>
                  </a:lnTo>
                  <a:lnTo>
                    <a:pt x="46" y="19"/>
                  </a:lnTo>
                  <a:lnTo>
                    <a:pt x="46" y="19"/>
                  </a:lnTo>
                  <a:lnTo>
                    <a:pt x="46" y="19"/>
                  </a:lnTo>
                  <a:lnTo>
                    <a:pt x="46" y="21"/>
                  </a:lnTo>
                  <a:lnTo>
                    <a:pt x="46" y="21"/>
                  </a:lnTo>
                  <a:lnTo>
                    <a:pt x="44" y="24"/>
                  </a:lnTo>
                  <a:lnTo>
                    <a:pt x="42" y="24"/>
                  </a:lnTo>
                  <a:lnTo>
                    <a:pt x="42" y="24"/>
                  </a:lnTo>
                  <a:lnTo>
                    <a:pt x="42" y="24"/>
                  </a:lnTo>
                  <a:lnTo>
                    <a:pt x="42" y="24"/>
                  </a:lnTo>
                  <a:lnTo>
                    <a:pt x="42" y="24"/>
                  </a:lnTo>
                  <a:lnTo>
                    <a:pt x="42" y="24"/>
                  </a:lnTo>
                  <a:lnTo>
                    <a:pt x="42" y="24"/>
                  </a:lnTo>
                  <a:lnTo>
                    <a:pt x="42" y="24"/>
                  </a:lnTo>
                  <a:lnTo>
                    <a:pt x="39" y="24"/>
                  </a:lnTo>
                  <a:lnTo>
                    <a:pt x="39" y="24"/>
                  </a:lnTo>
                  <a:lnTo>
                    <a:pt x="39" y="24"/>
                  </a:lnTo>
                  <a:lnTo>
                    <a:pt x="39" y="24"/>
                  </a:lnTo>
                  <a:lnTo>
                    <a:pt x="39" y="24"/>
                  </a:lnTo>
                  <a:lnTo>
                    <a:pt x="39" y="24"/>
                  </a:lnTo>
                  <a:lnTo>
                    <a:pt x="39" y="24"/>
                  </a:lnTo>
                  <a:lnTo>
                    <a:pt x="37" y="24"/>
                  </a:lnTo>
                  <a:lnTo>
                    <a:pt x="37" y="24"/>
                  </a:lnTo>
                  <a:lnTo>
                    <a:pt x="37" y="24"/>
                  </a:lnTo>
                  <a:lnTo>
                    <a:pt x="37" y="21"/>
                  </a:lnTo>
                  <a:lnTo>
                    <a:pt x="37" y="21"/>
                  </a:lnTo>
                  <a:lnTo>
                    <a:pt x="37" y="21"/>
                  </a:lnTo>
                  <a:lnTo>
                    <a:pt x="37" y="21"/>
                  </a:lnTo>
                  <a:lnTo>
                    <a:pt x="35" y="21"/>
                  </a:lnTo>
                  <a:lnTo>
                    <a:pt x="35" y="24"/>
                  </a:lnTo>
                  <a:lnTo>
                    <a:pt x="35" y="21"/>
                  </a:lnTo>
                  <a:lnTo>
                    <a:pt x="35" y="21"/>
                  </a:lnTo>
                  <a:lnTo>
                    <a:pt x="35" y="21"/>
                  </a:lnTo>
                  <a:lnTo>
                    <a:pt x="37" y="21"/>
                  </a:lnTo>
                  <a:lnTo>
                    <a:pt x="37" y="21"/>
                  </a:lnTo>
                  <a:lnTo>
                    <a:pt x="37" y="19"/>
                  </a:lnTo>
                  <a:lnTo>
                    <a:pt x="37" y="19"/>
                  </a:lnTo>
                  <a:lnTo>
                    <a:pt x="37" y="19"/>
                  </a:lnTo>
                  <a:lnTo>
                    <a:pt x="37" y="19"/>
                  </a:lnTo>
                  <a:lnTo>
                    <a:pt x="37" y="19"/>
                  </a:lnTo>
                  <a:lnTo>
                    <a:pt x="37" y="19"/>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35" y="19"/>
                  </a:lnTo>
                  <a:lnTo>
                    <a:pt x="33" y="19"/>
                  </a:lnTo>
                  <a:lnTo>
                    <a:pt x="33" y="19"/>
                  </a:lnTo>
                  <a:lnTo>
                    <a:pt x="33" y="19"/>
                  </a:lnTo>
                  <a:lnTo>
                    <a:pt x="30" y="19"/>
                  </a:lnTo>
                  <a:lnTo>
                    <a:pt x="30" y="19"/>
                  </a:lnTo>
                  <a:lnTo>
                    <a:pt x="33" y="19"/>
                  </a:lnTo>
                  <a:lnTo>
                    <a:pt x="33" y="19"/>
                  </a:lnTo>
                  <a:lnTo>
                    <a:pt x="33" y="17"/>
                  </a:lnTo>
                  <a:lnTo>
                    <a:pt x="33" y="17"/>
                  </a:lnTo>
                  <a:lnTo>
                    <a:pt x="33" y="17"/>
                  </a:lnTo>
                  <a:lnTo>
                    <a:pt x="33" y="17"/>
                  </a:lnTo>
                  <a:lnTo>
                    <a:pt x="33" y="17"/>
                  </a:lnTo>
                  <a:lnTo>
                    <a:pt x="33" y="17"/>
                  </a:lnTo>
                  <a:lnTo>
                    <a:pt x="33" y="17"/>
                  </a:lnTo>
                  <a:lnTo>
                    <a:pt x="33" y="17"/>
                  </a:lnTo>
                  <a:lnTo>
                    <a:pt x="33" y="17"/>
                  </a:lnTo>
                  <a:lnTo>
                    <a:pt x="33" y="17"/>
                  </a:lnTo>
                  <a:lnTo>
                    <a:pt x="33" y="17"/>
                  </a:lnTo>
                  <a:lnTo>
                    <a:pt x="33" y="17"/>
                  </a:lnTo>
                  <a:lnTo>
                    <a:pt x="33" y="17"/>
                  </a:lnTo>
                  <a:lnTo>
                    <a:pt x="33" y="14"/>
                  </a:lnTo>
                  <a:lnTo>
                    <a:pt x="33" y="14"/>
                  </a:lnTo>
                  <a:lnTo>
                    <a:pt x="33" y="14"/>
                  </a:lnTo>
                  <a:lnTo>
                    <a:pt x="33" y="14"/>
                  </a:lnTo>
                  <a:lnTo>
                    <a:pt x="33" y="17"/>
                  </a:lnTo>
                  <a:lnTo>
                    <a:pt x="33" y="17"/>
                  </a:lnTo>
                  <a:lnTo>
                    <a:pt x="30" y="17"/>
                  </a:lnTo>
                  <a:lnTo>
                    <a:pt x="30" y="17"/>
                  </a:lnTo>
                  <a:lnTo>
                    <a:pt x="30" y="19"/>
                  </a:lnTo>
                  <a:lnTo>
                    <a:pt x="30" y="19"/>
                  </a:lnTo>
                  <a:lnTo>
                    <a:pt x="30" y="19"/>
                  </a:lnTo>
                  <a:lnTo>
                    <a:pt x="30" y="19"/>
                  </a:lnTo>
                  <a:lnTo>
                    <a:pt x="30" y="17"/>
                  </a:lnTo>
                  <a:lnTo>
                    <a:pt x="30" y="19"/>
                  </a:lnTo>
                  <a:lnTo>
                    <a:pt x="30" y="19"/>
                  </a:lnTo>
                  <a:lnTo>
                    <a:pt x="30" y="19"/>
                  </a:lnTo>
                  <a:lnTo>
                    <a:pt x="30" y="19"/>
                  </a:lnTo>
                  <a:lnTo>
                    <a:pt x="30" y="19"/>
                  </a:lnTo>
                  <a:lnTo>
                    <a:pt x="30" y="19"/>
                  </a:lnTo>
                  <a:lnTo>
                    <a:pt x="28" y="21"/>
                  </a:lnTo>
                  <a:lnTo>
                    <a:pt x="28" y="21"/>
                  </a:lnTo>
                  <a:lnTo>
                    <a:pt x="30" y="21"/>
                  </a:lnTo>
                  <a:lnTo>
                    <a:pt x="30" y="19"/>
                  </a:lnTo>
                  <a:lnTo>
                    <a:pt x="30" y="19"/>
                  </a:lnTo>
                  <a:lnTo>
                    <a:pt x="30" y="19"/>
                  </a:lnTo>
                  <a:lnTo>
                    <a:pt x="30" y="19"/>
                  </a:lnTo>
                  <a:lnTo>
                    <a:pt x="30" y="19"/>
                  </a:lnTo>
                  <a:lnTo>
                    <a:pt x="30" y="21"/>
                  </a:lnTo>
                  <a:lnTo>
                    <a:pt x="30" y="21"/>
                  </a:lnTo>
                  <a:lnTo>
                    <a:pt x="30" y="21"/>
                  </a:lnTo>
                  <a:lnTo>
                    <a:pt x="30" y="21"/>
                  </a:lnTo>
                  <a:lnTo>
                    <a:pt x="28" y="21"/>
                  </a:lnTo>
                  <a:lnTo>
                    <a:pt x="28" y="21"/>
                  </a:lnTo>
                  <a:lnTo>
                    <a:pt x="26" y="21"/>
                  </a:lnTo>
                  <a:lnTo>
                    <a:pt x="26" y="21"/>
                  </a:lnTo>
                  <a:lnTo>
                    <a:pt x="26" y="21"/>
                  </a:lnTo>
                  <a:lnTo>
                    <a:pt x="26" y="21"/>
                  </a:lnTo>
                  <a:lnTo>
                    <a:pt x="26" y="21"/>
                  </a:lnTo>
                  <a:lnTo>
                    <a:pt x="26" y="21"/>
                  </a:lnTo>
                  <a:lnTo>
                    <a:pt x="26" y="21"/>
                  </a:lnTo>
                  <a:lnTo>
                    <a:pt x="26" y="21"/>
                  </a:lnTo>
                  <a:lnTo>
                    <a:pt x="23" y="21"/>
                  </a:lnTo>
                  <a:lnTo>
                    <a:pt x="23" y="21"/>
                  </a:lnTo>
                  <a:lnTo>
                    <a:pt x="23" y="21"/>
                  </a:lnTo>
                  <a:lnTo>
                    <a:pt x="23" y="21"/>
                  </a:lnTo>
                  <a:lnTo>
                    <a:pt x="23" y="21"/>
                  </a:lnTo>
                  <a:lnTo>
                    <a:pt x="23" y="21"/>
                  </a:lnTo>
                  <a:lnTo>
                    <a:pt x="23" y="21"/>
                  </a:lnTo>
                  <a:lnTo>
                    <a:pt x="23" y="21"/>
                  </a:lnTo>
                  <a:lnTo>
                    <a:pt x="21" y="21"/>
                  </a:lnTo>
                  <a:lnTo>
                    <a:pt x="21" y="21"/>
                  </a:lnTo>
                  <a:lnTo>
                    <a:pt x="21" y="24"/>
                  </a:lnTo>
                  <a:lnTo>
                    <a:pt x="21" y="24"/>
                  </a:lnTo>
                  <a:lnTo>
                    <a:pt x="21" y="24"/>
                  </a:lnTo>
                  <a:lnTo>
                    <a:pt x="19" y="24"/>
                  </a:lnTo>
                  <a:lnTo>
                    <a:pt x="19" y="21"/>
                  </a:lnTo>
                  <a:lnTo>
                    <a:pt x="19" y="21"/>
                  </a:lnTo>
                  <a:lnTo>
                    <a:pt x="19" y="21"/>
                  </a:lnTo>
                  <a:lnTo>
                    <a:pt x="19" y="21"/>
                  </a:lnTo>
                  <a:lnTo>
                    <a:pt x="16" y="21"/>
                  </a:lnTo>
                  <a:lnTo>
                    <a:pt x="16" y="21"/>
                  </a:lnTo>
                  <a:lnTo>
                    <a:pt x="16" y="21"/>
                  </a:lnTo>
                  <a:lnTo>
                    <a:pt x="16" y="21"/>
                  </a:lnTo>
                  <a:lnTo>
                    <a:pt x="16" y="21"/>
                  </a:lnTo>
                  <a:lnTo>
                    <a:pt x="16" y="19"/>
                  </a:lnTo>
                  <a:lnTo>
                    <a:pt x="16" y="19"/>
                  </a:lnTo>
                  <a:lnTo>
                    <a:pt x="16" y="19"/>
                  </a:lnTo>
                  <a:lnTo>
                    <a:pt x="16" y="19"/>
                  </a:lnTo>
                  <a:lnTo>
                    <a:pt x="16" y="19"/>
                  </a:lnTo>
                  <a:lnTo>
                    <a:pt x="16" y="19"/>
                  </a:lnTo>
                  <a:lnTo>
                    <a:pt x="16" y="19"/>
                  </a:lnTo>
                  <a:lnTo>
                    <a:pt x="16" y="19"/>
                  </a:lnTo>
                  <a:lnTo>
                    <a:pt x="16" y="19"/>
                  </a:lnTo>
                  <a:lnTo>
                    <a:pt x="14" y="19"/>
                  </a:lnTo>
                  <a:lnTo>
                    <a:pt x="14" y="19"/>
                  </a:lnTo>
                  <a:lnTo>
                    <a:pt x="14" y="19"/>
                  </a:lnTo>
                  <a:lnTo>
                    <a:pt x="14" y="19"/>
                  </a:lnTo>
                  <a:lnTo>
                    <a:pt x="14" y="19"/>
                  </a:lnTo>
                  <a:lnTo>
                    <a:pt x="14" y="19"/>
                  </a:lnTo>
                  <a:lnTo>
                    <a:pt x="14" y="19"/>
                  </a:lnTo>
                  <a:lnTo>
                    <a:pt x="12" y="19"/>
                  </a:lnTo>
                  <a:lnTo>
                    <a:pt x="12" y="19"/>
                  </a:lnTo>
                  <a:lnTo>
                    <a:pt x="12" y="19"/>
                  </a:lnTo>
                  <a:lnTo>
                    <a:pt x="12" y="19"/>
                  </a:lnTo>
                  <a:lnTo>
                    <a:pt x="12" y="21"/>
                  </a:lnTo>
                  <a:lnTo>
                    <a:pt x="9" y="21"/>
                  </a:lnTo>
                  <a:lnTo>
                    <a:pt x="9" y="21"/>
                  </a:lnTo>
                  <a:lnTo>
                    <a:pt x="9" y="21"/>
                  </a:lnTo>
                  <a:lnTo>
                    <a:pt x="7" y="21"/>
                  </a:lnTo>
                  <a:lnTo>
                    <a:pt x="7" y="21"/>
                  </a:lnTo>
                  <a:lnTo>
                    <a:pt x="7" y="21"/>
                  </a:lnTo>
                  <a:lnTo>
                    <a:pt x="7" y="19"/>
                  </a:lnTo>
                  <a:lnTo>
                    <a:pt x="7" y="19"/>
                  </a:lnTo>
                  <a:lnTo>
                    <a:pt x="7" y="19"/>
                  </a:lnTo>
                  <a:lnTo>
                    <a:pt x="7" y="19"/>
                  </a:lnTo>
                  <a:lnTo>
                    <a:pt x="7" y="17"/>
                  </a:lnTo>
                  <a:lnTo>
                    <a:pt x="7" y="17"/>
                  </a:lnTo>
                  <a:lnTo>
                    <a:pt x="7" y="17"/>
                  </a:lnTo>
                  <a:lnTo>
                    <a:pt x="7" y="17"/>
                  </a:lnTo>
                  <a:lnTo>
                    <a:pt x="7" y="17"/>
                  </a:lnTo>
                  <a:lnTo>
                    <a:pt x="7" y="17"/>
                  </a:lnTo>
                  <a:lnTo>
                    <a:pt x="7" y="14"/>
                  </a:lnTo>
                  <a:lnTo>
                    <a:pt x="7" y="14"/>
                  </a:lnTo>
                  <a:lnTo>
                    <a:pt x="7" y="14"/>
                  </a:lnTo>
                  <a:lnTo>
                    <a:pt x="7" y="14"/>
                  </a:lnTo>
                  <a:lnTo>
                    <a:pt x="7" y="14"/>
                  </a:lnTo>
                  <a:lnTo>
                    <a:pt x="7" y="17"/>
                  </a:lnTo>
                  <a:lnTo>
                    <a:pt x="5" y="17"/>
                  </a:lnTo>
                  <a:lnTo>
                    <a:pt x="5" y="17"/>
                  </a:lnTo>
                  <a:lnTo>
                    <a:pt x="5" y="17"/>
                  </a:lnTo>
                  <a:lnTo>
                    <a:pt x="5" y="17"/>
                  </a:lnTo>
                  <a:lnTo>
                    <a:pt x="5" y="17"/>
                  </a:lnTo>
                  <a:lnTo>
                    <a:pt x="5" y="17"/>
                  </a:lnTo>
                  <a:lnTo>
                    <a:pt x="5" y="14"/>
                  </a:lnTo>
                  <a:lnTo>
                    <a:pt x="5" y="14"/>
                  </a:lnTo>
                  <a:lnTo>
                    <a:pt x="2" y="17"/>
                  </a:lnTo>
                  <a:lnTo>
                    <a:pt x="0" y="17"/>
                  </a:lnTo>
                  <a:lnTo>
                    <a:pt x="0" y="17"/>
                  </a:lnTo>
                  <a:lnTo>
                    <a:pt x="0" y="17"/>
                  </a:lnTo>
                  <a:lnTo>
                    <a:pt x="0" y="14"/>
                  </a:lnTo>
                  <a:lnTo>
                    <a:pt x="0" y="14"/>
                  </a:lnTo>
                  <a:lnTo>
                    <a:pt x="0" y="12"/>
                  </a:lnTo>
                  <a:lnTo>
                    <a:pt x="0" y="12"/>
                  </a:lnTo>
                  <a:lnTo>
                    <a:pt x="0" y="10"/>
                  </a:lnTo>
                  <a:lnTo>
                    <a:pt x="0" y="10"/>
                  </a:lnTo>
                  <a:lnTo>
                    <a:pt x="0" y="10"/>
                  </a:lnTo>
                  <a:lnTo>
                    <a:pt x="0" y="10"/>
                  </a:lnTo>
                  <a:lnTo>
                    <a:pt x="0" y="7"/>
                  </a:lnTo>
                  <a:lnTo>
                    <a:pt x="0" y="7"/>
                  </a:lnTo>
                  <a:lnTo>
                    <a:pt x="2" y="5"/>
                  </a:lnTo>
                  <a:lnTo>
                    <a:pt x="2" y="3"/>
                  </a:lnTo>
                  <a:lnTo>
                    <a:pt x="2" y="0"/>
                  </a:lnTo>
                  <a:lnTo>
                    <a:pt x="5" y="0"/>
                  </a:lnTo>
                  <a:lnTo>
                    <a:pt x="5" y="0"/>
                  </a:lnTo>
                  <a:lnTo>
                    <a:pt x="5" y="0"/>
                  </a:lnTo>
                  <a:lnTo>
                    <a:pt x="5" y="3"/>
                  </a:lnTo>
                  <a:lnTo>
                    <a:pt x="5" y="3"/>
                  </a:lnTo>
                  <a:lnTo>
                    <a:pt x="5" y="5"/>
                  </a:lnTo>
                  <a:lnTo>
                    <a:pt x="5" y="5"/>
                  </a:lnTo>
                  <a:lnTo>
                    <a:pt x="7" y="5"/>
                  </a:lnTo>
                  <a:lnTo>
                    <a:pt x="5" y="7"/>
                  </a:lnTo>
                  <a:lnTo>
                    <a:pt x="5" y="7"/>
                  </a:lnTo>
                  <a:lnTo>
                    <a:pt x="5"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736">
              <a:extLst>
                <a:ext uri="{FF2B5EF4-FFF2-40B4-BE49-F238E27FC236}">
                  <a16:creationId xmlns:a16="http://schemas.microsoft.com/office/drawing/2014/main" id="{ACBBC87D-6BB2-42F6-86B3-C0E789341207}"/>
                </a:ext>
              </a:extLst>
            </p:cNvPr>
            <p:cNvSpPr>
              <a:spLocks/>
            </p:cNvSpPr>
            <p:nvPr/>
          </p:nvSpPr>
          <p:spPr bwMode="auto">
            <a:xfrm>
              <a:off x="6869906" y="5576888"/>
              <a:ext cx="7938" cy="11113"/>
            </a:xfrm>
            <a:custGeom>
              <a:avLst/>
              <a:gdLst>
                <a:gd name="T0" fmla="*/ 3 w 5"/>
                <a:gd name="T1" fmla="*/ 0 h 7"/>
                <a:gd name="T2" fmla="*/ 3 w 5"/>
                <a:gd name="T3" fmla="*/ 0 h 7"/>
                <a:gd name="T4" fmla="*/ 5 w 5"/>
                <a:gd name="T5" fmla="*/ 2 h 7"/>
                <a:gd name="T6" fmla="*/ 5 w 5"/>
                <a:gd name="T7" fmla="*/ 4 h 7"/>
                <a:gd name="T8" fmla="*/ 5 w 5"/>
                <a:gd name="T9" fmla="*/ 4 h 7"/>
                <a:gd name="T10" fmla="*/ 5 w 5"/>
                <a:gd name="T11" fmla="*/ 7 h 7"/>
                <a:gd name="T12" fmla="*/ 3 w 5"/>
                <a:gd name="T13" fmla="*/ 7 h 7"/>
                <a:gd name="T14" fmla="*/ 3 w 5"/>
                <a:gd name="T15" fmla="*/ 7 h 7"/>
                <a:gd name="T16" fmla="*/ 3 w 5"/>
                <a:gd name="T17" fmla="*/ 7 h 7"/>
                <a:gd name="T18" fmla="*/ 3 w 5"/>
                <a:gd name="T19" fmla="*/ 7 h 7"/>
                <a:gd name="T20" fmla="*/ 3 w 5"/>
                <a:gd name="T21" fmla="*/ 7 h 7"/>
                <a:gd name="T22" fmla="*/ 3 w 5"/>
                <a:gd name="T23" fmla="*/ 4 h 7"/>
                <a:gd name="T24" fmla="*/ 3 w 5"/>
                <a:gd name="T25" fmla="*/ 4 h 7"/>
                <a:gd name="T26" fmla="*/ 3 w 5"/>
                <a:gd name="T27" fmla="*/ 4 h 7"/>
                <a:gd name="T28" fmla="*/ 3 w 5"/>
                <a:gd name="T29" fmla="*/ 4 h 7"/>
                <a:gd name="T30" fmla="*/ 3 w 5"/>
                <a:gd name="T31" fmla="*/ 2 h 7"/>
                <a:gd name="T32" fmla="*/ 3 w 5"/>
                <a:gd name="T33" fmla="*/ 2 h 7"/>
                <a:gd name="T34" fmla="*/ 3 w 5"/>
                <a:gd name="T35" fmla="*/ 2 h 7"/>
                <a:gd name="T36" fmla="*/ 3 w 5"/>
                <a:gd name="T37" fmla="*/ 2 h 7"/>
                <a:gd name="T38" fmla="*/ 0 w 5"/>
                <a:gd name="T39" fmla="*/ 2 h 7"/>
                <a:gd name="T40" fmla="*/ 0 w 5"/>
                <a:gd name="T41" fmla="*/ 0 h 7"/>
                <a:gd name="T42" fmla="*/ 0 w 5"/>
                <a:gd name="T43" fmla="*/ 2 h 7"/>
                <a:gd name="T44" fmla="*/ 0 w 5"/>
                <a:gd name="T45" fmla="*/ 2 h 7"/>
                <a:gd name="T46" fmla="*/ 0 w 5"/>
                <a:gd name="T47" fmla="*/ 2 h 7"/>
                <a:gd name="T48" fmla="*/ 0 w 5"/>
                <a:gd name="T49" fmla="*/ 0 h 7"/>
                <a:gd name="T50" fmla="*/ 0 w 5"/>
                <a:gd name="T51" fmla="*/ 0 h 7"/>
                <a:gd name="T52" fmla="*/ 0 w 5"/>
                <a:gd name="T53" fmla="*/ 0 h 7"/>
                <a:gd name="T54" fmla="*/ 0 w 5"/>
                <a:gd name="T55" fmla="*/ 0 h 7"/>
                <a:gd name="T56" fmla="*/ 3 w 5"/>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 h="7">
                  <a:moveTo>
                    <a:pt x="3" y="0"/>
                  </a:moveTo>
                  <a:lnTo>
                    <a:pt x="3" y="0"/>
                  </a:lnTo>
                  <a:lnTo>
                    <a:pt x="5" y="2"/>
                  </a:lnTo>
                  <a:lnTo>
                    <a:pt x="5" y="4"/>
                  </a:lnTo>
                  <a:lnTo>
                    <a:pt x="5" y="4"/>
                  </a:lnTo>
                  <a:lnTo>
                    <a:pt x="5" y="7"/>
                  </a:lnTo>
                  <a:lnTo>
                    <a:pt x="3" y="7"/>
                  </a:lnTo>
                  <a:lnTo>
                    <a:pt x="3" y="7"/>
                  </a:lnTo>
                  <a:lnTo>
                    <a:pt x="3" y="7"/>
                  </a:lnTo>
                  <a:lnTo>
                    <a:pt x="3" y="7"/>
                  </a:lnTo>
                  <a:lnTo>
                    <a:pt x="3" y="7"/>
                  </a:lnTo>
                  <a:lnTo>
                    <a:pt x="3" y="4"/>
                  </a:lnTo>
                  <a:lnTo>
                    <a:pt x="3" y="4"/>
                  </a:lnTo>
                  <a:lnTo>
                    <a:pt x="3" y="4"/>
                  </a:lnTo>
                  <a:lnTo>
                    <a:pt x="3" y="4"/>
                  </a:lnTo>
                  <a:lnTo>
                    <a:pt x="3" y="2"/>
                  </a:lnTo>
                  <a:lnTo>
                    <a:pt x="3" y="2"/>
                  </a:lnTo>
                  <a:lnTo>
                    <a:pt x="3" y="2"/>
                  </a:lnTo>
                  <a:lnTo>
                    <a:pt x="3" y="2"/>
                  </a:lnTo>
                  <a:lnTo>
                    <a:pt x="0" y="2"/>
                  </a:lnTo>
                  <a:lnTo>
                    <a:pt x="0" y="0"/>
                  </a:lnTo>
                  <a:lnTo>
                    <a:pt x="0" y="2"/>
                  </a:lnTo>
                  <a:lnTo>
                    <a:pt x="0" y="2"/>
                  </a:lnTo>
                  <a:lnTo>
                    <a:pt x="0" y="2"/>
                  </a:lnTo>
                  <a:lnTo>
                    <a:pt x="0" y="0"/>
                  </a:lnTo>
                  <a:lnTo>
                    <a:pt x="0" y="0"/>
                  </a:lnTo>
                  <a:lnTo>
                    <a:pt x="0" y="0"/>
                  </a:lnTo>
                  <a:lnTo>
                    <a:pt x="0" y="0"/>
                  </a:lnTo>
                  <a:lnTo>
                    <a:pt x="3"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769">
              <a:extLst>
                <a:ext uri="{FF2B5EF4-FFF2-40B4-BE49-F238E27FC236}">
                  <a16:creationId xmlns:a16="http://schemas.microsoft.com/office/drawing/2014/main" id="{80F54029-859E-4729-9EA8-70EF4FD5D44D}"/>
                </a:ext>
              </a:extLst>
            </p:cNvPr>
            <p:cNvSpPr>
              <a:spLocks noEditPoints="1"/>
            </p:cNvSpPr>
            <p:nvPr/>
          </p:nvSpPr>
          <p:spPr bwMode="auto">
            <a:xfrm>
              <a:off x="7401719" y="4411663"/>
              <a:ext cx="141288" cy="77788"/>
            </a:xfrm>
            <a:custGeom>
              <a:avLst/>
              <a:gdLst>
                <a:gd name="T0" fmla="*/ 86 w 89"/>
                <a:gd name="T1" fmla="*/ 40 h 49"/>
                <a:gd name="T2" fmla="*/ 86 w 89"/>
                <a:gd name="T3" fmla="*/ 45 h 49"/>
                <a:gd name="T4" fmla="*/ 86 w 89"/>
                <a:gd name="T5" fmla="*/ 45 h 49"/>
                <a:gd name="T6" fmla="*/ 86 w 89"/>
                <a:gd name="T7" fmla="*/ 40 h 49"/>
                <a:gd name="T8" fmla="*/ 75 w 89"/>
                <a:gd name="T9" fmla="*/ 45 h 49"/>
                <a:gd name="T10" fmla="*/ 65 w 89"/>
                <a:gd name="T11" fmla="*/ 45 h 49"/>
                <a:gd name="T12" fmla="*/ 75 w 89"/>
                <a:gd name="T13" fmla="*/ 42 h 49"/>
                <a:gd name="T14" fmla="*/ 68 w 89"/>
                <a:gd name="T15" fmla="*/ 47 h 49"/>
                <a:gd name="T16" fmla="*/ 68 w 89"/>
                <a:gd name="T17" fmla="*/ 42 h 49"/>
                <a:gd name="T18" fmla="*/ 68 w 89"/>
                <a:gd name="T19" fmla="*/ 42 h 49"/>
                <a:gd name="T20" fmla="*/ 68 w 89"/>
                <a:gd name="T21" fmla="*/ 42 h 49"/>
                <a:gd name="T22" fmla="*/ 84 w 89"/>
                <a:gd name="T23" fmla="*/ 33 h 49"/>
                <a:gd name="T24" fmla="*/ 56 w 89"/>
                <a:gd name="T25" fmla="*/ 3 h 49"/>
                <a:gd name="T26" fmla="*/ 59 w 89"/>
                <a:gd name="T27" fmla="*/ 5 h 49"/>
                <a:gd name="T28" fmla="*/ 59 w 89"/>
                <a:gd name="T29" fmla="*/ 5 h 49"/>
                <a:gd name="T30" fmla="*/ 56 w 89"/>
                <a:gd name="T31" fmla="*/ 10 h 49"/>
                <a:gd name="T32" fmla="*/ 54 w 89"/>
                <a:gd name="T33" fmla="*/ 17 h 49"/>
                <a:gd name="T34" fmla="*/ 56 w 89"/>
                <a:gd name="T35" fmla="*/ 19 h 49"/>
                <a:gd name="T36" fmla="*/ 56 w 89"/>
                <a:gd name="T37" fmla="*/ 19 h 49"/>
                <a:gd name="T38" fmla="*/ 63 w 89"/>
                <a:gd name="T39" fmla="*/ 19 h 49"/>
                <a:gd name="T40" fmla="*/ 68 w 89"/>
                <a:gd name="T41" fmla="*/ 26 h 49"/>
                <a:gd name="T42" fmla="*/ 63 w 89"/>
                <a:gd name="T43" fmla="*/ 26 h 49"/>
                <a:gd name="T44" fmla="*/ 70 w 89"/>
                <a:gd name="T45" fmla="*/ 31 h 49"/>
                <a:gd name="T46" fmla="*/ 75 w 89"/>
                <a:gd name="T47" fmla="*/ 31 h 49"/>
                <a:gd name="T48" fmla="*/ 79 w 89"/>
                <a:gd name="T49" fmla="*/ 31 h 49"/>
                <a:gd name="T50" fmla="*/ 82 w 89"/>
                <a:gd name="T51" fmla="*/ 24 h 49"/>
                <a:gd name="T52" fmla="*/ 79 w 89"/>
                <a:gd name="T53" fmla="*/ 21 h 49"/>
                <a:gd name="T54" fmla="*/ 75 w 89"/>
                <a:gd name="T55" fmla="*/ 21 h 49"/>
                <a:gd name="T56" fmla="*/ 82 w 89"/>
                <a:gd name="T57" fmla="*/ 24 h 49"/>
                <a:gd name="T58" fmla="*/ 84 w 89"/>
                <a:gd name="T59" fmla="*/ 26 h 49"/>
                <a:gd name="T60" fmla="*/ 77 w 89"/>
                <a:gd name="T61" fmla="*/ 35 h 49"/>
                <a:gd name="T62" fmla="*/ 75 w 89"/>
                <a:gd name="T63" fmla="*/ 38 h 49"/>
                <a:gd name="T64" fmla="*/ 68 w 89"/>
                <a:gd name="T65" fmla="*/ 35 h 49"/>
                <a:gd name="T66" fmla="*/ 65 w 89"/>
                <a:gd name="T67" fmla="*/ 33 h 49"/>
                <a:gd name="T68" fmla="*/ 65 w 89"/>
                <a:gd name="T69" fmla="*/ 40 h 49"/>
                <a:gd name="T70" fmla="*/ 63 w 89"/>
                <a:gd name="T71" fmla="*/ 42 h 49"/>
                <a:gd name="T72" fmla="*/ 59 w 89"/>
                <a:gd name="T73" fmla="*/ 42 h 49"/>
                <a:gd name="T74" fmla="*/ 59 w 89"/>
                <a:gd name="T75" fmla="*/ 40 h 49"/>
                <a:gd name="T76" fmla="*/ 56 w 89"/>
                <a:gd name="T77" fmla="*/ 38 h 49"/>
                <a:gd name="T78" fmla="*/ 52 w 89"/>
                <a:gd name="T79" fmla="*/ 33 h 49"/>
                <a:gd name="T80" fmla="*/ 45 w 89"/>
                <a:gd name="T81" fmla="*/ 31 h 49"/>
                <a:gd name="T82" fmla="*/ 38 w 89"/>
                <a:gd name="T83" fmla="*/ 33 h 49"/>
                <a:gd name="T84" fmla="*/ 24 w 89"/>
                <a:gd name="T85" fmla="*/ 38 h 49"/>
                <a:gd name="T86" fmla="*/ 14 w 89"/>
                <a:gd name="T87" fmla="*/ 40 h 49"/>
                <a:gd name="T88" fmla="*/ 3 w 89"/>
                <a:gd name="T89" fmla="*/ 42 h 49"/>
                <a:gd name="T90" fmla="*/ 0 w 89"/>
                <a:gd name="T91" fmla="*/ 35 h 49"/>
                <a:gd name="T92" fmla="*/ 0 w 89"/>
                <a:gd name="T93" fmla="*/ 26 h 49"/>
                <a:gd name="T94" fmla="*/ 3 w 89"/>
                <a:gd name="T95" fmla="*/ 19 h 49"/>
                <a:gd name="T96" fmla="*/ 10 w 89"/>
                <a:gd name="T97" fmla="*/ 17 h 49"/>
                <a:gd name="T98" fmla="*/ 19 w 89"/>
                <a:gd name="T99" fmla="*/ 14 h 49"/>
                <a:gd name="T100" fmla="*/ 28 w 89"/>
                <a:gd name="T101" fmla="*/ 12 h 49"/>
                <a:gd name="T102" fmla="*/ 38 w 89"/>
                <a:gd name="T103" fmla="*/ 10 h 49"/>
                <a:gd name="T104" fmla="*/ 45 w 89"/>
                <a:gd name="T105" fmla="*/ 7 h 49"/>
                <a:gd name="T106" fmla="*/ 49 w 89"/>
                <a:gd name="T107"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49">
                  <a:moveTo>
                    <a:pt x="70" y="49"/>
                  </a:moveTo>
                  <a:lnTo>
                    <a:pt x="68" y="49"/>
                  </a:lnTo>
                  <a:lnTo>
                    <a:pt x="70" y="49"/>
                  </a:lnTo>
                  <a:close/>
                  <a:moveTo>
                    <a:pt x="86" y="40"/>
                  </a:moveTo>
                  <a:lnTo>
                    <a:pt x="86" y="42"/>
                  </a:lnTo>
                  <a:lnTo>
                    <a:pt x="89" y="42"/>
                  </a:lnTo>
                  <a:lnTo>
                    <a:pt x="89" y="45"/>
                  </a:lnTo>
                  <a:lnTo>
                    <a:pt x="86" y="45"/>
                  </a:lnTo>
                  <a:lnTo>
                    <a:pt x="84" y="45"/>
                  </a:lnTo>
                  <a:lnTo>
                    <a:pt x="82" y="45"/>
                  </a:lnTo>
                  <a:lnTo>
                    <a:pt x="84" y="45"/>
                  </a:lnTo>
                  <a:lnTo>
                    <a:pt x="86" y="45"/>
                  </a:lnTo>
                  <a:lnTo>
                    <a:pt x="86" y="42"/>
                  </a:lnTo>
                  <a:lnTo>
                    <a:pt x="84" y="42"/>
                  </a:lnTo>
                  <a:lnTo>
                    <a:pt x="86" y="42"/>
                  </a:lnTo>
                  <a:lnTo>
                    <a:pt x="86" y="40"/>
                  </a:lnTo>
                  <a:lnTo>
                    <a:pt x="84" y="40"/>
                  </a:lnTo>
                  <a:lnTo>
                    <a:pt x="86" y="40"/>
                  </a:lnTo>
                  <a:close/>
                  <a:moveTo>
                    <a:pt x="77" y="45"/>
                  </a:moveTo>
                  <a:lnTo>
                    <a:pt x="75" y="45"/>
                  </a:lnTo>
                  <a:lnTo>
                    <a:pt x="75" y="42"/>
                  </a:lnTo>
                  <a:lnTo>
                    <a:pt x="77" y="42"/>
                  </a:lnTo>
                  <a:lnTo>
                    <a:pt x="77" y="45"/>
                  </a:lnTo>
                  <a:close/>
                  <a:moveTo>
                    <a:pt x="65" y="45"/>
                  </a:moveTo>
                  <a:lnTo>
                    <a:pt x="63" y="45"/>
                  </a:lnTo>
                  <a:lnTo>
                    <a:pt x="65" y="45"/>
                  </a:lnTo>
                  <a:close/>
                  <a:moveTo>
                    <a:pt x="72" y="42"/>
                  </a:moveTo>
                  <a:lnTo>
                    <a:pt x="75" y="42"/>
                  </a:lnTo>
                  <a:lnTo>
                    <a:pt x="75" y="45"/>
                  </a:lnTo>
                  <a:lnTo>
                    <a:pt x="70" y="45"/>
                  </a:lnTo>
                  <a:lnTo>
                    <a:pt x="70" y="47"/>
                  </a:lnTo>
                  <a:lnTo>
                    <a:pt x="68" y="47"/>
                  </a:lnTo>
                  <a:lnTo>
                    <a:pt x="70" y="45"/>
                  </a:lnTo>
                  <a:lnTo>
                    <a:pt x="70" y="42"/>
                  </a:lnTo>
                  <a:lnTo>
                    <a:pt x="72" y="42"/>
                  </a:lnTo>
                  <a:close/>
                  <a:moveTo>
                    <a:pt x="68" y="42"/>
                  </a:moveTo>
                  <a:lnTo>
                    <a:pt x="68" y="45"/>
                  </a:lnTo>
                  <a:lnTo>
                    <a:pt x="65" y="45"/>
                  </a:lnTo>
                  <a:lnTo>
                    <a:pt x="68" y="45"/>
                  </a:lnTo>
                  <a:lnTo>
                    <a:pt x="68" y="42"/>
                  </a:lnTo>
                  <a:lnTo>
                    <a:pt x="68" y="40"/>
                  </a:lnTo>
                  <a:lnTo>
                    <a:pt x="70" y="40"/>
                  </a:lnTo>
                  <a:lnTo>
                    <a:pt x="70" y="42"/>
                  </a:lnTo>
                  <a:lnTo>
                    <a:pt x="68" y="42"/>
                  </a:lnTo>
                  <a:close/>
                  <a:moveTo>
                    <a:pt x="84" y="35"/>
                  </a:moveTo>
                  <a:lnTo>
                    <a:pt x="84" y="33"/>
                  </a:lnTo>
                  <a:lnTo>
                    <a:pt x="84" y="31"/>
                  </a:lnTo>
                  <a:lnTo>
                    <a:pt x="84" y="33"/>
                  </a:lnTo>
                  <a:lnTo>
                    <a:pt x="84" y="35"/>
                  </a:lnTo>
                  <a:close/>
                  <a:moveTo>
                    <a:pt x="54" y="0"/>
                  </a:moveTo>
                  <a:lnTo>
                    <a:pt x="54" y="3"/>
                  </a:lnTo>
                  <a:lnTo>
                    <a:pt x="56" y="3"/>
                  </a:lnTo>
                  <a:lnTo>
                    <a:pt x="56" y="5"/>
                  </a:lnTo>
                  <a:lnTo>
                    <a:pt x="54" y="5"/>
                  </a:lnTo>
                  <a:lnTo>
                    <a:pt x="56" y="5"/>
                  </a:lnTo>
                  <a:lnTo>
                    <a:pt x="59" y="5"/>
                  </a:lnTo>
                  <a:lnTo>
                    <a:pt x="56" y="5"/>
                  </a:lnTo>
                  <a:lnTo>
                    <a:pt x="56" y="7"/>
                  </a:lnTo>
                  <a:lnTo>
                    <a:pt x="59" y="7"/>
                  </a:lnTo>
                  <a:lnTo>
                    <a:pt x="59" y="5"/>
                  </a:lnTo>
                  <a:lnTo>
                    <a:pt x="61" y="5"/>
                  </a:lnTo>
                  <a:lnTo>
                    <a:pt x="61" y="7"/>
                  </a:lnTo>
                  <a:lnTo>
                    <a:pt x="59" y="7"/>
                  </a:lnTo>
                  <a:lnTo>
                    <a:pt x="56" y="10"/>
                  </a:lnTo>
                  <a:lnTo>
                    <a:pt x="56" y="12"/>
                  </a:lnTo>
                  <a:lnTo>
                    <a:pt x="56" y="14"/>
                  </a:lnTo>
                  <a:lnTo>
                    <a:pt x="54" y="14"/>
                  </a:lnTo>
                  <a:lnTo>
                    <a:pt x="54" y="17"/>
                  </a:lnTo>
                  <a:lnTo>
                    <a:pt x="56" y="17"/>
                  </a:lnTo>
                  <a:lnTo>
                    <a:pt x="54" y="17"/>
                  </a:lnTo>
                  <a:lnTo>
                    <a:pt x="54" y="19"/>
                  </a:lnTo>
                  <a:lnTo>
                    <a:pt x="56" y="19"/>
                  </a:lnTo>
                  <a:lnTo>
                    <a:pt x="56" y="21"/>
                  </a:lnTo>
                  <a:lnTo>
                    <a:pt x="56" y="19"/>
                  </a:lnTo>
                  <a:lnTo>
                    <a:pt x="59" y="19"/>
                  </a:lnTo>
                  <a:lnTo>
                    <a:pt x="56" y="19"/>
                  </a:lnTo>
                  <a:lnTo>
                    <a:pt x="56" y="17"/>
                  </a:lnTo>
                  <a:lnTo>
                    <a:pt x="59" y="19"/>
                  </a:lnTo>
                  <a:lnTo>
                    <a:pt x="61" y="19"/>
                  </a:lnTo>
                  <a:lnTo>
                    <a:pt x="63" y="19"/>
                  </a:lnTo>
                  <a:lnTo>
                    <a:pt x="63" y="21"/>
                  </a:lnTo>
                  <a:lnTo>
                    <a:pt x="65" y="24"/>
                  </a:lnTo>
                  <a:lnTo>
                    <a:pt x="68" y="24"/>
                  </a:lnTo>
                  <a:lnTo>
                    <a:pt x="68" y="26"/>
                  </a:lnTo>
                  <a:lnTo>
                    <a:pt x="65" y="26"/>
                  </a:lnTo>
                  <a:lnTo>
                    <a:pt x="65" y="24"/>
                  </a:lnTo>
                  <a:lnTo>
                    <a:pt x="65" y="26"/>
                  </a:lnTo>
                  <a:lnTo>
                    <a:pt x="63" y="26"/>
                  </a:lnTo>
                  <a:lnTo>
                    <a:pt x="65" y="28"/>
                  </a:lnTo>
                  <a:lnTo>
                    <a:pt x="68" y="26"/>
                  </a:lnTo>
                  <a:lnTo>
                    <a:pt x="70" y="28"/>
                  </a:lnTo>
                  <a:lnTo>
                    <a:pt x="70" y="31"/>
                  </a:lnTo>
                  <a:lnTo>
                    <a:pt x="72" y="33"/>
                  </a:lnTo>
                  <a:lnTo>
                    <a:pt x="75" y="33"/>
                  </a:lnTo>
                  <a:lnTo>
                    <a:pt x="77" y="31"/>
                  </a:lnTo>
                  <a:lnTo>
                    <a:pt x="75" y="31"/>
                  </a:lnTo>
                  <a:lnTo>
                    <a:pt x="75" y="33"/>
                  </a:lnTo>
                  <a:lnTo>
                    <a:pt x="77" y="33"/>
                  </a:lnTo>
                  <a:lnTo>
                    <a:pt x="77" y="31"/>
                  </a:lnTo>
                  <a:lnTo>
                    <a:pt x="79" y="31"/>
                  </a:lnTo>
                  <a:lnTo>
                    <a:pt x="79" y="28"/>
                  </a:lnTo>
                  <a:lnTo>
                    <a:pt x="82" y="28"/>
                  </a:lnTo>
                  <a:lnTo>
                    <a:pt x="82" y="26"/>
                  </a:lnTo>
                  <a:lnTo>
                    <a:pt x="82" y="24"/>
                  </a:lnTo>
                  <a:lnTo>
                    <a:pt x="79" y="24"/>
                  </a:lnTo>
                  <a:lnTo>
                    <a:pt x="79" y="26"/>
                  </a:lnTo>
                  <a:lnTo>
                    <a:pt x="79" y="24"/>
                  </a:lnTo>
                  <a:lnTo>
                    <a:pt x="79" y="21"/>
                  </a:lnTo>
                  <a:lnTo>
                    <a:pt x="77" y="21"/>
                  </a:lnTo>
                  <a:lnTo>
                    <a:pt x="75" y="21"/>
                  </a:lnTo>
                  <a:lnTo>
                    <a:pt x="77" y="21"/>
                  </a:lnTo>
                  <a:lnTo>
                    <a:pt x="75" y="21"/>
                  </a:lnTo>
                  <a:lnTo>
                    <a:pt x="75" y="19"/>
                  </a:lnTo>
                  <a:lnTo>
                    <a:pt x="77" y="19"/>
                  </a:lnTo>
                  <a:lnTo>
                    <a:pt x="79" y="21"/>
                  </a:lnTo>
                  <a:lnTo>
                    <a:pt x="82" y="24"/>
                  </a:lnTo>
                  <a:lnTo>
                    <a:pt x="84" y="26"/>
                  </a:lnTo>
                  <a:lnTo>
                    <a:pt x="82" y="26"/>
                  </a:lnTo>
                  <a:lnTo>
                    <a:pt x="82" y="28"/>
                  </a:lnTo>
                  <a:lnTo>
                    <a:pt x="84" y="26"/>
                  </a:lnTo>
                  <a:lnTo>
                    <a:pt x="84" y="28"/>
                  </a:lnTo>
                  <a:lnTo>
                    <a:pt x="84" y="31"/>
                  </a:lnTo>
                  <a:lnTo>
                    <a:pt x="79" y="33"/>
                  </a:lnTo>
                  <a:lnTo>
                    <a:pt x="77" y="35"/>
                  </a:lnTo>
                  <a:lnTo>
                    <a:pt x="77" y="33"/>
                  </a:lnTo>
                  <a:lnTo>
                    <a:pt x="77" y="35"/>
                  </a:lnTo>
                  <a:lnTo>
                    <a:pt x="75" y="35"/>
                  </a:lnTo>
                  <a:lnTo>
                    <a:pt x="75" y="38"/>
                  </a:lnTo>
                  <a:lnTo>
                    <a:pt x="72" y="38"/>
                  </a:lnTo>
                  <a:lnTo>
                    <a:pt x="70" y="40"/>
                  </a:lnTo>
                  <a:lnTo>
                    <a:pt x="70" y="38"/>
                  </a:lnTo>
                  <a:lnTo>
                    <a:pt x="68" y="35"/>
                  </a:lnTo>
                  <a:lnTo>
                    <a:pt x="68" y="33"/>
                  </a:lnTo>
                  <a:lnTo>
                    <a:pt x="68" y="35"/>
                  </a:lnTo>
                  <a:lnTo>
                    <a:pt x="68" y="33"/>
                  </a:lnTo>
                  <a:lnTo>
                    <a:pt x="65" y="33"/>
                  </a:lnTo>
                  <a:lnTo>
                    <a:pt x="68" y="35"/>
                  </a:lnTo>
                  <a:lnTo>
                    <a:pt x="65" y="35"/>
                  </a:lnTo>
                  <a:lnTo>
                    <a:pt x="65" y="38"/>
                  </a:lnTo>
                  <a:lnTo>
                    <a:pt x="65" y="40"/>
                  </a:lnTo>
                  <a:lnTo>
                    <a:pt x="63" y="40"/>
                  </a:lnTo>
                  <a:lnTo>
                    <a:pt x="63" y="38"/>
                  </a:lnTo>
                  <a:lnTo>
                    <a:pt x="63" y="40"/>
                  </a:lnTo>
                  <a:lnTo>
                    <a:pt x="63" y="42"/>
                  </a:lnTo>
                  <a:lnTo>
                    <a:pt x="61" y="42"/>
                  </a:lnTo>
                  <a:lnTo>
                    <a:pt x="61" y="45"/>
                  </a:lnTo>
                  <a:lnTo>
                    <a:pt x="61" y="42"/>
                  </a:lnTo>
                  <a:lnTo>
                    <a:pt x="59" y="42"/>
                  </a:lnTo>
                  <a:lnTo>
                    <a:pt x="61" y="42"/>
                  </a:lnTo>
                  <a:lnTo>
                    <a:pt x="59" y="45"/>
                  </a:lnTo>
                  <a:lnTo>
                    <a:pt x="59" y="42"/>
                  </a:lnTo>
                  <a:lnTo>
                    <a:pt x="59" y="40"/>
                  </a:lnTo>
                  <a:lnTo>
                    <a:pt x="56" y="40"/>
                  </a:lnTo>
                  <a:lnTo>
                    <a:pt x="56" y="38"/>
                  </a:lnTo>
                  <a:lnTo>
                    <a:pt x="56" y="35"/>
                  </a:lnTo>
                  <a:lnTo>
                    <a:pt x="56" y="38"/>
                  </a:lnTo>
                  <a:lnTo>
                    <a:pt x="54" y="38"/>
                  </a:lnTo>
                  <a:lnTo>
                    <a:pt x="52" y="38"/>
                  </a:lnTo>
                  <a:lnTo>
                    <a:pt x="52" y="35"/>
                  </a:lnTo>
                  <a:lnTo>
                    <a:pt x="52" y="33"/>
                  </a:lnTo>
                  <a:lnTo>
                    <a:pt x="49" y="33"/>
                  </a:lnTo>
                  <a:lnTo>
                    <a:pt x="49" y="31"/>
                  </a:lnTo>
                  <a:lnTo>
                    <a:pt x="47" y="31"/>
                  </a:lnTo>
                  <a:lnTo>
                    <a:pt x="45" y="31"/>
                  </a:lnTo>
                  <a:lnTo>
                    <a:pt x="45" y="33"/>
                  </a:lnTo>
                  <a:lnTo>
                    <a:pt x="42" y="33"/>
                  </a:lnTo>
                  <a:lnTo>
                    <a:pt x="40" y="33"/>
                  </a:lnTo>
                  <a:lnTo>
                    <a:pt x="38" y="33"/>
                  </a:lnTo>
                  <a:lnTo>
                    <a:pt x="33" y="35"/>
                  </a:lnTo>
                  <a:lnTo>
                    <a:pt x="31" y="35"/>
                  </a:lnTo>
                  <a:lnTo>
                    <a:pt x="26" y="35"/>
                  </a:lnTo>
                  <a:lnTo>
                    <a:pt x="24" y="38"/>
                  </a:lnTo>
                  <a:lnTo>
                    <a:pt x="21" y="38"/>
                  </a:lnTo>
                  <a:lnTo>
                    <a:pt x="17" y="38"/>
                  </a:lnTo>
                  <a:lnTo>
                    <a:pt x="17" y="40"/>
                  </a:lnTo>
                  <a:lnTo>
                    <a:pt x="14" y="40"/>
                  </a:lnTo>
                  <a:lnTo>
                    <a:pt x="12" y="40"/>
                  </a:lnTo>
                  <a:lnTo>
                    <a:pt x="10" y="40"/>
                  </a:lnTo>
                  <a:lnTo>
                    <a:pt x="7" y="40"/>
                  </a:lnTo>
                  <a:lnTo>
                    <a:pt x="3" y="42"/>
                  </a:lnTo>
                  <a:lnTo>
                    <a:pt x="0" y="42"/>
                  </a:lnTo>
                  <a:lnTo>
                    <a:pt x="0" y="40"/>
                  </a:lnTo>
                  <a:lnTo>
                    <a:pt x="0" y="38"/>
                  </a:lnTo>
                  <a:lnTo>
                    <a:pt x="0" y="35"/>
                  </a:lnTo>
                  <a:lnTo>
                    <a:pt x="0" y="33"/>
                  </a:lnTo>
                  <a:lnTo>
                    <a:pt x="0" y="31"/>
                  </a:lnTo>
                  <a:lnTo>
                    <a:pt x="0" y="28"/>
                  </a:lnTo>
                  <a:lnTo>
                    <a:pt x="0" y="26"/>
                  </a:lnTo>
                  <a:lnTo>
                    <a:pt x="0" y="24"/>
                  </a:lnTo>
                  <a:lnTo>
                    <a:pt x="0" y="21"/>
                  </a:lnTo>
                  <a:lnTo>
                    <a:pt x="0" y="19"/>
                  </a:lnTo>
                  <a:lnTo>
                    <a:pt x="3" y="19"/>
                  </a:lnTo>
                  <a:lnTo>
                    <a:pt x="5" y="19"/>
                  </a:lnTo>
                  <a:lnTo>
                    <a:pt x="7" y="19"/>
                  </a:lnTo>
                  <a:lnTo>
                    <a:pt x="7" y="17"/>
                  </a:lnTo>
                  <a:lnTo>
                    <a:pt x="10" y="17"/>
                  </a:lnTo>
                  <a:lnTo>
                    <a:pt x="12" y="17"/>
                  </a:lnTo>
                  <a:lnTo>
                    <a:pt x="14" y="17"/>
                  </a:lnTo>
                  <a:lnTo>
                    <a:pt x="17" y="17"/>
                  </a:lnTo>
                  <a:lnTo>
                    <a:pt x="19" y="14"/>
                  </a:lnTo>
                  <a:lnTo>
                    <a:pt x="21" y="14"/>
                  </a:lnTo>
                  <a:lnTo>
                    <a:pt x="24" y="14"/>
                  </a:lnTo>
                  <a:lnTo>
                    <a:pt x="26" y="14"/>
                  </a:lnTo>
                  <a:lnTo>
                    <a:pt x="28" y="12"/>
                  </a:lnTo>
                  <a:lnTo>
                    <a:pt x="31" y="12"/>
                  </a:lnTo>
                  <a:lnTo>
                    <a:pt x="33" y="12"/>
                  </a:lnTo>
                  <a:lnTo>
                    <a:pt x="35" y="12"/>
                  </a:lnTo>
                  <a:lnTo>
                    <a:pt x="38" y="10"/>
                  </a:lnTo>
                  <a:lnTo>
                    <a:pt x="40" y="10"/>
                  </a:lnTo>
                  <a:lnTo>
                    <a:pt x="42" y="10"/>
                  </a:lnTo>
                  <a:lnTo>
                    <a:pt x="45" y="10"/>
                  </a:lnTo>
                  <a:lnTo>
                    <a:pt x="45" y="7"/>
                  </a:lnTo>
                  <a:lnTo>
                    <a:pt x="47" y="7"/>
                  </a:lnTo>
                  <a:lnTo>
                    <a:pt x="47" y="5"/>
                  </a:lnTo>
                  <a:lnTo>
                    <a:pt x="47" y="3"/>
                  </a:lnTo>
                  <a:lnTo>
                    <a:pt x="49" y="3"/>
                  </a:lnTo>
                  <a:lnTo>
                    <a:pt x="52" y="0"/>
                  </a:lnTo>
                  <a:lnTo>
                    <a:pt x="54"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770">
              <a:extLst>
                <a:ext uri="{FF2B5EF4-FFF2-40B4-BE49-F238E27FC236}">
                  <a16:creationId xmlns:a16="http://schemas.microsoft.com/office/drawing/2014/main" id="{BC236543-3C1B-47B2-8ADF-03FC653AAED7}"/>
                </a:ext>
              </a:extLst>
            </p:cNvPr>
            <p:cNvSpPr>
              <a:spLocks/>
            </p:cNvSpPr>
            <p:nvPr/>
          </p:nvSpPr>
          <p:spPr bwMode="auto">
            <a:xfrm>
              <a:off x="6522244" y="4216401"/>
              <a:ext cx="258763" cy="300038"/>
            </a:xfrm>
            <a:custGeom>
              <a:avLst/>
              <a:gdLst>
                <a:gd name="T0" fmla="*/ 149 w 163"/>
                <a:gd name="T1" fmla="*/ 47 h 189"/>
                <a:gd name="T2" fmla="*/ 135 w 163"/>
                <a:gd name="T3" fmla="*/ 56 h 189"/>
                <a:gd name="T4" fmla="*/ 121 w 163"/>
                <a:gd name="T5" fmla="*/ 72 h 189"/>
                <a:gd name="T6" fmla="*/ 112 w 163"/>
                <a:gd name="T7" fmla="*/ 79 h 189"/>
                <a:gd name="T8" fmla="*/ 107 w 163"/>
                <a:gd name="T9" fmla="*/ 86 h 189"/>
                <a:gd name="T10" fmla="*/ 107 w 163"/>
                <a:gd name="T11" fmla="*/ 98 h 189"/>
                <a:gd name="T12" fmla="*/ 105 w 163"/>
                <a:gd name="T13" fmla="*/ 107 h 189"/>
                <a:gd name="T14" fmla="*/ 98 w 163"/>
                <a:gd name="T15" fmla="*/ 112 h 189"/>
                <a:gd name="T16" fmla="*/ 98 w 163"/>
                <a:gd name="T17" fmla="*/ 121 h 189"/>
                <a:gd name="T18" fmla="*/ 98 w 163"/>
                <a:gd name="T19" fmla="*/ 128 h 189"/>
                <a:gd name="T20" fmla="*/ 98 w 163"/>
                <a:gd name="T21" fmla="*/ 140 h 189"/>
                <a:gd name="T22" fmla="*/ 103 w 163"/>
                <a:gd name="T23" fmla="*/ 149 h 189"/>
                <a:gd name="T24" fmla="*/ 110 w 163"/>
                <a:gd name="T25" fmla="*/ 156 h 189"/>
                <a:gd name="T26" fmla="*/ 121 w 163"/>
                <a:gd name="T27" fmla="*/ 165 h 189"/>
                <a:gd name="T28" fmla="*/ 131 w 163"/>
                <a:gd name="T29" fmla="*/ 170 h 189"/>
                <a:gd name="T30" fmla="*/ 135 w 163"/>
                <a:gd name="T31" fmla="*/ 177 h 189"/>
                <a:gd name="T32" fmla="*/ 121 w 163"/>
                <a:gd name="T33" fmla="*/ 186 h 189"/>
                <a:gd name="T34" fmla="*/ 91 w 163"/>
                <a:gd name="T35" fmla="*/ 186 h 189"/>
                <a:gd name="T36" fmla="*/ 54 w 163"/>
                <a:gd name="T37" fmla="*/ 189 h 189"/>
                <a:gd name="T38" fmla="*/ 14 w 163"/>
                <a:gd name="T39" fmla="*/ 189 h 189"/>
                <a:gd name="T40" fmla="*/ 14 w 163"/>
                <a:gd name="T41" fmla="*/ 154 h 189"/>
                <a:gd name="T42" fmla="*/ 14 w 163"/>
                <a:gd name="T43" fmla="*/ 128 h 189"/>
                <a:gd name="T44" fmla="*/ 7 w 163"/>
                <a:gd name="T45" fmla="*/ 121 h 189"/>
                <a:gd name="T46" fmla="*/ 10 w 163"/>
                <a:gd name="T47" fmla="*/ 116 h 189"/>
                <a:gd name="T48" fmla="*/ 12 w 163"/>
                <a:gd name="T49" fmla="*/ 107 h 189"/>
                <a:gd name="T50" fmla="*/ 12 w 163"/>
                <a:gd name="T51" fmla="*/ 95 h 189"/>
                <a:gd name="T52" fmla="*/ 7 w 163"/>
                <a:gd name="T53" fmla="*/ 86 h 189"/>
                <a:gd name="T54" fmla="*/ 7 w 163"/>
                <a:gd name="T55" fmla="*/ 79 h 189"/>
                <a:gd name="T56" fmla="*/ 7 w 163"/>
                <a:gd name="T57" fmla="*/ 68 h 189"/>
                <a:gd name="T58" fmla="*/ 5 w 163"/>
                <a:gd name="T59" fmla="*/ 54 h 189"/>
                <a:gd name="T60" fmla="*/ 5 w 163"/>
                <a:gd name="T61" fmla="*/ 47 h 189"/>
                <a:gd name="T62" fmla="*/ 0 w 163"/>
                <a:gd name="T63" fmla="*/ 37 h 189"/>
                <a:gd name="T64" fmla="*/ 0 w 163"/>
                <a:gd name="T65" fmla="*/ 28 h 189"/>
                <a:gd name="T66" fmla="*/ 0 w 163"/>
                <a:gd name="T67" fmla="*/ 19 h 189"/>
                <a:gd name="T68" fmla="*/ 10 w 163"/>
                <a:gd name="T69" fmla="*/ 12 h 189"/>
                <a:gd name="T70" fmla="*/ 33 w 163"/>
                <a:gd name="T71" fmla="*/ 12 h 189"/>
                <a:gd name="T72" fmla="*/ 42 w 163"/>
                <a:gd name="T73" fmla="*/ 2 h 189"/>
                <a:gd name="T74" fmla="*/ 49 w 163"/>
                <a:gd name="T75" fmla="*/ 2 h 189"/>
                <a:gd name="T76" fmla="*/ 54 w 163"/>
                <a:gd name="T77" fmla="*/ 14 h 189"/>
                <a:gd name="T78" fmla="*/ 61 w 163"/>
                <a:gd name="T79" fmla="*/ 21 h 189"/>
                <a:gd name="T80" fmla="*/ 73 w 163"/>
                <a:gd name="T81" fmla="*/ 23 h 189"/>
                <a:gd name="T82" fmla="*/ 82 w 163"/>
                <a:gd name="T83" fmla="*/ 23 h 189"/>
                <a:gd name="T84" fmla="*/ 98 w 163"/>
                <a:gd name="T85" fmla="*/ 26 h 189"/>
                <a:gd name="T86" fmla="*/ 100 w 163"/>
                <a:gd name="T87" fmla="*/ 33 h 189"/>
                <a:gd name="T88" fmla="*/ 105 w 163"/>
                <a:gd name="T89" fmla="*/ 30 h 189"/>
                <a:gd name="T90" fmla="*/ 112 w 163"/>
                <a:gd name="T91" fmla="*/ 35 h 189"/>
                <a:gd name="T92" fmla="*/ 117 w 163"/>
                <a:gd name="T93" fmla="*/ 37 h 189"/>
                <a:gd name="T94" fmla="*/ 128 w 163"/>
                <a:gd name="T95" fmla="*/ 40 h 189"/>
                <a:gd name="T96" fmla="*/ 135 w 163"/>
                <a:gd name="T97" fmla="*/ 35 h 189"/>
                <a:gd name="T98" fmla="*/ 145 w 163"/>
                <a:gd name="T99" fmla="*/ 37 h 189"/>
                <a:gd name="T100" fmla="*/ 159 w 163"/>
                <a:gd name="T101"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89">
                  <a:moveTo>
                    <a:pt x="163" y="40"/>
                  </a:moveTo>
                  <a:lnTo>
                    <a:pt x="161" y="40"/>
                  </a:lnTo>
                  <a:lnTo>
                    <a:pt x="161" y="42"/>
                  </a:lnTo>
                  <a:lnTo>
                    <a:pt x="154" y="47"/>
                  </a:lnTo>
                  <a:lnTo>
                    <a:pt x="149" y="47"/>
                  </a:lnTo>
                  <a:lnTo>
                    <a:pt x="149" y="49"/>
                  </a:lnTo>
                  <a:lnTo>
                    <a:pt x="147" y="49"/>
                  </a:lnTo>
                  <a:lnTo>
                    <a:pt x="145" y="49"/>
                  </a:lnTo>
                  <a:lnTo>
                    <a:pt x="138" y="54"/>
                  </a:lnTo>
                  <a:lnTo>
                    <a:pt x="135" y="56"/>
                  </a:lnTo>
                  <a:lnTo>
                    <a:pt x="133" y="58"/>
                  </a:lnTo>
                  <a:lnTo>
                    <a:pt x="128" y="63"/>
                  </a:lnTo>
                  <a:lnTo>
                    <a:pt x="124" y="70"/>
                  </a:lnTo>
                  <a:lnTo>
                    <a:pt x="121" y="70"/>
                  </a:lnTo>
                  <a:lnTo>
                    <a:pt x="121" y="72"/>
                  </a:lnTo>
                  <a:lnTo>
                    <a:pt x="119" y="75"/>
                  </a:lnTo>
                  <a:lnTo>
                    <a:pt x="117" y="75"/>
                  </a:lnTo>
                  <a:lnTo>
                    <a:pt x="117" y="77"/>
                  </a:lnTo>
                  <a:lnTo>
                    <a:pt x="114" y="77"/>
                  </a:lnTo>
                  <a:lnTo>
                    <a:pt x="112" y="79"/>
                  </a:lnTo>
                  <a:lnTo>
                    <a:pt x="112" y="82"/>
                  </a:lnTo>
                  <a:lnTo>
                    <a:pt x="110" y="82"/>
                  </a:lnTo>
                  <a:lnTo>
                    <a:pt x="110" y="84"/>
                  </a:lnTo>
                  <a:lnTo>
                    <a:pt x="110" y="86"/>
                  </a:lnTo>
                  <a:lnTo>
                    <a:pt x="107" y="86"/>
                  </a:lnTo>
                  <a:lnTo>
                    <a:pt x="107" y="88"/>
                  </a:lnTo>
                  <a:lnTo>
                    <a:pt x="107" y="91"/>
                  </a:lnTo>
                  <a:lnTo>
                    <a:pt x="107" y="93"/>
                  </a:lnTo>
                  <a:lnTo>
                    <a:pt x="107" y="95"/>
                  </a:lnTo>
                  <a:lnTo>
                    <a:pt x="107" y="98"/>
                  </a:lnTo>
                  <a:lnTo>
                    <a:pt x="107" y="100"/>
                  </a:lnTo>
                  <a:lnTo>
                    <a:pt x="107" y="102"/>
                  </a:lnTo>
                  <a:lnTo>
                    <a:pt x="107" y="105"/>
                  </a:lnTo>
                  <a:lnTo>
                    <a:pt x="105" y="105"/>
                  </a:lnTo>
                  <a:lnTo>
                    <a:pt x="105" y="107"/>
                  </a:lnTo>
                  <a:lnTo>
                    <a:pt x="103" y="107"/>
                  </a:lnTo>
                  <a:lnTo>
                    <a:pt x="100" y="107"/>
                  </a:lnTo>
                  <a:lnTo>
                    <a:pt x="100" y="109"/>
                  </a:lnTo>
                  <a:lnTo>
                    <a:pt x="98" y="109"/>
                  </a:lnTo>
                  <a:lnTo>
                    <a:pt x="98" y="112"/>
                  </a:lnTo>
                  <a:lnTo>
                    <a:pt x="98" y="114"/>
                  </a:lnTo>
                  <a:lnTo>
                    <a:pt x="96" y="116"/>
                  </a:lnTo>
                  <a:lnTo>
                    <a:pt x="96" y="119"/>
                  </a:lnTo>
                  <a:lnTo>
                    <a:pt x="96" y="121"/>
                  </a:lnTo>
                  <a:lnTo>
                    <a:pt x="98" y="121"/>
                  </a:lnTo>
                  <a:lnTo>
                    <a:pt x="98" y="123"/>
                  </a:lnTo>
                  <a:lnTo>
                    <a:pt x="100" y="123"/>
                  </a:lnTo>
                  <a:lnTo>
                    <a:pt x="100" y="126"/>
                  </a:lnTo>
                  <a:lnTo>
                    <a:pt x="100" y="128"/>
                  </a:lnTo>
                  <a:lnTo>
                    <a:pt x="98" y="128"/>
                  </a:lnTo>
                  <a:lnTo>
                    <a:pt x="98" y="130"/>
                  </a:lnTo>
                  <a:lnTo>
                    <a:pt x="98" y="133"/>
                  </a:lnTo>
                  <a:lnTo>
                    <a:pt x="98" y="135"/>
                  </a:lnTo>
                  <a:lnTo>
                    <a:pt x="98" y="137"/>
                  </a:lnTo>
                  <a:lnTo>
                    <a:pt x="98" y="140"/>
                  </a:lnTo>
                  <a:lnTo>
                    <a:pt x="98" y="142"/>
                  </a:lnTo>
                  <a:lnTo>
                    <a:pt x="98" y="144"/>
                  </a:lnTo>
                  <a:lnTo>
                    <a:pt x="98" y="147"/>
                  </a:lnTo>
                  <a:lnTo>
                    <a:pt x="100" y="149"/>
                  </a:lnTo>
                  <a:lnTo>
                    <a:pt x="103" y="149"/>
                  </a:lnTo>
                  <a:lnTo>
                    <a:pt x="103" y="151"/>
                  </a:lnTo>
                  <a:lnTo>
                    <a:pt x="107" y="151"/>
                  </a:lnTo>
                  <a:lnTo>
                    <a:pt x="110" y="151"/>
                  </a:lnTo>
                  <a:lnTo>
                    <a:pt x="110" y="154"/>
                  </a:lnTo>
                  <a:lnTo>
                    <a:pt x="110" y="156"/>
                  </a:lnTo>
                  <a:lnTo>
                    <a:pt x="114" y="156"/>
                  </a:lnTo>
                  <a:lnTo>
                    <a:pt x="119" y="158"/>
                  </a:lnTo>
                  <a:lnTo>
                    <a:pt x="119" y="161"/>
                  </a:lnTo>
                  <a:lnTo>
                    <a:pt x="121" y="163"/>
                  </a:lnTo>
                  <a:lnTo>
                    <a:pt x="121" y="165"/>
                  </a:lnTo>
                  <a:lnTo>
                    <a:pt x="124" y="165"/>
                  </a:lnTo>
                  <a:lnTo>
                    <a:pt x="126" y="168"/>
                  </a:lnTo>
                  <a:lnTo>
                    <a:pt x="128" y="168"/>
                  </a:lnTo>
                  <a:lnTo>
                    <a:pt x="131" y="168"/>
                  </a:lnTo>
                  <a:lnTo>
                    <a:pt x="131" y="170"/>
                  </a:lnTo>
                  <a:lnTo>
                    <a:pt x="133" y="170"/>
                  </a:lnTo>
                  <a:lnTo>
                    <a:pt x="133" y="172"/>
                  </a:lnTo>
                  <a:lnTo>
                    <a:pt x="135" y="172"/>
                  </a:lnTo>
                  <a:lnTo>
                    <a:pt x="135" y="175"/>
                  </a:lnTo>
                  <a:lnTo>
                    <a:pt x="135" y="177"/>
                  </a:lnTo>
                  <a:lnTo>
                    <a:pt x="135" y="179"/>
                  </a:lnTo>
                  <a:lnTo>
                    <a:pt x="135" y="182"/>
                  </a:lnTo>
                  <a:lnTo>
                    <a:pt x="135" y="184"/>
                  </a:lnTo>
                  <a:lnTo>
                    <a:pt x="128" y="186"/>
                  </a:lnTo>
                  <a:lnTo>
                    <a:pt x="121" y="186"/>
                  </a:lnTo>
                  <a:lnTo>
                    <a:pt x="112" y="186"/>
                  </a:lnTo>
                  <a:lnTo>
                    <a:pt x="105" y="186"/>
                  </a:lnTo>
                  <a:lnTo>
                    <a:pt x="98" y="186"/>
                  </a:lnTo>
                  <a:lnTo>
                    <a:pt x="94" y="186"/>
                  </a:lnTo>
                  <a:lnTo>
                    <a:pt x="91" y="186"/>
                  </a:lnTo>
                  <a:lnTo>
                    <a:pt x="84" y="186"/>
                  </a:lnTo>
                  <a:lnTo>
                    <a:pt x="75" y="186"/>
                  </a:lnTo>
                  <a:lnTo>
                    <a:pt x="68" y="189"/>
                  </a:lnTo>
                  <a:lnTo>
                    <a:pt x="61" y="189"/>
                  </a:lnTo>
                  <a:lnTo>
                    <a:pt x="54" y="189"/>
                  </a:lnTo>
                  <a:lnTo>
                    <a:pt x="45" y="189"/>
                  </a:lnTo>
                  <a:lnTo>
                    <a:pt x="38" y="189"/>
                  </a:lnTo>
                  <a:lnTo>
                    <a:pt x="31" y="189"/>
                  </a:lnTo>
                  <a:lnTo>
                    <a:pt x="24" y="189"/>
                  </a:lnTo>
                  <a:lnTo>
                    <a:pt x="14" y="189"/>
                  </a:lnTo>
                  <a:lnTo>
                    <a:pt x="14" y="182"/>
                  </a:lnTo>
                  <a:lnTo>
                    <a:pt x="14" y="175"/>
                  </a:lnTo>
                  <a:lnTo>
                    <a:pt x="14" y="168"/>
                  </a:lnTo>
                  <a:lnTo>
                    <a:pt x="14" y="161"/>
                  </a:lnTo>
                  <a:lnTo>
                    <a:pt x="14" y="154"/>
                  </a:lnTo>
                  <a:lnTo>
                    <a:pt x="14" y="147"/>
                  </a:lnTo>
                  <a:lnTo>
                    <a:pt x="14" y="140"/>
                  </a:lnTo>
                  <a:lnTo>
                    <a:pt x="14" y="133"/>
                  </a:lnTo>
                  <a:lnTo>
                    <a:pt x="14" y="130"/>
                  </a:lnTo>
                  <a:lnTo>
                    <a:pt x="14" y="128"/>
                  </a:lnTo>
                  <a:lnTo>
                    <a:pt x="12" y="128"/>
                  </a:lnTo>
                  <a:lnTo>
                    <a:pt x="10" y="128"/>
                  </a:lnTo>
                  <a:lnTo>
                    <a:pt x="10" y="126"/>
                  </a:lnTo>
                  <a:lnTo>
                    <a:pt x="7" y="123"/>
                  </a:lnTo>
                  <a:lnTo>
                    <a:pt x="7" y="121"/>
                  </a:lnTo>
                  <a:lnTo>
                    <a:pt x="5" y="121"/>
                  </a:lnTo>
                  <a:lnTo>
                    <a:pt x="7" y="121"/>
                  </a:lnTo>
                  <a:lnTo>
                    <a:pt x="7" y="119"/>
                  </a:lnTo>
                  <a:lnTo>
                    <a:pt x="10" y="119"/>
                  </a:lnTo>
                  <a:lnTo>
                    <a:pt x="10" y="116"/>
                  </a:lnTo>
                  <a:lnTo>
                    <a:pt x="12" y="116"/>
                  </a:lnTo>
                  <a:lnTo>
                    <a:pt x="12" y="114"/>
                  </a:lnTo>
                  <a:lnTo>
                    <a:pt x="12" y="112"/>
                  </a:lnTo>
                  <a:lnTo>
                    <a:pt x="12" y="109"/>
                  </a:lnTo>
                  <a:lnTo>
                    <a:pt x="12" y="107"/>
                  </a:lnTo>
                  <a:lnTo>
                    <a:pt x="12" y="105"/>
                  </a:lnTo>
                  <a:lnTo>
                    <a:pt x="12" y="102"/>
                  </a:lnTo>
                  <a:lnTo>
                    <a:pt x="12" y="100"/>
                  </a:lnTo>
                  <a:lnTo>
                    <a:pt x="12" y="98"/>
                  </a:lnTo>
                  <a:lnTo>
                    <a:pt x="12" y="95"/>
                  </a:lnTo>
                  <a:lnTo>
                    <a:pt x="10" y="93"/>
                  </a:lnTo>
                  <a:lnTo>
                    <a:pt x="10" y="91"/>
                  </a:lnTo>
                  <a:lnTo>
                    <a:pt x="10" y="88"/>
                  </a:lnTo>
                  <a:lnTo>
                    <a:pt x="7" y="88"/>
                  </a:lnTo>
                  <a:lnTo>
                    <a:pt x="7" y="86"/>
                  </a:lnTo>
                  <a:lnTo>
                    <a:pt x="7" y="84"/>
                  </a:lnTo>
                  <a:lnTo>
                    <a:pt x="7" y="82"/>
                  </a:lnTo>
                  <a:lnTo>
                    <a:pt x="7" y="79"/>
                  </a:lnTo>
                  <a:lnTo>
                    <a:pt x="10" y="79"/>
                  </a:lnTo>
                  <a:lnTo>
                    <a:pt x="7" y="79"/>
                  </a:lnTo>
                  <a:lnTo>
                    <a:pt x="7" y="77"/>
                  </a:lnTo>
                  <a:lnTo>
                    <a:pt x="7" y="75"/>
                  </a:lnTo>
                  <a:lnTo>
                    <a:pt x="7" y="72"/>
                  </a:lnTo>
                  <a:lnTo>
                    <a:pt x="7" y="70"/>
                  </a:lnTo>
                  <a:lnTo>
                    <a:pt x="7" y="68"/>
                  </a:lnTo>
                  <a:lnTo>
                    <a:pt x="7" y="63"/>
                  </a:lnTo>
                  <a:lnTo>
                    <a:pt x="7" y="61"/>
                  </a:lnTo>
                  <a:lnTo>
                    <a:pt x="7" y="58"/>
                  </a:lnTo>
                  <a:lnTo>
                    <a:pt x="7" y="56"/>
                  </a:lnTo>
                  <a:lnTo>
                    <a:pt x="5" y="54"/>
                  </a:lnTo>
                  <a:lnTo>
                    <a:pt x="5" y="51"/>
                  </a:lnTo>
                  <a:lnTo>
                    <a:pt x="5" y="49"/>
                  </a:lnTo>
                  <a:lnTo>
                    <a:pt x="3" y="49"/>
                  </a:lnTo>
                  <a:lnTo>
                    <a:pt x="3" y="47"/>
                  </a:lnTo>
                  <a:lnTo>
                    <a:pt x="5" y="47"/>
                  </a:lnTo>
                  <a:lnTo>
                    <a:pt x="3" y="44"/>
                  </a:lnTo>
                  <a:lnTo>
                    <a:pt x="3" y="42"/>
                  </a:lnTo>
                  <a:lnTo>
                    <a:pt x="3" y="40"/>
                  </a:lnTo>
                  <a:lnTo>
                    <a:pt x="0" y="40"/>
                  </a:lnTo>
                  <a:lnTo>
                    <a:pt x="0" y="37"/>
                  </a:lnTo>
                  <a:lnTo>
                    <a:pt x="3" y="35"/>
                  </a:lnTo>
                  <a:lnTo>
                    <a:pt x="0" y="35"/>
                  </a:lnTo>
                  <a:lnTo>
                    <a:pt x="0" y="33"/>
                  </a:lnTo>
                  <a:lnTo>
                    <a:pt x="0" y="30"/>
                  </a:lnTo>
                  <a:lnTo>
                    <a:pt x="0" y="28"/>
                  </a:lnTo>
                  <a:lnTo>
                    <a:pt x="0" y="26"/>
                  </a:lnTo>
                  <a:lnTo>
                    <a:pt x="3" y="23"/>
                  </a:lnTo>
                  <a:lnTo>
                    <a:pt x="3" y="21"/>
                  </a:lnTo>
                  <a:lnTo>
                    <a:pt x="0" y="21"/>
                  </a:lnTo>
                  <a:lnTo>
                    <a:pt x="0" y="19"/>
                  </a:lnTo>
                  <a:lnTo>
                    <a:pt x="0" y="16"/>
                  </a:lnTo>
                  <a:lnTo>
                    <a:pt x="0" y="14"/>
                  </a:lnTo>
                  <a:lnTo>
                    <a:pt x="0" y="12"/>
                  </a:lnTo>
                  <a:lnTo>
                    <a:pt x="5" y="12"/>
                  </a:lnTo>
                  <a:lnTo>
                    <a:pt x="10" y="12"/>
                  </a:lnTo>
                  <a:lnTo>
                    <a:pt x="14" y="12"/>
                  </a:lnTo>
                  <a:lnTo>
                    <a:pt x="19" y="12"/>
                  </a:lnTo>
                  <a:lnTo>
                    <a:pt x="24" y="12"/>
                  </a:lnTo>
                  <a:lnTo>
                    <a:pt x="28" y="12"/>
                  </a:lnTo>
                  <a:lnTo>
                    <a:pt x="33" y="12"/>
                  </a:lnTo>
                  <a:lnTo>
                    <a:pt x="38" y="12"/>
                  </a:lnTo>
                  <a:lnTo>
                    <a:pt x="42" y="12"/>
                  </a:lnTo>
                  <a:lnTo>
                    <a:pt x="42" y="7"/>
                  </a:lnTo>
                  <a:lnTo>
                    <a:pt x="42" y="5"/>
                  </a:lnTo>
                  <a:lnTo>
                    <a:pt x="42" y="2"/>
                  </a:lnTo>
                  <a:lnTo>
                    <a:pt x="42" y="0"/>
                  </a:lnTo>
                  <a:lnTo>
                    <a:pt x="45" y="0"/>
                  </a:lnTo>
                  <a:lnTo>
                    <a:pt x="47" y="0"/>
                  </a:lnTo>
                  <a:lnTo>
                    <a:pt x="49" y="0"/>
                  </a:lnTo>
                  <a:lnTo>
                    <a:pt x="49" y="2"/>
                  </a:lnTo>
                  <a:lnTo>
                    <a:pt x="52" y="2"/>
                  </a:lnTo>
                  <a:lnTo>
                    <a:pt x="52" y="5"/>
                  </a:lnTo>
                  <a:lnTo>
                    <a:pt x="52" y="7"/>
                  </a:lnTo>
                  <a:lnTo>
                    <a:pt x="52" y="12"/>
                  </a:lnTo>
                  <a:lnTo>
                    <a:pt x="54" y="14"/>
                  </a:lnTo>
                  <a:lnTo>
                    <a:pt x="54" y="16"/>
                  </a:lnTo>
                  <a:lnTo>
                    <a:pt x="54" y="19"/>
                  </a:lnTo>
                  <a:lnTo>
                    <a:pt x="56" y="21"/>
                  </a:lnTo>
                  <a:lnTo>
                    <a:pt x="59" y="21"/>
                  </a:lnTo>
                  <a:lnTo>
                    <a:pt x="61" y="21"/>
                  </a:lnTo>
                  <a:lnTo>
                    <a:pt x="63" y="21"/>
                  </a:lnTo>
                  <a:lnTo>
                    <a:pt x="63" y="23"/>
                  </a:lnTo>
                  <a:lnTo>
                    <a:pt x="68" y="23"/>
                  </a:lnTo>
                  <a:lnTo>
                    <a:pt x="70" y="23"/>
                  </a:lnTo>
                  <a:lnTo>
                    <a:pt x="73" y="23"/>
                  </a:lnTo>
                  <a:lnTo>
                    <a:pt x="73" y="26"/>
                  </a:lnTo>
                  <a:lnTo>
                    <a:pt x="77" y="26"/>
                  </a:lnTo>
                  <a:lnTo>
                    <a:pt x="80" y="26"/>
                  </a:lnTo>
                  <a:lnTo>
                    <a:pt x="80" y="23"/>
                  </a:lnTo>
                  <a:lnTo>
                    <a:pt x="82" y="23"/>
                  </a:lnTo>
                  <a:lnTo>
                    <a:pt x="84" y="23"/>
                  </a:lnTo>
                  <a:lnTo>
                    <a:pt x="87" y="23"/>
                  </a:lnTo>
                  <a:lnTo>
                    <a:pt x="91" y="23"/>
                  </a:lnTo>
                  <a:lnTo>
                    <a:pt x="96" y="26"/>
                  </a:lnTo>
                  <a:lnTo>
                    <a:pt x="98" y="26"/>
                  </a:lnTo>
                  <a:lnTo>
                    <a:pt x="96" y="28"/>
                  </a:lnTo>
                  <a:lnTo>
                    <a:pt x="98" y="28"/>
                  </a:lnTo>
                  <a:lnTo>
                    <a:pt x="100" y="28"/>
                  </a:lnTo>
                  <a:lnTo>
                    <a:pt x="100" y="30"/>
                  </a:lnTo>
                  <a:lnTo>
                    <a:pt x="100" y="33"/>
                  </a:lnTo>
                  <a:lnTo>
                    <a:pt x="103" y="33"/>
                  </a:lnTo>
                  <a:lnTo>
                    <a:pt x="103" y="35"/>
                  </a:lnTo>
                  <a:lnTo>
                    <a:pt x="105" y="35"/>
                  </a:lnTo>
                  <a:lnTo>
                    <a:pt x="105" y="33"/>
                  </a:lnTo>
                  <a:lnTo>
                    <a:pt x="105" y="30"/>
                  </a:lnTo>
                  <a:lnTo>
                    <a:pt x="107" y="30"/>
                  </a:lnTo>
                  <a:lnTo>
                    <a:pt x="110" y="30"/>
                  </a:lnTo>
                  <a:lnTo>
                    <a:pt x="110" y="33"/>
                  </a:lnTo>
                  <a:lnTo>
                    <a:pt x="112" y="33"/>
                  </a:lnTo>
                  <a:lnTo>
                    <a:pt x="112" y="35"/>
                  </a:lnTo>
                  <a:lnTo>
                    <a:pt x="114" y="35"/>
                  </a:lnTo>
                  <a:lnTo>
                    <a:pt x="117" y="35"/>
                  </a:lnTo>
                  <a:lnTo>
                    <a:pt x="117" y="37"/>
                  </a:lnTo>
                  <a:lnTo>
                    <a:pt x="119" y="37"/>
                  </a:lnTo>
                  <a:lnTo>
                    <a:pt x="117" y="37"/>
                  </a:lnTo>
                  <a:lnTo>
                    <a:pt x="119" y="40"/>
                  </a:lnTo>
                  <a:lnTo>
                    <a:pt x="121" y="40"/>
                  </a:lnTo>
                  <a:lnTo>
                    <a:pt x="124" y="40"/>
                  </a:lnTo>
                  <a:lnTo>
                    <a:pt x="126" y="40"/>
                  </a:lnTo>
                  <a:lnTo>
                    <a:pt x="128" y="40"/>
                  </a:lnTo>
                  <a:lnTo>
                    <a:pt x="128" y="37"/>
                  </a:lnTo>
                  <a:lnTo>
                    <a:pt x="131" y="35"/>
                  </a:lnTo>
                  <a:lnTo>
                    <a:pt x="133" y="35"/>
                  </a:lnTo>
                  <a:lnTo>
                    <a:pt x="135" y="33"/>
                  </a:lnTo>
                  <a:lnTo>
                    <a:pt x="135" y="35"/>
                  </a:lnTo>
                  <a:lnTo>
                    <a:pt x="138" y="35"/>
                  </a:lnTo>
                  <a:lnTo>
                    <a:pt x="138" y="37"/>
                  </a:lnTo>
                  <a:lnTo>
                    <a:pt x="140" y="37"/>
                  </a:lnTo>
                  <a:lnTo>
                    <a:pt x="142" y="37"/>
                  </a:lnTo>
                  <a:lnTo>
                    <a:pt x="145" y="37"/>
                  </a:lnTo>
                  <a:lnTo>
                    <a:pt x="152" y="35"/>
                  </a:lnTo>
                  <a:lnTo>
                    <a:pt x="154" y="37"/>
                  </a:lnTo>
                  <a:lnTo>
                    <a:pt x="154" y="40"/>
                  </a:lnTo>
                  <a:lnTo>
                    <a:pt x="156" y="40"/>
                  </a:lnTo>
                  <a:lnTo>
                    <a:pt x="159" y="40"/>
                  </a:lnTo>
                  <a:lnTo>
                    <a:pt x="161" y="40"/>
                  </a:lnTo>
                  <a:lnTo>
                    <a:pt x="163" y="4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771">
              <a:extLst>
                <a:ext uri="{FF2B5EF4-FFF2-40B4-BE49-F238E27FC236}">
                  <a16:creationId xmlns:a16="http://schemas.microsoft.com/office/drawing/2014/main" id="{E2DD7CF6-6698-4D91-9AD4-24F2F4F27673}"/>
                </a:ext>
              </a:extLst>
            </p:cNvPr>
            <p:cNvSpPr>
              <a:spLocks/>
            </p:cNvSpPr>
            <p:nvPr/>
          </p:nvSpPr>
          <p:spPr bwMode="auto">
            <a:xfrm>
              <a:off x="5884069" y="4157663"/>
              <a:ext cx="409575" cy="269875"/>
            </a:xfrm>
            <a:custGeom>
              <a:avLst/>
              <a:gdLst>
                <a:gd name="T0" fmla="*/ 256 w 258"/>
                <a:gd name="T1" fmla="*/ 63 h 170"/>
                <a:gd name="T2" fmla="*/ 253 w 258"/>
                <a:gd name="T3" fmla="*/ 91 h 170"/>
                <a:gd name="T4" fmla="*/ 251 w 258"/>
                <a:gd name="T5" fmla="*/ 116 h 170"/>
                <a:gd name="T6" fmla="*/ 249 w 258"/>
                <a:gd name="T7" fmla="*/ 142 h 170"/>
                <a:gd name="T8" fmla="*/ 246 w 258"/>
                <a:gd name="T9" fmla="*/ 160 h 170"/>
                <a:gd name="T10" fmla="*/ 244 w 258"/>
                <a:gd name="T11" fmla="*/ 167 h 170"/>
                <a:gd name="T12" fmla="*/ 230 w 258"/>
                <a:gd name="T13" fmla="*/ 167 h 170"/>
                <a:gd name="T14" fmla="*/ 219 w 258"/>
                <a:gd name="T15" fmla="*/ 165 h 170"/>
                <a:gd name="T16" fmla="*/ 207 w 258"/>
                <a:gd name="T17" fmla="*/ 165 h 170"/>
                <a:gd name="T18" fmla="*/ 193 w 258"/>
                <a:gd name="T19" fmla="*/ 163 h 170"/>
                <a:gd name="T20" fmla="*/ 181 w 258"/>
                <a:gd name="T21" fmla="*/ 163 h 170"/>
                <a:gd name="T22" fmla="*/ 170 w 258"/>
                <a:gd name="T23" fmla="*/ 160 h 170"/>
                <a:gd name="T24" fmla="*/ 158 w 258"/>
                <a:gd name="T25" fmla="*/ 158 h 170"/>
                <a:gd name="T26" fmla="*/ 144 w 258"/>
                <a:gd name="T27" fmla="*/ 156 h 170"/>
                <a:gd name="T28" fmla="*/ 132 w 258"/>
                <a:gd name="T29" fmla="*/ 156 h 170"/>
                <a:gd name="T30" fmla="*/ 121 w 258"/>
                <a:gd name="T31" fmla="*/ 153 h 170"/>
                <a:gd name="T32" fmla="*/ 109 w 258"/>
                <a:gd name="T33" fmla="*/ 151 h 170"/>
                <a:gd name="T34" fmla="*/ 98 w 258"/>
                <a:gd name="T35" fmla="*/ 149 h 170"/>
                <a:gd name="T36" fmla="*/ 88 w 258"/>
                <a:gd name="T37" fmla="*/ 153 h 170"/>
                <a:gd name="T38" fmla="*/ 86 w 258"/>
                <a:gd name="T39" fmla="*/ 163 h 170"/>
                <a:gd name="T40" fmla="*/ 81 w 258"/>
                <a:gd name="T41" fmla="*/ 156 h 170"/>
                <a:gd name="T42" fmla="*/ 77 w 258"/>
                <a:gd name="T43" fmla="*/ 160 h 170"/>
                <a:gd name="T44" fmla="*/ 67 w 258"/>
                <a:gd name="T45" fmla="*/ 158 h 170"/>
                <a:gd name="T46" fmla="*/ 58 w 258"/>
                <a:gd name="T47" fmla="*/ 156 h 170"/>
                <a:gd name="T48" fmla="*/ 53 w 258"/>
                <a:gd name="T49" fmla="*/ 158 h 170"/>
                <a:gd name="T50" fmla="*/ 44 w 258"/>
                <a:gd name="T51" fmla="*/ 158 h 170"/>
                <a:gd name="T52" fmla="*/ 42 w 258"/>
                <a:gd name="T53" fmla="*/ 153 h 170"/>
                <a:gd name="T54" fmla="*/ 39 w 258"/>
                <a:gd name="T55" fmla="*/ 144 h 170"/>
                <a:gd name="T56" fmla="*/ 32 w 258"/>
                <a:gd name="T57" fmla="*/ 139 h 170"/>
                <a:gd name="T58" fmla="*/ 32 w 258"/>
                <a:gd name="T59" fmla="*/ 132 h 170"/>
                <a:gd name="T60" fmla="*/ 30 w 258"/>
                <a:gd name="T61" fmla="*/ 123 h 170"/>
                <a:gd name="T62" fmla="*/ 28 w 258"/>
                <a:gd name="T63" fmla="*/ 114 h 170"/>
                <a:gd name="T64" fmla="*/ 21 w 258"/>
                <a:gd name="T65" fmla="*/ 119 h 170"/>
                <a:gd name="T66" fmla="*/ 16 w 258"/>
                <a:gd name="T67" fmla="*/ 112 h 170"/>
                <a:gd name="T68" fmla="*/ 18 w 258"/>
                <a:gd name="T69" fmla="*/ 105 h 170"/>
                <a:gd name="T70" fmla="*/ 21 w 258"/>
                <a:gd name="T71" fmla="*/ 100 h 170"/>
                <a:gd name="T72" fmla="*/ 21 w 258"/>
                <a:gd name="T73" fmla="*/ 93 h 170"/>
                <a:gd name="T74" fmla="*/ 25 w 258"/>
                <a:gd name="T75" fmla="*/ 84 h 170"/>
                <a:gd name="T76" fmla="*/ 18 w 258"/>
                <a:gd name="T77" fmla="*/ 77 h 170"/>
                <a:gd name="T78" fmla="*/ 16 w 258"/>
                <a:gd name="T79" fmla="*/ 74 h 170"/>
                <a:gd name="T80" fmla="*/ 14 w 258"/>
                <a:gd name="T81" fmla="*/ 67 h 170"/>
                <a:gd name="T82" fmla="*/ 9 w 258"/>
                <a:gd name="T83" fmla="*/ 58 h 170"/>
                <a:gd name="T84" fmla="*/ 4 w 258"/>
                <a:gd name="T85" fmla="*/ 51 h 170"/>
                <a:gd name="T86" fmla="*/ 4 w 258"/>
                <a:gd name="T87" fmla="*/ 44 h 170"/>
                <a:gd name="T88" fmla="*/ 0 w 258"/>
                <a:gd name="T89" fmla="*/ 35 h 170"/>
                <a:gd name="T90" fmla="*/ 2 w 258"/>
                <a:gd name="T91" fmla="*/ 18 h 170"/>
                <a:gd name="T92" fmla="*/ 7 w 258"/>
                <a:gd name="T93" fmla="*/ 0 h 170"/>
                <a:gd name="T94" fmla="*/ 28 w 258"/>
                <a:gd name="T95" fmla="*/ 4 h 170"/>
                <a:gd name="T96" fmla="*/ 51 w 258"/>
                <a:gd name="T97" fmla="*/ 11 h 170"/>
                <a:gd name="T98" fmla="*/ 74 w 258"/>
                <a:gd name="T99" fmla="*/ 16 h 170"/>
                <a:gd name="T100" fmla="*/ 98 w 258"/>
                <a:gd name="T101" fmla="*/ 18 h 170"/>
                <a:gd name="T102" fmla="*/ 121 w 258"/>
                <a:gd name="T103" fmla="*/ 23 h 170"/>
                <a:gd name="T104" fmla="*/ 139 w 258"/>
                <a:gd name="T105" fmla="*/ 25 h 170"/>
                <a:gd name="T106" fmla="*/ 163 w 258"/>
                <a:gd name="T107" fmla="*/ 30 h 170"/>
                <a:gd name="T108" fmla="*/ 184 w 258"/>
                <a:gd name="T109" fmla="*/ 32 h 170"/>
                <a:gd name="T110" fmla="*/ 207 w 258"/>
                <a:gd name="T111" fmla="*/ 37 h 170"/>
                <a:gd name="T112" fmla="*/ 230 w 258"/>
                <a:gd name="T113" fmla="*/ 39 h 170"/>
                <a:gd name="T114" fmla="*/ 253 w 258"/>
                <a:gd name="T115" fmla="*/ 4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170">
                  <a:moveTo>
                    <a:pt x="258" y="42"/>
                  </a:moveTo>
                  <a:lnTo>
                    <a:pt x="256" y="46"/>
                  </a:lnTo>
                  <a:lnTo>
                    <a:pt x="256" y="53"/>
                  </a:lnTo>
                  <a:lnTo>
                    <a:pt x="256" y="58"/>
                  </a:lnTo>
                  <a:lnTo>
                    <a:pt x="256" y="63"/>
                  </a:lnTo>
                  <a:lnTo>
                    <a:pt x="256" y="70"/>
                  </a:lnTo>
                  <a:lnTo>
                    <a:pt x="253" y="74"/>
                  </a:lnTo>
                  <a:lnTo>
                    <a:pt x="253" y="79"/>
                  </a:lnTo>
                  <a:lnTo>
                    <a:pt x="253" y="84"/>
                  </a:lnTo>
                  <a:lnTo>
                    <a:pt x="253" y="91"/>
                  </a:lnTo>
                  <a:lnTo>
                    <a:pt x="251" y="95"/>
                  </a:lnTo>
                  <a:lnTo>
                    <a:pt x="251" y="100"/>
                  </a:lnTo>
                  <a:lnTo>
                    <a:pt x="251" y="107"/>
                  </a:lnTo>
                  <a:lnTo>
                    <a:pt x="251" y="112"/>
                  </a:lnTo>
                  <a:lnTo>
                    <a:pt x="251" y="116"/>
                  </a:lnTo>
                  <a:lnTo>
                    <a:pt x="249" y="121"/>
                  </a:lnTo>
                  <a:lnTo>
                    <a:pt x="249" y="128"/>
                  </a:lnTo>
                  <a:lnTo>
                    <a:pt x="249" y="132"/>
                  </a:lnTo>
                  <a:lnTo>
                    <a:pt x="249" y="139"/>
                  </a:lnTo>
                  <a:lnTo>
                    <a:pt x="249" y="142"/>
                  </a:lnTo>
                  <a:lnTo>
                    <a:pt x="246" y="146"/>
                  </a:lnTo>
                  <a:lnTo>
                    <a:pt x="246" y="149"/>
                  </a:lnTo>
                  <a:lnTo>
                    <a:pt x="246" y="153"/>
                  </a:lnTo>
                  <a:lnTo>
                    <a:pt x="246" y="156"/>
                  </a:lnTo>
                  <a:lnTo>
                    <a:pt x="246" y="160"/>
                  </a:lnTo>
                  <a:lnTo>
                    <a:pt x="246" y="163"/>
                  </a:lnTo>
                  <a:lnTo>
                    <a:pt x="246" y="167"/>
                  </a:lnTo>
                  <a:lnTo>
                    <a:pt x="246" y="170"/>
                  </a:lnTo>
                  <a:lnTo>
                    <a:pt x="244" y="170"/>
                  </a:lnTo>
                  <a:lnTo>
                    <a:pt x="244" y="167"/>
                  </a:lnTo>
                  <a:lnTo>
                    <a:pt x="242" y="167"/>
                  </a:lnTo>
                  <a:lnTo>
                    <a:pt x="237" y="167"/>
                  </a:lnTo>
                  <a:lnTo>
                    <a:pt x="235" y="167"/>
                  </a:lnTo>
                  <a:lnTo>
                    <a:pt x="233" y="167"/>
                  </a:lnTo>
                  <a:lnTo>
                    <a:pt x="230" y="167"/>
                  </a:lnTo>
                  <a:lnTo>
                    <a:pt x="228" y="167"/>
                  </a:lnTo>
                  <a:lnTo>
                    <a:pt x="226" y="167"/>
                  </a:lnTo>
                  <a:lnTo>
                    <a:pt x="223" y="167"/>
                  </a:lnTo>
                  <a:lnTo>
                    <a:pt x="221" y="167"/>
                  </a:lnTo>
                  <a:lnTo>
                    <a:pt x="219" y="165"/>
                  </a:lnTo>
                  <a:lnTo>
                    <a:pt x="216" y="165"/>
                  </a:lnTo>
                  <a:lnTo>
                    <a:pt x="214" y="165"/>
                  </a:lnTo>
                  <a:lnTo>
                    <a:pt x="212" y="165"/>
                  </a:lnTo>
                  <a:lnTo>
                    <a:pt x="209" y="165"/>
                  </a:lnTo>
                  <a:lnTo>
                    <a:pt x="207" y="165"/>
                  </a:lnTo>
                  <a:lnTo>
                    <a:pt x="205" y="165"/>
                  </a:lnTo>
                  <a:lnTo>
                    <a:pt x="202" y="165"/>
                  </a:lnTo>
                  <a:lnTo>
                    <a:pt x="200" y="163"/>
                  </a:lnTo>
                  <a:lnTo>
                    <a:pt x="198" y="163"/>
                  </a:lnTo>
                  <a:lnTo>
                    <a:pt x="193" y="163"/>
                  </a:lnTo>
                  <a:lnTo>
                    <a:pt x="191" y="163"/>
                  </a:lnTo>
                  <a:lnTo>
                    <a:pt x="188" y="163"/>
                  </a:lnTo>
                  <a:lnTo>
                    <a:pt x="186" y="163"/>
                  </a:lnTo>
                  <a:lnTo>
                    <a:pt x="184" y="163"/>
                  </a:lnTo>
                  <a:lnTo>
                    <a:pt x="181" y="163"/>
                  </a:lnTo>
                  <a:lnTo>
                    <a:pt x="179" y="160"/>
                  </a:lnTo>
                  <a:lnTo>
                    <a:pt x="177" y="160"/>
                  </a:lnTo>
                  <a:lnTo>
                    <a:pt x="174" y="160"/>
                  </a:lnTo>
                  <a:lnTo>
                    <a:pt x="172" y="160"/>
                  </a:lnTo>
                  <a:lnTo>
                    <a:pt x="170" y="160"/>
                  </a:lnTo>
                  <a:lnTo>
                    <a:pt x="167" y="160"/>
                  </a:lnTo>
                  <a:lnTo>
                    <a:pt x="165" y="160"/>
                  </a:lnTo>
                  <a:lnTo>
                    <a:pt x="163" y="158"/>
                  </a:lnTo>
                  <a:lnTo>
                    <a:pt x="160" y="158"/>
                  </a:lnTo>
                  <a:lnTo>
                    <a:pt x="158" y="158"/>
                  </a:lnTo>
                  <a:lnTo>
                    <a:pt x="156" y="158"/>
                  </a:lnTo>
                  <a:lnTo>
                    <a:pt x="153" y="158"/>
                  </a:lnTo>
                  <a:lnTo>
                    <a:pt x="151" y="158"/>
                  </a:lnTo>
                  <a:lnTo>
                    <a:pt x="149" y="158"/>
                  </a:lnTo>
                  <a:lnTo>
                    <a:pt x="144" y="156"/>
                  </a:lnTo>
                  <a:lnTo>
                    <a:pt x="142" y="156"/>
                  </a:lnTo>
                  <a:lnTo>
                    <a:pt x="139" y="156"/>
                  </a:lnTo>
                  <a:lnTo>
                    <a:pt x="137" y="156"/>
                  </a:lnTo>
                  <a:lnTo>
                    <a:pt x="135" y="156"/>
                  </a:lnTo>
                  <a:lnTo>
                    <a:pt x="132" y="156"/>
                  </a:lnTo>
                  <a:lnTo>
                    <a:pt x="130" y="156"/>
                  </a:lnTo>
                  <a:lnTo>
                    <a:pt x="128" y="153"/>
                  </a:lnTo>
                  <a:lnTo>
                    <a:pt x="125" y="153"/>
                  </a:lnTo>
                  <a:lnTo>
                    <a:pt x="123" y="153"/>
                  </a:lnTo>
                  <a:lnTo>
                    <a:pt x="121" y="153"/>
                  </a:lnTo>
                  <a:lnTo>
                    <a:pt x="118" y="153"/>
                  </a:lnTo>
                  <a:lnTo>
                    <a:pt x="116" y="153"/>
                  </a:lnTo>
                  <a:lnTo>
                    <a:pt x="114" y="151"/>
                  </a:lnTo>
                  <a:lnTo>
                    <a:pt x="112" y="151"/>
                  </a:lnTo>
                  <a:lnTo>
                    <a:pt x="109" y="151"/>
                  </a:lnTo>
                  <a:lnTo>
                    <a:pt x="107" y="151"/>
                  </a:lnTo>
                  <a:lnTo>
                    <a:pt x="105" y="151"/>
                  </a:lnTo>
                  <a:lnTo>
                    <a:pt x="102" y="151"/>
                  </a:lnTo>
                  <a:lnTo>
                    <a:pt x="100" y="149"/>
                  </a:lnTo>
                  <a:lnTo>
                    <a:pt x="98" y="149"/>
                  </a:lnTo>
                  <a:lnTo>
                    <a:pt x="93" y="149"/>
                  </a:lnTo>
                  <a:lnTo>
                    <a:pt x="91" y="149"/>
                  </a:lnTo>
                  <a:lnTo>
                    <a:pt x="88" y="149"/>
                  </a:lnTo>
                  <a:lnTo>
                    <a:pt x="88" y="151"/>
                  </a:lnTo>
                  <a:lnTo>
                    <a:pt x="88" y="153"/>
                  </a:lnTo>
                  <a:lnTo>
                    <a:pt x="86" y="153"/>
                  </a:lnTo>
                  <a:lnTo>
                    <a:pt x="86" y="156"/>
                  </a:lnTo>
                  <a:lnTo>
                    <a:pt x="86" y="158"/>
                  </a:lnTo>
                  <a:lnTo>
                    <a:pt x="86" y="160"/>
                  </a:lnTo>
                  <a:lnTo>
                    <a:pt x="86" y="163"/>
                  </a:lnTo>
                  <a:lnTo>
                    <a:pt x="84" y="163"/>
                  </a:lnTo>
                  <a:lnTo>
                    <a:pt x="84" y="160"/>
                  </a:lnTo>
                  <a:lnTo>
                    <a:pt x="81" y="160"/>
                  </a:lnTo>
                  <a:lnTo>
                    <a:pt x="81" y="158"/>
                  </a:lnTo>
                  <a:lnTo>
                    <a:pt x="81" y="156"/>
                  </a:lnTo>
                  <a:lnTo>
                    <a:pt x="79" y="153"/>
                  </a:lnTo>
                  <a:lnTo>
                    <a:pt x="79" y="156"/>
                  </a:lnTo>
                  <a:lnTo>
                    <a:pt x="77" y="156"/>
                  </a:lnTo>
                  <a:lnTo>
                    <a:pt x="77" y="158"/>
                  </a:lnTo>
                  <a:lnTo>
                    <a:pt x="77" y="160"/>
                  </a:lnTo>
                  <a:lnTo>
                    <a:pt x="74" y="160"/>
                  </a:lnTo>
                  <a:lnTo>
                    <a:pt x="72" y="158"/>
                  </a:lnTo>
                  <a:lnTo>
                    <a:pt x="70" y="160"/>
                  </a:lnTo>
                  <a:lnTo>
                    <a:pt x="67" y="160"/>
                  </a:lnTo>
                  <a:lnTo>
                    <a:pt x="67" y="158"/>
                  </a:lnTo>
                  <a:lnTo>
                    <a:pt x="65" y="158"/>
                  </a:lnTo>
                  <a:lnTo>
                    <a:pt x="63" y="158"/>
                  </a:lnTo>
                  <a:lnTo>
                    <a:pt x="60" y="158"/>
                  </a:lnTo>
                  <a:lnTo>
                    <a:pt x="60" y="156"/>
                  </a:lnTo>
                  <a:lnTo>
                    <a:pt x="58" y="156"/>
                  </a:lnTo>
                  <a:lnTo>
                    <a:pt x="58" y="158"/>
                  </a:lnTo>
                  <a:lnTo>
                    <a:pt x="56" y="158"/>
                  </a:lnTo>
                  <a:lnTo>
                    <a:pt x="56" y="160"/>
                  </a:lnTo>
                  <a:lnTo>
                    <a:pt x="56" y="158"/>
                  </a:lnTo>
                  <a:lnTo>
                    <a:pt x="53" y="158"/>
                  </a:lnTo>
                  <a:lnTo>
                    <a:pt x="51" y="158"/>
                  </a:lnTo>
                  <a:lnTo>
                    <a:pt x="49" y="156"/>
                  </a:lnTo>
                  <a:lnTo>
                    <a:pt x="46" y="156"/>
                  </a:lnTo>
                  <a:lnTo>
                    <a:pt x="46" y="158"/>
                  </a:lnTo>
                  <a:lnTo>
                    <a:pt x="44" y="158"/>
                  </a:lnTo>
                  <a:lnTo>
                    <a:pt x="44" y="160"/>
                  </a:lnTo>
                  <a:lnTo>
                    <a:pt x="44" y="158"/>
                  </a:lnTo>
                  <a:lnTo>
                    <a:pt x="42" y="158"/>
                  </a:lnTo>
                  <a:lnTo>
                    <a:pt x="42" y="156"/>
                  </a:lnTo>
                  <a:lnTo>
                    <a:pt x="42" y="153"/>
                  </a:lnTo>
                  <a:lnTo>
                    <a:pt x="42" y="151"/>
                  </a:lnTo>
                  <a:lnTo>
                    <a:pt x="42" y="149"/>
                  </a:lnTo>
                  <a:lnTo>
                    <a:pt x="42" y="146"/>
                  </a:lnTo>
                  <a:lnTo>
                    <a:pt x="39" y="146"/>
                  </a:lnTo>
                  <a:lnTo>
                    <a:pt x="39" y="144"/>
                  </a:lnTo>
                  <a:lnTo>
                    <a:pt x="37" y="144"/>
                  </a:lnTo>
                  <a:lnTo>
                    <a:pt x="35" y="144"/>
                  </a:lnTo>
                  <a:lnTo>
                    <a:pt x="35" y="142"/>
                  </a:lnTo>
                  <a:lnTo>
                    <a:pt x="35" y="139"/>
                  </a:lnTo>
                  <a:lnTo>
                    <a:pt x="32" y="139"/>
                  </a:lnTo>
                  <a:lnTo>
                    <a:pt x="35" y="139"/>
                  </a:lnTo>
                  <a:lnTo>
                    <a:pt x="35" y="137"/>
                  </a:lnTo>
                  <a:lnTo>
                    <a:pt x="35" y="135"/>
                  </a:lnTo>
                  <a:lnTo>
                    <a:pt x="35" y="132"/>
                  </a:lnTo>
                  <a:lnTo>
                    <a:pt x="32" y="132"/>
                  </a:lnTo>
                  <a:lnTo>
                    <a:pt x="32" y="130"/>
                  </a:lnTo>
                  <a:lnTo>
                    <a:pt x="32" y="128"/>
                  </a:lnTo>
                  <a:lnTo>
                    <a:pt x="30" y="128"/>
                  </a:lnTo>
                  <a:lnTo>
                    <a:pt x="30" y="125"/>
                  </a:lnTo>
                  <a:lnTo>
                    <a:pt x="30" y="123"/>
                  </a:lnTo>
                  <a:lnTo>
                    <a:pt x="30" y="121"/>
                  </a:lnTo>
                  <a:lnTo>
                    <a:pt x="30" y="119"/>
                  </a:lnTo>
                  <a:lnTo>
                    <a:pt x="30" y="116"/>
                  </a:lnTo>
                  <a:lnTo>
                    <a:pt x="30" y="114"/>
                  </a:lnTo>
                  <a:lnTo>
                    <a:pt x="28" y="114"/>
                  </a:lnTo>
                  <a:lnTo>
                    <a:pt x="25" y="114"/>
                  </a:lnTo>
                  <a:lnTo>
                    <a:pt x="25" y="116"/>
                  </a:lnTo>
                  <a:lnTo>
                    <a:pt x="23" y="116"/>
                  </a:lnTo>
                  <a:lnTo>
                    <a:pt x="21" y="116"/>
                  </a:lnTo>
                  <a:lnTo>
                    <a:pt x="21" y="119"/>
                  </a:lnTo>
                  <a:lnTo>
                    <a:pt x="18" y="119"/>
                  </a:lnTo>
                  <a:lnTo>
                    <a:pt x="16" y="116"/>
                  </a:lnTo>
                  <a:lnTo>
                    <a:pt x="16" y="114"/>
                  </a:lnTo>
                  <a:lnTo>
                    <a:pt x="14" y="114"/>
                  </a:lnTo>
                  <a:lnTo>
                    <a:pt x="16" y="112"/>
                  </a:lnTo>
                  <a:lnTo>
                    <a:pt x="16" y="109"/>
                  </a:lnTo>
                  <a:lnTo>
                    <a:pt x="16" y="107"/>
                  </a:lnTo>
                  <a:lnTo>
                    <a:pt x="18" y="107"/>
                  </a:lnTo>
                  <a:lnTo>
                    <a:pt x="21" y="105"/>
                  </a:lnTo>
                  <a:lnTo>
                    <a:pt x="18" y="105"/>
                  </a:lnTo>
                  <a:lnTo>
                    <a:pt x="21" y="105"/>
                  </a:lnTo>
                  <a:lnTo>
                    <a:pt x="21" y="102"/>
                  </a:lnTo>
                  <a:lnTo>
                    <a:pt x="18" y="102"/>
                  </a:lnTo>
                  <a:lnTo>
                    <a:pt x="18" y="100"/>
                  </a:lnTo>
                  <a:lnTo>
                    <a:pt x="21" y="100"/>
                  </a:lnTo>
                  <a:lnTo>
                    <a:pt x="21" y="98"/>
                  </a:lnTo>
                  <a:lnTo>
                    <a:pt x="18" y="98"/>
                  </a:lnTo>
                  <a:lnTo>
                    <a:pt x="18" y="95"/>
                  </a:lnTo>
                  <a:lnTo>
                    <a:pt x="21" y="95"/>
                  </a:lnTo>
                  <a:lnTo>
                    <a:pt x="21" y="93"/>
                  </a:lnTo>
                  <a:lnTo>
                    <a:pt x="23" y="91"/>
                  </a:lnTo>
                  <a:lnTo>
                    <a:pt x="23" y="88"/>
                  </a:lnTo>
                  <a:lnTo>
                    <a:pt x="23" y="86"/>
                  </a:lnTo>
                  <a:lnTo>
                    <a:pt x="25" y="86"/>
                  </a:lnTo>
                  <a:lnTo>
                    <a:pt x="25" y="84"/>
                  </a:lnTo>
                  <a:lnTo>
                    <a:pt x="25" y="81"/>
                  </a:lnTo>
                  <a:lnTo>
                    <a:pt x="23" y="81"/>
                  </a:lnTo>
                  <a:lnTo>
                    <a:pt x="21" y="81"/>
                  </a:lnTo>
                  <a:lnTo>
                    <a:pt x="21" y="79"/>
                  </a:lnTo>
                  <a:lnTo>
                    <a:pt x="18" y="77"/>
                  </a:lnTo>
                  <a:lnTo>
                    <a:pt x="18" y="79"/>
                  </a:lnTo>
                  <a:lnTo>
                    <a:pt x="16" y="79"/>
                  </a:lnTo>
                  <a:lnTo>
                    <a:pt x="16" y="77"/>
                  </a:lnTo>
                  <a:lnTo>
                    <a:pt x="18" y="77"/>
                  </a:lnTo>
                  <a:lnTo>
                    <a:pt x="16" y="74"/>
                  </a:lnTo>
                  <a:lnTo>
                    <a:pt x="14" y="72"/>
                  </a:lnTo>
                  <a:lnTo>
                    <a:pt x="16" y="72"/>
                  </a:lnTo>
                  <a:lnTo>
                    <a:pt x="16" y="70"/>
                  </a:lnTo>
                  <a:lnTo>
                    <a:pt x="14" y="70"/>
                  </a:lnTo>
                  <a:lnTo>
                    <a:pt x="14" y="67"/>
                  </a:lnTo>
                  <a:lnTo>
                    <a:pt x="11" y="65"/>
                  </a:lnTo>
                  <a:lnTo>
                    <a:pt x="11" y="63"/>
                  </a:lnTo>
                  <a:lnTo>
                    <a:pt x="9" y="63"/>
                  </a:lnTo>
                  <a:lnTo>
                    <a:pt x="9" y="60"/>
                  </a:lnTo>
                  <a:lnTo>
                    <a:pt x="9" y="58"/>
                  </a:lnTo>
                  <a:lnTo>
                    <a:pt x="7" y="56"/>
                  </a:lnTo>
                  <a:lnTo>
                    <a:pt x="4" y="56"/>
                  </a:lnTo>
                  <a:lnTo>
                    <a:pt x="4" y="53"/>
                  </a:lnTo>
                  <a:lnTo>
                    <a:pt x="2" y="51"/>
                  </a:lnTo>
                  <a:lnTo>
                    <a:pt x="4" y="51"/>
                  </a:lnTo>
                  <a:lnTo>
                    <a:pt x="4" y="49"/>
                  </a:lnTo>
                  <a:lnTo>
                    <a:pt x="2" y="49"/>
                  </a:lnTo>
                  <a:lnTo>
                    <a:pt x="2" y="46"/>
                  </a:lnTo>
                  <a:lnTo>
                    <a:pt x="4" y="46"/>
                  </a:lnTo>
                  <a:lnTo>
                    <a:pt x="4" y="44"/>
                  </a:lnTo>
                  <a:lnTo>
                    <a:pt x="4" y="42"/>
                  </a:lnTo>
                  <a:lnTo>
                    <a:pt x="2" y="42"/>
                  </a:lnTo>
                  <a:lnTo>
                    <a:pt x="2" y="39"/>
                  </a:lnTo>
                  <a:lnTo>
                    <a:pt x="2" y="37"/>
                  </a:lnTo>
                  <a:lnTo>
                    <a:pt x="0" y="35"/>
                  </a:lnTo>
                  <a:lnTo>
                    <a:pt x="0" y="32"/>
                  </a:lnTo>
                  <a:lnTo>
                    <a:pt x="0" y="30"/>
                  </a:lnTo>
                  <a:lnTo>
                    <a:pt x="0" y="25"/>
                  </a:lnTo>
                  <a:lnTo>
                    <a:pt x="2" y="23"/>
                  </a:lnTo>
                  <a:lnTo>
                    <a:pt x="2" y="18"/>
                  </a:lnTo>
                  <a:lnTo>
                    <a:pt x="2" y="16"/>
                  </a:lnTo>
                  <a:lnTo>
                    <a:pt x="4" y="11"/>
                  </a:lnTo>
                  <a:lnTo>
                    <a:pt x="4" y="7"/>
                  </a:lnTo>
                  <a:lnTo>
                    <a:pt x="4" y="4"/>
                  </a:lnTo>
                  <a:lnTo>
                    <a:pt x="7" y="0"/>
                  </a:lnTo>
                  <a:lnTo>
                    <a:pt x="11" y="2"/>
                  </a:lnTo>
                  <a:lnTo>
                    <a:pt x="16" y="2"/>
                  </a:lnTo>
                  <a:lnTo>
                    <a:pt x="21" y="4"/>
                  </a:lnTo>
                  <a:lnTo>
                    <a:pt x="23" y="4"/>
                  </a:lnTo>
                  <a:lnTo>
                    <a:pt x="28" y="4"/>
                  </a:lnTo>
                  <a:lnTo>
                    <a:pt x="32" y="7"/>
                  </a:lnTo>
                  <a:lnTo>
                    <a:pt x="37" y="7"/>
                  </a:lnTo>
                  <a:lnTo>
                    <a:pt x="42" y="9"/>
                  </a:lnTo>
                  <a:lnTo>
                    <a:pt x="46" y="9"/>
                  </a:lnTo>
                  <a:lnTo>
                    <a:pt x="51" y="11"/>
                  </a:lnTo>
                  <a:lnTo>
                    <a:pt x="56" y="11"/>
                  </a:lnTo>
                  <a:lnTo>
                    <a:pt x="60" y="11"/>
                  </a:lnTo>
                  <a:lnTo>
                    <a:pt x="65" y="14"/>
                  </a:lnTo>
                  <a:lnTo>
                    <a:pt x="70" y="14"/>
                  </a:lnTo>
                  <a:lnTo>
                    <a:pt x="74" y="16"/>
                  </a:lnTo>
                  <a:lnTo>
                    <a:pt x="79" y="16"/>
                  </a:lnTo>
                  <a:lnTo>
                    <a:pt x="84" y="16"/>
                  </a:lnTo>
                  <a:lnTo>
                    <a:pt x="88" y="18"/>
                  </a:lnTo>
                  <a:lnTo>
                    <a:pt x="93" y="18"/>
                  </a:lnTo>
                  <a:lnTo>
                    <a:pt x="98" y="18"/>
                  </a:lnTo>
                  <a:lnTo>
                    <a:pt x="102" y="21"/>
                  </a:lnTo>
                  <a:lnTo>
                    <a:pt x="107" y="21"/>
                  </a:lnTo>
                  <a:lnTo>
                    <a:pt x="112" y="21"/>
                  </a:lnTo>
                  <a:lnTo>
                    <a:pt x="116" y="23"/>
                  </a:lnTo>
                  <a:lnTo>
                    <a:pt x="121" y="23"/>
                  </a:lnTo>
                  <a:lnTo>
                    <a:pt x="125" y="23"/>
                  </a:lnTo>
                  <a:lnTo>
                    <a:pt x="130" y="25"/>
                  </a:lnTo>
                  <a:lnTo>
                    <a:pt x="132" y="25"/>
                  </a:lnTo>
                  <a:lnTo>
                    <a:pt x="135" y="25"/>
                  </a:lnTo>
                  <a:lnTo>
                    <a:pt x="139" y="25"/>
                  </a:lnTo>
                  <a:lnTo>
                    <a:pt x="144" y="28"/>
                  </a:lnTo>
                  <a:lnTo>
                    <a:pt x="149" y="28"/>
                  </a:lnTo>
                  <a:lnTo>
                    <a:pt x="153" y="28"/>
                  </a:lnTo>
                  <a:lnTo>
                    <a:pt x="158" y="30"/>
                  </a:lnTo>
                  <a:lnTo>
                    <a:pt x="163" y="30"/>
                  </a:lnTo>
                  <a:lnTo>
                    <a:pt x="167" y="30"/>
                  </a:lnTo>
                  <a:lnTo>
                    <a:pt x="172" y="30"/>
                  </a:lnTo>
                  <a:lnTo>
                    <a:pt x="174" y="32"/>
                  </a:lnTo>
                  <a:lnTo>
                    <a:pt x="179" y="32"/>
                  </a:lnTo>
                  <a:lnTo>
                    <a:pt x="184" y="32"/>
                  </a:lnTo>
                  <a:lnTo>
                    <a:pt x="188" y="35"/>
                  </a:lnTo>
                  <a:lnTo>
                    <a:pt x="193" y="35"/>
                  </a:lnTo>
                  <a:lnTo>
                    <a:pt x="198" y="35"/>
                  </a:lnTo>
                  <a:lnTo>
                    <a:pt x="202" y="35"/>
                  </a:lnTo>
                  <a:lnTo>
                    <a:pt x="207" y="37"/>
                  </a:lnTo>
                  <a:lnTo>
                    <a:pt x="212" y="37"/>
                  </a:lnTo>
                  <a:lnTo>
                    <a:pt x="216" y="37"/>
                  </a:lnTo>
                  <a:lnTo>
                    <a:pt x="221" y="37"/>
                  </a:lnTo>
                  <a:lnTo>
                    <a:pt x="226" y="37"/>
                  </a:lnTo>
                  <a:lnTo>
                    <a:pt x="230" y="39"/>
                  </a:lnTo>
                  <a:lnTo>
                    <a:pt x="235" y="39"/>
                  </a:lnTo>
                  <a:lnTo>
                    <a:pt x="240" y="39"/>
                  </a:lnTo>
                  <a:lnTo>
                    <a:pt x="244" y="39"/>
                  </a:lnTo>
                  <a:lnTo>
                    <a:pt x="249" y="39"/>
                  </a:lnTo>
                  <a:lnTo>
                    <a:pt x="253" y="42"/>
                  </a:lnTo>
                  <a:lnTo>
                    <a:pt x="258" y="4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772">
              <a:extLst>
                <a:ext uri="{FF2B5EF4-FFF2-40B4-BE49-F238E27FC236}">
                  <a16:creationId xmlns:a16="http://schemas.microsoft.com/office/drawing/2014/main" id="{C2DFEC17-4D5F-4D9C-AB07-4BE5A340186A}"/>
                </a:ext>
              </a:extLst>
            </p:cNvPr>
            <p:cNvSpPr>
              <a:spLocks/>
            </p:cNvSpPr>
            <p:nvPr/>
          </p:nvSpPr>
          <p:spPr bwMode="auto">
            <a:xfrm>
              <a:off x="6279356" y="4224338"/>
              <a:ext cx="261938" cy="165100"/>
            </a:xfrm>
            <a:custGeom>
              <a:avLst/>
              <a:gdLst>
                <a:gd name="T0" fmla="*/ 153 w 165"/>
                <a:gd name="T1" fmla="*/ 9 h 104"/>
                <a:gd name="T2" fmla="*/ 153 w 165"/>
                <a:gd name="T3" fmla="*/ 11 h 104"/>
                <a:gd name="T4" fmla="*/ 153 w 165"/>
                <a:gd name="T5" fmla="*/ 14 h 104"/>
                <a:gd name="T6" fmla="*/ 156 w 165"/>
                <a:gd name="T7" fmla="*/ 18 h 104"/>
                <a:gd name="T8" fmla="*/ 153 w 165"/>
                <a:gd name="T9" fmla="*/ 25 h 104"/>
                <a:gd name="T10" fmla="*/ 153 w 165"/>
                <a:gd name="T11" fmla="*/ 25 h 104"/>
                <a:gd name="T12" fmla="*/ 156 w 165"/>
                <a:gd name="T13" fmla="*/ 30 h 104"/>
                <a:gd name="T14" fmla="*/ 156 w 165"/>
                <a:gd name="T15" fmla="*/ 35 h 104"/>
                <a:gd name="T16" fmla="*/ 158 w 165"/>
                <a:gd name="T17" fmla="*/ 42 h 104"/>
                <a:gd name="T18" fmla="*/ 158 w 165"/>
                <a:gd name="T19" fmla="*/ 44 h 104"/>
                <a:gd name="T20" fmla="*/ 158 w 165"/>
                <a:gd name="T21" fmla="*/ 44 h 104"/>
                <a:gd name="T22" fmla="*/ 158 w 165"/>
                <a:gd name="T23" fmla="*/ 46 h 104"/>
                <a:gd name="T24" fmla="*/ 158 w 165"/>
                <a:gd name="T25" fmla="*/ 49 h 104"/>
                <a:gd name="T26" fmla="*/ 160 w 165"/>
                <a:gd name="T27" fmla="*/ 51 h 104"/>
                <a:gd name="T28" fmla="*/ 160 w 165"/>
                <a:gd name="T29" fmla="*/ 53 h 104"/>
                <a:gd name="T30" fmla="*/ 160 w 165"/>
                <a:gd name="T31" fmla="*/ 53 h 104"/>
                <a:gd name="T32" fmla="*/ 160 w 165"/>
                <a:gd name="T33" fmla="*/ 58 h 104"/>
                <a:gd name="T34" fmla="*/ 160 w 165"/>
                <a:gd name="T35" fmla="*/ 58 h 104"/>
                <a:gd name="T36" fmla="*/ 160 w 165"/>
                <a:gd name="T37" fmla="*/ 65 h 104"/>
                <a:gd name="T38" fmla="*/ 160 w 165"/>
                <a:gd name="T39" fmla="*/ 67 h 104"/>
                <a:gd name="T40" fmla="*/ 160 w 165"/>
                <a:gd name="T41" fmla="*/ 72 h 104"/>
                <a:gd name="T42" fmla="*/ 160 w 165"/>
                <a:gd name="T43" fmla="*/ 72 h 104"/>
                <a:gd name="T44" fmla="*/ 160 w 165"/>
                <a:gd name="T45" fmla="*/ 74 h 104"/>
                <a:gd name="T46" fmla="*/ 163 w 165"/>
                <a:gd name="T47" fmla="*/ 74 h 104"/>
                <a:gd name="T48" fmla="*/ 160 w 165"/>
                <a:gd name="T49" fmla="*/ 74 h 104"/>
                <a:gd name="T50" fmla="*/ 160 w 165"/>
                <a:gd name="T51" fmla="*/ 77 h 104"/>
                <a:gd name="T52" fmla="*/ 160 w 165"/>
                <a:gd name="T53" fmla="*/ 79 h 104"/>
                <a:gd name="T54" fmla="*/ 160 w 165"/>
                <a:gd name="T55" fmla="*/ 83 h 104"/>
                <a:gd name="T56" fmla="*/ 163 w 165"/>
                <a:gd name="T57" fmla="*/ 86 h 104"/>
                <a:gd name="T58" fmla="*/ 163 w 165"/>
                <a:gd name="T59" fmla="*/ 88 h 104"/>
                <a:gd name="T60" fmla="*/ 163 w 165"/>
                <a:gd name="T61" fmla="*/ 88 h 104"/>
                <a:gd name="T62" fmla="*/ 165 w 165"/>
                <a:gd name="T63" fmla="*/ 93 h 104"/>
                <a:gd name="T64" fmla="*/ 165 w 165"/>
                <a:gd name="T65" fmla="*/ 97 h 104"/>
                <a:gd name="T66" fmla="*/ 165 w 165"/>
                <a:gd name="T67" fmla="*/ 97 h 104"/>
                <a:gd name="T68" fmla="*/ 165 w 165"/>
                <a:gd name="T69" fmla="*/ 102 h 104"/>
                <a:gd name="T70" fmla="*/ 160 w 165"/>
                <a:gd name="T71" fmla="*/ 104 h 104"/>
                <a:gd name="T72" fmla="*/ 139 w 165"/>
                <a:gd name="T73" fmla="*/ 104 h 104"/>
                <a:gd name="T74" fmla="*/ 119 w 165"/>
                <a:gd name="T75" fmla="*/ 104 h 104"/>
                <a:gd name="T76" fmla="*/ 98 w 165"/>
                <a:gd name="T77" fmla="*/ 104 h 104"/>
                <a:gd name="T78" fmla="*/ 79 w 165"/>
                <a:gd name="T79" fmla="*/ 102 h 104"/>
                <a:gd name="T80" fmla="*/ 58 w 165"/>
                <a:gd name="T81" fmla="*/ 102 h 104"/>
                <a:gd name="T82" fmla="*/ 37 w 165"/>
                <a:gd name="T83" fmla="*/ 100 h 104"/>
                <a:gd name="T84" fmla="*/ 16 w 165"/>
                <a:gd name="T85" fmla="*/ 97 h 104"/>
                <a:gd name="T86" fmla="*/ 0 w 165"/>
                <a:gd name="T87" fmla="*/ 90 h 104"/>
                <a:gd name="T88" fmla="*/ 2 w 165"/>
                <a:gd name="T89" fmla="*/ 70 h 104"/>
                <a:gd name="T90" fmla="*/ 4 w 165"/>
                <a:gd name="T91" fmla="*/ 49 h 104"/>
                <a:gd name="T92" fmla="*/ 7 w 165"/>
                <a:gd name="T93" fmla="*/ 28 h 104"/>
                <a:gd name="T94" fmla="*/ 7 w 165"/>
                <a:gd name="T95" fmla="*/ 4 h 104"/>
                <a:gd name="T96" fmla="*/ 18 w 165"/>
                <a:gd name="T97" fmla="*/ 0 h 104"/>
                <a:gd name="T98" fmla="*/ 37 w 165"/>
                <a:gd name="T99" fmla="*/ 2 h 104"/>
                <a:gd name="T100" fmla="*/ 56 w 165"/>
                <a:gd name="T101" fmla="*/ 2 h 104"/>
                <a:gd name="T102" fmla="*/ 70 w 165"/>
                <a:gd name="T103" fmla="*/ 4 h 104"/>
                <a:gd name="T104" fmla="*/ 88 w 165"/>
                <a:gd name="T105" fmla="*/ 4 h 104"/>
                <a:gd name="T106" fmla="*/ 107 w 165"/>
                <a:gd name="T107" fmla="*/ 7 h 104"/>
                <a:gd name="T108" fmla="*/ 125 w 165"/>
                <a:gd name="T109" fmla="*/ 7 h 104"/>
                <a:gd name="T110" fmla="*/ 144 w 165"/>
                <a:gd name="T111" fmla="*/ 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04">
                  <a:moveTo>
                    <a:pt x="153" y="7"/>
                  </a:moveTo>
                  <a:lnTo>
                    <a:pt x="153" y="7"/>
                  </a:lnTo>
                  <a:lnTo>
                    <a:pt x="153" y="9"/>
                  </a:lnTo>
                  <a:lnTo>
                    <a:pt x="153" y="9"/>
                  </a:lnTo>
                  <a:lnTo>
                    <a:pt x="153" y="9"/>
                  </a:lnTo>
                  <a:lnTo>
                    <a:pt x="153" y="9"/>
                  </a:lnTo>
                  <a:lnTo>
                    <a:pt x="153" y="9"/>
                  </a:lnTo>
                  <a:lnTo>
                    <a:pt x="153" y="11"/>
                  </a:lnTo>
                  <a:lnTo>
                    <a:pt x="153" y="11"/>
                  </a:lnTo>
                  <a:lnTo>
                    <a:pt x="153" y="11"/>
                  </a:lnTo>
                  <a:lnTo>
                    <a:pt x="153" y="14"/>
                  </a:lnTo>
                  <a:lnTo>
                    <a:pt x="153" y="14"/>
                  </a:lnTo>
                  <a:lnTo>
                    <a:pt x="153" y="16"/>
                  </a:lnTo>
                  <a:lnTo>
                    <a:pt x="156" y="16"/>
                  </a:lnTo>
                  <a:lnTo>
                    <a:pt x="156" y="18"/>
                  </a:lnTo>
                  <a:lnTo>
                    <a:pt x="156" y="18"/>
                  </a:lnTo>
                  <a:lnTo>
                    <a:pt x="153" y="21"/>
                  </a:lnTo>
                  <a:lnTo>
                    <a:pt x="153" y="21"/>
                  </a:lnTo>
                  <a:lnTo>
                    <a:pt x="153" y="23"/>
                  </a:lnTo>
                  <a:lnTo>
                    <a:pt x="153" y="25"/>
                  </a:lnTo>
                  <a:lnTo>
                    <a:pt x="153" y="25"/>
                  </a:lnTo>
                  <a:lnTo>
                    <a:pt x="153" y="25"/>
                  </a:lnTo>
                  <a:lnTo>
                    <a:pt x="153" y="25"/>
                  </a:lnTo>
                  <a:lnTo>
                    <a:pt x="153" y="25"/>
                  </a:lnTo>
                  <a:lnTo>
                    <a:pt x="153" y="28"/>
                  </a:lnTo>
                  <a:lnTo>
                    <a:pt x="153" y="30"/>
                  </a:lnTo>
                  <a:lnTo>
                    <a:pt x="153" y="30"/>
                  </a:lnTo>
                  <a:lnTo>
                    <a:pt x="156" y="30"/>
                  </a:lnTo>
                  <a:lnTo>
                    <a:pt x="153" y="32"/>
                  </a:lnTo>
                  <a:lnTo>
                    <a:pt x="153" y="32"/>
                  </a:lnTo>
                  <a:lnTo>
                    <a:pt x="153" y="35"/>
                  </a:lnTo>
                  <a:lnTo>
                    <a:pt x="156" y="35"/>
                  </a:lnTo>
                  <a:lnTo>
                    <a:pt x="156" y="37"/>
                  </a:lnTo>
                  <a:lnTo>
                    <a:pt x="156" y="39"/>
                  </a:lnTo>
                  <a:lnTo>
                    <a:pt x="156" y="39"/>
                  </a:lnTo>
                  <a:lnTo>
                    <a:pt x="158" y="42"/>
                  </a:lnTo>
                  <a:lnTo>
                    <a:pt x="156" y="42"/>
                  </a:lnTo>
                  <a:lnTo>
                    <a:pt x="156" y="44"/>
                  </a:lnTo>
                  <a:lnTo>
                    <a:pt x="158" y="44"/>
                  </a:lnTo>
                  <a:lnTo>
                    <a:pt x="158" y="44"/>
                  </a:lnTo>
                  <a:lnTo>
                    <a:pt x="158" y="44"/>
                  </a:lnTo>
                  <a:lnTo>
                    <a:pt x="158" y="44"/>
                  </a:lnTo>
                  <a:lnTo>
                    <a:pt x="158" y="44"/>
                  </a:lnTo>
                  <a:lnTo>
                    <a:pt x="158" y="44"/>
                  </a:lnTo>
                  <a:lnTo>
                    <a:pt x="158" y="44"/>
                  </a:lnTo>
                  <a:lnTo>
                    <a:pt x="158" y="46"/>
                  </a:lnTo>
                  <a:lnTo>
                    <a:pt x="158" y="46"/>
                  </a:lnTo>
                  <a:lnTo>
                    <a:pt x="158" y="46"/>
                  </a:lnTo>
                  <a:lnTo>
                    <a:pt x="158" y="46"/>
                  </a:lnTo>
                  <a:lnTo>
                    <a:pt x="158" y="49"/>
                  </a:lnTo>
                  <a:lnTo>
                    <a:pt x="158" y="49"/>
                  </a:lnTo>
                  <a:lnTo>
                    <a:pt x="158" y="49"/>
                  </a:lnTo>
                  <a:lnTo>
                    <a:pt x="158" y="49"/>
                  </a:lnTo>
                  <a:lnTo>
                    <a:pt x="160" y="51"/>
                  </a:lnTo>
                  <a:lnTo>
                    <a:pt x="160" y="51"/>
                  </a:lnTo>
                  <a:lnTo>
                    <a:pt x="160" y="51"/>
                  </a:lnTo>
                  <a:lnTo>
                    <a:pt x="160" y="51"/>
                  </a:lnTo>
                  <a:lnTo>
                    <a:pt x="160" y="51"/>
                  </a:lnTo>
                  <a:lnTo>
                    <a:pt x="160" y="51"/>
                  </a:lnTo>
                  <a:lnTo>
                    <a:pt x="160" y="53"/>
                  </a:lnTo>
                  <a:lnTo>
                    <a:pt x="160" y="53"/>
                  </a:lnTo>
                  <a:lnTo>
                    <a:pt x="160" y="53"/>
                  </a:lnTo>
                  <a:lnTo>
                    <a:pt x="160" y="53"/>
                  </a:lnTo>
                  <a:lnTo>
                    <a:pt x="160" y="53"/>
                  </a:lnTo>
                  <a:lnTo>
                    <a:pt x="160" y="56"/>
                  </a:lnTo>
                  <a:lnTo>
                    <a:pt x="160" y="56"/>
                  </a:lnTo>
                  <a:lnTo>
                    <a:pt x="160" y="58"/>
                  </a:lnTo>
                  <a:lnTo>
                    <a:pt x="160" y="58"/>
                  </a:lnTo>
                  <a:lnTo>
                    <a:pt x="160" y="58"/>
                  </a:lnTo>
                  <a:lnTo>
                    <a:pt x="160" y="58"/>
                  </a:lnTo>
                  <a:lnTo>
                    <a:pt x="160" y="58"/>
                  </a:lnTo>
                  <a:lnTo>
                    <a:pt x="160" y="58"/>
                  </a:lnTo>
                  <a:lnTo>
                    <a:pt x="160" y="63"/>
                  </a:lnTo>
                  <a:lnTo>
                    <a:pt x="160" y="63"/>
                  </a:lnTo>
                  <a:lnTo>
                    <a:pt x="160" y="65"/>
                  </a:lnTo>
                  <a:lnTo>
                    <a:pt x="160" y="65"/>
                  </a:lnTo>
                  <a:lnTo>
                    <a:pt x="160" y="65"/>
                  </a:lnTo>
                  <a:lnTo>
                    <a:pt x="160" y="67"/>
                  </a:lnTo>
                  <a:lnTo>
                    <a:pt x="160" y="67"/>
                  </a:lnTo>
                  <a:lnTo>
                    <a:pt x="160" y="67"/>
                  </a:lnTo>
                  <a:lnTo>
                    <a:pt x="160" y="67"/>
                  </a:lnTo>
                  <a:lnTo>
                    <a:pt x="160" y="70"/>
                  </a:lnTo>
                  <a:lnTo>
                    <a:pt x="160" y="72"/>
                  </a:lnTo>
                  <a:lnTo>
                    <a:pt x="160" y="72"/>
                  </a:lnTo>
                  <a:lnTo>
                    <a:pt x="160" y="72"/>
                  </a:lnTo>
                  <a:lnTo>
                    <a:pt x="160" y="72"/>
                  </a:lnTo>
                  <a:lnTo>
                    <a:pt x="160" y="72"/>
                  </a:lnTo>
                  <a:lnTo>
                    <a:pt x="160" y="72"/>
                  </a:lnTo>
                  <a:lnTo>
                    <a:pt x="160" y="72"/>
                  </a:lnTo>
                  <a:lnTo>
                    <a:pt x="160" y="72"/>
                  </a:lnTo>
                  <a:lnTo>
                    <a:pt x="160" y="72"/>
                  </a:lnTo>
                  <a:lnTo>
                    <a:pt x="160" y="74"/>
                  </a:lnTo>
                  <a:lnTo>
                    <a:pt x="163" y="74"/>
                  </a:lnTo>
                  <a:lnTo>
                    <a:pt x="163" y="74"/>
                  </a:lnTo>
                  <a:lnTo>
                    <a:pt x="163" y="74"/>
                  </a:lnTo>
                  <a:lnTo>
                    <a:pt x="163" y="74"/>
                  </a:lnTo>
                  <a:lnTo>
                    <a:pt x="163" y="74"/>
                  </a:lnTo>
                  <a:lnTo>
                    <a:pt x="163" y="74"/>
                  </a:lnTo>
                  <a:lnTo>
                    <a:pt x="160" y="74"/>
                  </a:lnTo>
                  <a:lnTo>
                    <a:pt x="160" y="74"/>
                  </a:lnTo>
                  <a:lnTo>
                    <a:pt x="160" y="77"/>
                  </a:lnTo>
                  <a:lnTo>
                    <a:pt x="160" y="77"/>
                  </a:lnTo>
                  <a:lnTo>
                    <a:pt x="160" y="77"/>
                  </a:lnTo>
                  <a:lnTo>
                    <a:pt x="160" y="77"/>
                  </a:lnTo>
                  <a:lnTo>
                    <a:pt x="160" y="77"/>
                  </a:lnTo>
                  <a:lnTo>
                    <a:pt x="160" y="79"/>
                  </a:lnTo>
                  <a:lnTo>
                    <a:pt x="160" y="79"/>
                  </a:lnTo>
                  <a:lnTo>
                    <a:pt x="160" y="79"/>
                  </a:lnTo>
                  <a:lnTo>
                    <a:pt x="160" y="81"/>
                  </a:lnTo>
                  <a:lnTo>
                    <a:pt x="160" y="81"/>
                  </a:lnTo>
                  <a:lnTo>
                    <a:pt x="160" y="83"/>
                  </a:lnTo>
                  <a:lnTo>
                    <a:pt x="160" y="83"/>
                  </a:lnTo>
                  <a:lnTo>
                    <a:pt x="163" y="83"/>
                  </a:lnTo>
                  <a:lnTo>
                    <a:pt x="163" y="83"/>
                  </a:lnTo>
                  <a:lnTo>
                    <a:pt x="163" y="86"/>
                  </a:lnTo>
                  <a:lnTo>
                    <a:pt x="163" y="86"/>
                  </a:lnTo>
                  <a:lnTo>
                    <a:pt x="163" y="88"/>
                  </a:lnTo>
                  <a:lnTo>
                    <a:pt x="163" y="88"/>
                  </a:lnTo>
                  <a:lnTo>
                    <a:pt x="163" y="88"/>
                  </a:lnTo>
                  <a:lnTo>
                    <a:pt x="163" y="88"/>
                  </a:lnTo>
                  <a:lnTo>
                    <a:pt x="163" y="88"/>
                  </a:lnTo>
                  <a:lnTo>
                    <a:pt x="163" y="88"/>
                  </a:lnTo>
                  <a:lnTo>
                    <a:pt x="163" y="88"/>
                  </a:lnTo>
                  <a:lnTo>
                    <a:pt x="163" y="88"/>
                  </a:lnTo>
                  <a:lnTo>
                    <a:pt x="165" y="90"/>
                  </a:lnTo>
                  <a:lnTo>
                    <a:pt x="165" y="93"/>
                  </a:lnTo>
                  <a:lnTo>
                    <a:pt x="165" y="93"/>
                  </a:lnTo>
                  <a:lnTo>
                    <a:pt x="165" y="93"/>
                  </a:lnTo>
                  <a:lnTo>
                    <a:pt x="165" y="95"/>
                  </a:lnTo>
                  <a:lnTo>
                    <a:pt x="165" y="95"/>
                  </a:lnTo>
                  <a:lnTo>
                    <a:pt x="165" y="97"/>
                  </a:lnTo>
                  <a:lnTo>
                    <a:pt x="165" y="97"/>
                  </a:lnTo>
                  <a:lnTo>
                    <a:pt x="165" y="97"/>
                  </a:lnTo>
                  <a:lnTo>
                    <a:pt x="165" y="97"/>
                  </a:lnTo>
                  <a:lnTo>
                    <a:pt x="165" y="97"/>
                  </a:lnTo>
                  <a:lnTo>
                    <a:pt x="165" y="97"/>
                  </a:lnTo>
                  <a:lnTo>
                    <a:pt x="165" y="97"/>
                  </a:lnTo>
                  <a:lnTo>
                    <a:pt x="165" y="100"/>
                  </a:lnTo>
                  <a:lnTo>
                    <a:pt x="165" y="100"/>
                  </a:lnTo>
                  <a:lnTo>
                    <a:pt x="165" y="102"/>
                  </a:lnTo>
                  <a:lnTo>
                    <a:pt x="165" y="102"/>
                  </a:lnTo>
                  <a:lnTo>
                    <a:pt x="165" y="102"/>
                  </a:lnTo>
                  <a:lnTo>
                    <a:pt x="165" y="104"/>
                  </a:lnTo>
                  <a:lnTo>
                    <a:pt x="160" y="104"/>
                  </a:lnTo>
                  <a:lnTo>
                    <a:pt x="156" y="104"/>
                  </a:lnTo>
                  <a:lnTo>
                    <a:pt x="151" y="104"/>
                  </a:lnTo>
                  <a:lnTo>
                    <a:pt x="146" y="104"/>
                  </a:lnTo>
                  <a:lnTo>
                    <a:pt x="139" y="104"/>
                  </a:lnTo>
                  <a:lnTo>
                    <a:pt x="135" y="104"/>
                  </a:lnTo>
                  <a:lnTo>
                    <a:pt x="130" y="104"/>
                  </a:lnTo>
                  <a:lnTo>
                    <a:pt x="125" y="104"/>
                  </a:lnTo>
                  <a:lnTo>
                    <a:pt x="119" y="104"/>
                  </a:lnTo>
                  <a:lnTo>
                    <a:pt x="114" y="104"/>
                  </a:lnTo>
                  <a:lnTo>
                    <a:pt x="109" y="104"/>
                  </a:lnTo>
                  <a:lnTo>
                    <a:pt x="105" y="104"/>
                  </a:lnTo>
                  <a:lnTo>
                    <a:pt x="98" y="104"/>
                  </a:lnTo>
                  <a:lnTo>
                    <a:pt x="93" y="102"/>
                  </a:lnTo>
                  <a:lnTo>
                    <a:pt x="88" y="102"/>
                  </a:lnTo>
                  <a:lnTo>
                    <a:pt x="84" y="102"/>
                  </a:lnTo>
                  <a:lnTo>
                    <a:pt x="79" y="102"/>
                  </a:lnTo>
                  <a:lnTo>
                    <a:pt x="72" y="102"/>
                  </a:lnTo>
                  <a:lnTo>
                    <a:pt x="67" y="102"/>
                  </a:lnTo>
                  <a:lnTo>
                    <a:pt x="63" y="102"/>
                  </a:lnTo>
                  <a:lnTo>
                    <a:pt x="58" y="102"/>
                  </a:lnTo>
                  <a:lnTo>
                    <a:pt x="51" y="100"/>
                  </a:lnTo>
                  <a:lnTo>
                    <a:pt x="46" y="100"/>
                  </a:lnTo>
                  <a:lnTo>
                    <a:pt x="42" y="100"/>
                  </a:lnTo>
                  <a:lnTo>
                    <a:pt x="37" y="100"/>
                  </a:lnTo>
                  <a:lnTo>
                    <a:pt x="30" y="100"/>
                  </a:lnTo>
                  <a:lnTo>
                    <a:pt x="25" y="100"/>
                  </a:lnTo>
                  <a:lnTo>
                    <a:pt x="21" y="97"/>
                  </a:lnTo>
                  <a:lnTo>
                    <a:pt x="16" y="97"/>
                  </a:lnTo>
                  <a:lnTo>
                    <a:pt x="11" y="97"/>
                  </a:lnTo>
                  <a:lnTo>
                    <a:pt x="4" y="97"/>
                  </a:lnTo>
                  <a:lnTo>
                    <a:pt x="0" y="97"/>
                  </a:lnTo>
                  <a:lnTo>
                    <a:pt x="0" y="90"/>
                  </a:lnTo>
                  <a:lnTo>
                    <a:pt x="0" y="86"/>
                  </a:lnTo>
                  <a:lnTo>
                    <a:pt x="0" y="79"/>
                  </a:lnTo>
                  <a:lnTo>
                    <a:pt x="2" y="74"/>
                  </a:lnTo>
                  <a:lnTo>
                    <a:pt x="2" y="70"/>
                  </a:lnTo>
                  <a:lnTo>
                    <a:pt x="2" y="65"/>
                  </a:lnTo>
                  <a:lnTo>
                    <a:pt x="2" y="58"/>
                  </a:lnTo>
                  <a:lnTo>
                    <a:pt x="2" y="53"/>
                  </a:lnTo>
                  <a:lnTo>
                    <a:pt x="4" y="49"/>
                  </a:lnTo>
                  <a:lnTo>
                    <a:pt x="4" y="42"/>
                  </a:lnTo>
                  <a:lnTo>
                    <a:pt x="4" y="37"/>
                  </a:lnTo>
                  <a:lnTo>
                    <a:pt x="4" y="32"/>
                  </a:lnTo>
                  <a:lnTo>
                    <a:pt x="7" y="28"/>
                  </a:lnTo>
                  <a:lnTo>
                    <a:pt x="7" y="21"/>
                  </a:lnTo>
                  <a:lnTo>
                    <a:pt x="7" y="16"/>
                  </a:lnTo>
                  <a:lnTo>
                    <a:pt x="7" y="11"/>
                  </a:lnTo>
                  <a:lnTo>
                    <a:pt x="7" y="4"/>
                  </a:lnTo>
                  <a:lnTo>
                    <a:pt x="9" y="0"/>
                  </a:lnTo>
                  <a:lnTo>
                    <a:pt x="9" y="0"/>
                  </a:lnTo>
                  <a:lnTo>
                    <a:pt x="14" y="0"/>
                  </a:lnTo>
                  <a:lnTo>
                    <a:pt x="18" y="0"/>
                  </a:lnTo>
                  <a:lnTo>
                    <a:pt x="23" y="0"/>
                  </a:lnTo>
                  <a:lnTo>
                    <a:pt x="28" y="2"/>
                  </a:lnTo>
                  <a:lnTo>
                    <a:pt x="32" y="2"/>
                  </a:lnTo>
                  <a:lnTo>
                    <a:pt x="37" y="2"/>
                  </a:lnTo>
                  <a:lnTo>
                    <a:pt x="42" y="2"/>
                  </a:lnTo>
                  <a:lnTo>
                    <a:pt x="46" y="2"/>
                  </a:lnTo>
                  <a:lnTo>
                    <a:pt x="51" y="2"/>
                  </a:lnTo>
                  <a:lnTo>
                    <a:pt x="56" y="2"/>
                  </a:lnTo>
                  <a:lnTo>
                    <a:pt x="60" y="4"/>
                  </a:lnTo>
                  <a:lnTo>
                    <a:pt x="65" y="4"/>
                  </a:lnTo>
                  <a:lnTo>
                    <a:pt x="65" y="4"/>
                  </a:lnTo>
                  <a:lnTo>
                    <a:pt x="70" y="4"/>
                  </a:lnTo>
                  <a:lnTo>
                    <a:pt x="74" y="4"/>
                  </a:lnTo>
                  <a:lnTo>
                    <a:pt x="79" y="4"/>
                  </a:lnTo>
                  <a:lnTo>
                    <a:pt x="84" y="4"/>
                  </a:lnTo>
                  <a:lnTo>
                    <a:pt x="88" y="4"/>
                  </a:lnTo>
                  <a:lnTo>
                    <a:pt x="93" y="4"/>
                  </a:lnTo>
                  <a:lnTo>
                    <a:pt x="98" y="4"/>
                  </a:lnTo>
                  <a:lnTo>
                    <a:pt x="102" y="4"/>
                  </a:lnTo>
                  <a:lnTo>
                    <a:pt x="107" y="7"/>
                  </a:lnTo>
                  <a:lnTo>
                    <a:pt x="112" y="7"/>
                  </a:lnTo>
                  <a:lnTo>
                    <a:pt x="116" y="7"/>
                  </a:lnTo>
                  <a:lnTo>
                    <a:pt x="121" y="7"/>
                  </a:lnTo>
                  <a:lnTo>
                    <a:pt x="125" y="7"/>
                  </a:lnTo>
                  <a:lnTo>
                    <a:pt x="130" y="7"/>
                  </a:lnTo>
                  <a:lnTo>
                    <a:pt x="135" y="7"/>
                  </a:lnTo>
                  <a:lnTo>
                    <a:pt x="139" y="7"/>
                  </a:lnTo>
                  <a:lnTo>
                    <a:pt x="144" y="7"/>
                  </a:lnTo>
                  <a:lnTo>
                    <a:pt x="149" y="7"/>
                  </a:lnTo>
                  <a:lnTo>
                    <a:pt x="153"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773">
              <a:extLst>
                <a:ext uri="{FF2B5EF4-FFF2-40B4-BE49-F238E27FC236}">
                  <a16:creationId xmlns:a16="http://schemas.microsoft.com/office/drawing/2014/main" id="{A56AC1D6-7A75-49A6-8B2A-153AB4B5B380}"/>
                </a:ext>
              </a:extLst>
            </p:cNvPr>
            <p:cNvSpPr>
              <a:spLocks/>
            </p:cNvSpPr>
            <p:nvPr/>
          </p:nvSpPr>
          <p:spPr bwMode="auto">
            <a:xfrm>
              <a:off x="5776119" y="4149726"/>
              <a:ext cx="244475" cy="392113"/>
            </a:xfrm>
            <a:custGeom>
              <a:avLst/>
              <a:gdLst>
                <a:gd name="T0" fmla="*/ 70 w 154"/>
                <a:gd name="T1" fmla="*/ 21 h 247"/>
                <a:gd name="T2" fmla="*/ 68 w 154"/>
                <a:gd name="T3" fmla="*/ 37 h 247"/>
                <a:gd name="T4" fmla="*/ 72 w 154"/>
                <a:gd name="T5" fmla="*/ 47 h 247"/>
                <a:gd name="T6" fmla="*/ 72 w 154"/>
                <a:gd name="T7" fmla="*/ 54 h 247"/>
                <a:gd name="T8" fmla="*/ 75 w 154"/>
                <a:gd name="T9" fmla="*/ 61 h 247"/>
                <a:gd name="T10" fmla="*/ 79 w 154"/>
                <a:gd name="T11" fmla="*/ 70 h 247"/>
                <a:gd name="T12" fmla="*/ 82 w 154"/>
                <a:gd name="T13" fmla="*/ 77 h 247"/>
                <a:gd name="T14" fmla="*/ 86 w 154"/>
                <a:gd name="T15" fmla="*/ 84 h 247"/>
                <a:gd name="T16" fmla="*/ 93 w 154"/>
                <a:gd name="T17" fmla="*/ 86 h 247"/>
                <a:gd name="T18" fmla="*/ 91 w 154"/>
                <a:gd name="T19" fmla="*/ 96 h 247"/>
                <a:gd name="T20" fmla="*/ 89 w 154"/>
                <a:gd name="T21" fmla="*/ 103 h 247"/>
                <a:gd name="T22" fmla="*/ 89 w 154"/>
                <a:gd name="T23" fmla="*/ 110 h 247"/>
                <a:gd name="T24" fmla="*/ 84 w 154"/>
                <a:gd name="T25" fmla="*/ 114 h 247"/>
                <a:gd name="T26" fmla="*/ 86 w 154"/>
                <a:gd name="T27" fmla="*/ 124 h 247"/>
                <a:gd name="T28" fmla="*/ 93 w 154"/>
                <a:gd name="T29" fmla="*/ 119 h 247"/>
                <a:gd name="T30" fmla="*/ 98 w 154"/>
                <a:gd name="T31" fmla="*/ 126 h 247"/>
                <a:gd name="T32" fmla="*/ 100 w 154"/>
                <a:gd name="T33" fmla="*/ 135 h 247"/>
                <a:gd name="T34" fmla="*/ 103 w 154"/>
                <a:gd name="T35" fmla="*/ 144 h 247"/>
                <a:gd name="T36" fmla="*/ 105 w 154"/>
                <a:gd name="T37" fmla="*/ 149 h 247"/>
                <a:gd name="T38" fmla="*/ 110 w 154"/>
                <a:gd name="T39" fmla="*/ 156 h 247"/>
                <a:gd name="T40" fmla="*/ 112 w 154"/>
                <a:gd name="T41" fmla="*/ 165 h 247"/>
                <a:gd name="T42" fmla="*/ 119 w 154"/>
                <a:gd name="T43" fmla="*/ 163 h 247"/>
                <a:gd name="T44" fmla="*/ 126 w 154"/>
                <a:gd name="T45" fmla="*/ 163 h 247"/>
                <a:gd name="T46" fmla="*/ 133 w 154"/>
                <a:gd name="T47" fmla="*/ 163 h 247"/>
                <a:gd name="T48" fmla="*/ 142 w 154"/>
                <a:gd name="T49" fmla="*/ 165 h 247"/>
                <a:gd name="T50" fmla="*/ 147 w 154"/>
                <a:gd name="T51" fmla="*/ 158 h 247"/>
                <a:gd name="T52" fmla="*/ 152 w 154"/>
                <a:gd name="T53" fmla="*/ 168 h 247"/>
                <a:gd name="T54" fmla="*/ 149 w 154"/>
                <a:gd name="T55" fmla="*/ 189 h 247"/>
                <a:gd name="T56" fmla="*/ 145 w 154"/>
                <a:gd name="T57" fmla="*/ 212 h 247"/>
                <a:gd name="T58" fmla="*/ 142 w 154"/>
                <a:gd name="T59" fmla="*/ 238 h 247"/>
                <a:gd name="T60" fmla="*/ 126 w 154"/>
                <a:gd name="T61" fmla="*/ 245 h 247"/>
                <a:gd name="T62" fmla="*/ 105 w 154"/>
                <a:gd name="T63" fmla="*/ 240 h 247"/>
                <a:gd name="T64" fmla="*/ 82 w 154"/>
                <a:gd name="T65" fmla="*/ 235 h 247"/>
                <a:gd name="T66" fmla="*/ 61 w 154"/>
                <a:gd name="T67" fmla="*/ 233 h 247"/>
                <a:gd name="T68" fmla="*/ 40 w 154"/>
                <a:gd name="T69" fmla="*/ 226 h 247"/>
                <a:gd name="T70" fmla="*/ 19 w 154"/>
                <a:gd name="T71" fmla="*/ 221 h 247"/>
                <a:gd name="T72" fmla="*/ 3 w 154"/>
                <a:gd name="T73" fmla="*/ 214 h 247"/>
                <a:gd name="T74" fmla="*/ 5 w 154"/>
                <a:gd name="T75" fmla="*/ 198 h 247"/>
                <a:gd name="T76" fmla="*/ 10 w 154"/>
                <a:gd name="T77" fmla="*/ 182 h 247"/>
                <a:gd name="T78" fmla="*/ 14 w 154"/>
                <a:gd name="T79" fmla="*/ 168 h 247"/>
                <a:gd name="T80" fmla="*/ 17 w 154"/>
                <a:gd name="T81" fmla="*/ 158 h 247"/>
                <a:gd name="T82" fmla="*/ 21 w 154"/>
                <a:gd name="T83" fmla="*/ 151 h 247"/>
                <a:gd name="T84" fmla="*/ 14 w 154"/>
                <a:gd name="T85" fmla="*/ 147 h 247"/>
                <a:gd name="T86" fmla="*/ 19 w 154"/>
                <a:gd name="T87" fmla="*/ 135 h 247"/>
                <a:gd name="T88" fmla="*/ 26 w 154"/>
                <a:gd name="T89" fmla="*/ 128 h 247"/>
                <a:gd name="T90" fmla="*/ 33 w 154"/>
                <a:gd name="T91" fmla="*/ 119 h 247"/>
                <a:gd name="T92" fmla="*/ 40 w 154"/>
                <a:gd name="T93" fmla="*/ 110 h 247"/>
                <a:gd name="T94" fmla="*/ 38 w 154"/>
                <a:gd name="T95" fmla="*/ 100 h 247"/>
                <a:gd name="T96" fmla="*/ 33 w 154"/>
                <a:gd name="T97" fmla="*/ 91 h 247"/>
                <a:gd name="T98" fmla="*/ 33 w 154"/>
                <a:gd name="T99" fmla="*/ 82 h 247"/>
                <a:gd name="T100" fmla="*/ 38 w 154"/>
                <a:gd name="T101" fmla="*/ 65 h 247"/>
                <a:gd name="T102" fmla="*/ 45 w 154"/>
                <a:gd name="T103" fmla="*/ 40 h 247"/>
                <a:gd name="T104" fmla="*/ 49 w 154"/>
                <a:gd name="T105" fmla="*/ 16 h 247"/>
                <a:gd name="T106" fmla="*/ 61 w 154"/>
                <a:gd name="T107"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247">
                  <a:moveTo>
                    <a:pt x="75" y="5"/>
                  </a:moveTo>
                  <a:lnTo>
                    <a:pt x="72" y="9"/>
                  </a:lnTo>
                  <a:lnTo>
                    <a:pt x="72" y="12"/>
                  </a:lnTo>
                  <a:lnTo>
                    <a:pt x="72" y="16"/>
                  </a:lnTo>
                  <a:lnTo>
                    <a:pt x="70" y="21"/>
                  </a:lnTo>
                  <a:lnTo>
                    <a:pt x="70" y="23"/>
                  </a:lnTo>
                  <a:lnTo>
                    <a:pt x="70" y="28"/>
                  </a:lnTo>
                  <a:lnTo>
                    <a:pt x="68" y="30"/>
                  </a:lnTo>
                  <a:lnTo>
                    <a:pt x="68" y="35"/>
                  </a:lnTo>
                  <a:lnTo>
                    <a:pt x="68" y="37"/>
                  </a:lnTo>
                  <a:lnTo>
                    <a:pt x="68" y="40"/>
                  </a:lnTo>
                  <a:lnTo>
                    <a:pt x="70" y="42"/>
                  </a:lnTo>
                  <a:lnTo>
                    <a:pt x="70" y="44"/>
                  </a:lnTo>
                  <a:lnTo>
                    <a:pt x="70" y="47"/>
                  </a:lnTo>
                  <a:lnTo>
                    <a:pt x="72" y="47"/>
                  </a:lnTo>
                  <a:lnTo>
                    <a:pt x="72" y="49"/>
                  </a:lnTo>
                  <a:lnTo>
                    <a:pt x="72" y="51"/>
                  </a:lnTo>
                  <a:lnTo>
                    <a:pt x="70" y="51"/>
                  </a:lnTo>
                  <a:lnTo>
                    <a:pt x="70" y="54"/>
                  </a:lnTo>
                  <a:lnTo>
                    <a:pt x="72" y="54"/>
                  </a:lnTo>
                  <a:lnTo>
                    <a:pt x="72" y="56"/>
                  </a:lnTo>
                  <a:lnTo>
                    <a:pt x="70" y="56"/>
                  </a:lnTo>
                  <a:lnTo>
                    <a:pt x="72" y="58"/>
                  </a:lnTo>
                  <a:lnTo>
                    <a:pt x="72" y="61"/>
                  </a:lnTo>
                  <a:lnTo>
                    <a:pt x="75" y="61"/>
                  </a:lnTo>
                  <a:lnTo>
                    <a:pt x="77" y="63"/>
                  </a:lnTo>
                  <a:lnTo>
                    <a:pt x="77" y="65"/>
                  </a:lnTo>
                  <a:lnTo>
                    <a:pt x="77" y="68"/>
                  </a:lnTo>
                  <a:lnTo>
                    <a:pt x="79" y="68"/>
                  </a:lnTo>
                  <a:lnTo>
                    <a:pt x="79" y="70"/>
                  </a:lnTo>
                  <a:lnTo>
                    <a:pt x="82" y="72"/>
                  </a:lnTo>
                  <a:lnTo>
                    <a:pt x="82" y="75"/>
                  </a:lnTo>
                  <a:lnTo>
                    <a:pt x="84" y="75"/>
                  </a:lnTo>
                  <a:lnTo>
                    <a:pt x="84" y="77"/>
                  </a:lnTo>
                  <a:lnTo>
                    <a:pt x="82" y="77"/>
                  </a:lnTo>
                  <a:lnTo>
                    <a:pt x="84" y="79"/>
                  </a:lnTo>
                  <a:lnTo>
                    <a:pt x="86" y="82"/>
                  </a:lnTo>
                  <a:lnTo>
                    <a:pt x="84" y="82"/>
                  </a:lnTo>
                  <a:lnTo>
                    <a:pt x="84" y="84"/>
                  </a:lnTo>
                  <a:lnTo>
                    <a:pt x="86" y="84"/>
                  </a:lnTo>
                  <a:lnTo>
                    <a:pt x="86" y="82"/>
                  </a:lnTo>
                  <a:lnTo>
                    <a:pt x="89" y="84"/>
                  </a:lnTo>
                  <a:lnTo>
                    <a:pt x="89" y="86"/>
                  </a:lnTo>
                  <a:lnTo>
                    <a:pt x="91" y="86"/>
                  </a:lnTo>
                  <a:lnTo>
                    <a:pt x="93" y="86"/>
                  </a:lnTo>
                  <a:lnTo>
                    <a:pt x="93" y="89"/>
                  </a:lnTo>
                  <a:lnTo>
                    <a:pt x="93" y="91"/>
                  </a:lnTo>
                  <a:lnTo>
                    <a:pt x="91" y="91"/>
                  </a:lnTo>
                  <a:lnTo>
                    <a:pt x="91" y="93"/>
                  </a:lnTo>
                  <a:lnTo>
                    <a:pt x="91" y="96"/>
                  </a:lnTo>
                  <a:lnTo>
                    <a:pt x="89" y="98"/>
                  </a:lnTo>
                  <a:lnTo>
                    <a:pt x="89" y="100"/>
                  </a:lnTo>
                  <a:lnTo>
                    <a:pt x="86" y="100"/>
                  </a:lnTo>
                  <a:lnTo>
                    <a:pt x="86" y="103"/>
                  </a:lnTo>
                  <a:lnTo>
                    <a:pt x="89" y="103"/>
                  </a:lnTo>
                  <a:lnTo>
                    <a:pt x="89" y="105"/>
                  </a:lnTo>
                  <a:lnTo>
                    <a:pt x="86" y="105"/>
                  </a:lnTo>
                  <a:lnTo>
                    <a:pt x="86" y="107"/>
                  </a:lnTo>
                  <a:lnTo>
                    <a:pt x="89" y="107"/>
                  </a:lnTo>
                  <a:lnTo>
                    <a:pt x="89" y="110"/>
                  </a:lnTo>
                  <a:lnTo>
                    <a:pt x="86" y="110"/>
                  </a:lnTo>
                  <a:lnTo>
                    <a:pt x="89" y="110"/>
                  </a:lnTo>
                  <a:lnTo>
                    <a:pt x="86" y="112"/>
                  </a:lnTo>
                  <a:lnTo>
                    <a:pt x="84" y="112"/>
                  </a:lnTo>
                  <a:lnTo>
                    <a:pt x="84" y="114"/>
                  </a:lnTo>
                  <a:lnTo>
                    <a:pt x="84" y="117"/>
                  </a:lnTo>
                  <a:lnTo>
                    <a:pt x="82" y="119"/>
                  </a:lnTo>
                  <a:lnTo>
                    <a:pt x="84" y="119"/>
                  </a:lnTo>
                  <a:lnTo>
                    <a:pt x="84" y="121"/>
                  </a:lnTo>
                  <a:lnTo>
                    <a:pt x="86" y="124"/>
                  </a:lnTo>
                  <a:lnTo>
                    <a:pt x="89" y="124"/>
                  </a:lnTo>
                  <a:lnTo>
                    <a:pt x="89" y="121"/>
                  </a:lnTo>
                  <a:lnTo>
                    <a:pt x="91" y="121"/>
                  </a:lnTo>
                  <a:lnTo>
                    <a:pt x="93" y="121"/>
                  </a:lnTo>
                  <a:lnTo>
                    <a:pt x="93" y="119"/>
                  </a:lnTo>
                  <a:lnTo>
                    <a:pt x="96" y="119"/>
                  </a:lnTo>
                  <a:lnTo>
                    <a:pt x="98" y="119"/>
                  </a:lnTo>
                  <a:lnTo>
                    <a:pt x="98" y="121"/>
                  </a:lnTo>
                  <a:lnTo>
                    <a:pt x="98" y="124"/>
                  </a:lnTo>
                  <a:lnTo>
                    <a:pt x="98" y="126"/>
                  </a:lnTo>
                  <a:lnTo>
                    <a:pt x="98" y="128"/>
                  </a:lnTo>
                  <a:lnTo>
                    <a:pt x="98" y="130"/>
                  </a:lnTo>
                  <a:lnTo>
                    <a:pt x="98" y="133"/>
                  </a:lnTo>
                  <a:lnTo>
                    <a:pt x="100" y="133"/>
                  </a:lnTo>
                  <a:lnTo>
                    <a:pt x="100" y="135"/>
                  </a:lnTo>
                  <a:lnTo>
                    <a:pt x="100" y="137"/>
                  </a:lnTo>
                  <a:lnTo>
                    <a:pt x="103" y="137"/>
                  </a:lnTo>
                  <a:lnTo>
                    <a:pt x="103" y="140"/>
                  </a:lnTo>
                  <a:lnTo>
                    <a:pt x="103" y="142"/>
                  </a:lnTo>
                  <a:lnTo>
                    <a:pt x="103" y="144"/>
                  </a:lnTo>
                  <a:lnTo>
                    <a:pt x="100" y="144"/>
                  </a:lnTo>
                  <a:lnTo>
                    <a:pt x="103" y="144"/>
                  </a:lnTo>
                  <a:lnTo>
                    <a:pt x="103" y="147"/>
                  </a:lnTo>
                  <a:lnTo>
                    <a:pt x="103" y="149"/>
                  </a:lnTo>
                  <a:lnTo>
                    <a:pt x="105" y="149"/>
                  </a:lnTo>
                  <a:lnTo>
                    <a:pt x="107" y="149"/>
                  </a:lnTo>
                  <a:lnTo>
                    <a:pt x="107" y="151"/>
                  </a:lnTo>
                  <a:lnTo>
                    <a:pt x="110" y="151"/>
                  </a:lnTo>
                  <a:lnTo>
                    <a:pt x="110" y="154"/>
                  </a:lnTo>
                  <a:lnTo>
                    <a:pt x="110" y="156"/>
                  </a:lnTo>
                  <a:lnTo>
                    <a:pt x="110" y="158"/>
                  </a:lnTo>
                  <a:lnTo>
                    <a:pt x="110" y="161"/>
                  </a:lnTo>
                  <a:lnTo>
                    <a:pt x="110" y="163"/>
                  </a:lnTo>
                  <a:lnTo>
                    <a:pt x="112" y="163"/>
                  </a:lnTo>
                  <a:lnTo>
                    <a:pt x="112" y="165"/>
                  </a:lnTo>
                  <a:lnTo>
                    <a:pt x="112" y="163"/>
                  </a:lnTo>
                  <a:lnTo>
                    <a:pt x="114" y="163"/>
                  </a:lnTo>
                  <a:lnTo>
                    <a:pt x="114" y="161"/>
                  </a:lnTo>
                  <a:lnTo>
                    <a:pt x="117" y="161"/>
                  </a:lnTo>
                  <a:lnTo>
                    <a:pt x="119" y="163"/>
                  </a:lnTo>
                  <a:lnTo>
                    <a:pt x="121" y="163"/>
                  </a:lnTo>
                  <a:lnTo>
                    <a:pt x="124" y="163"/>
                  </a:lnTo>
                  <a:lnTo>
                    <a:pt x="124" y="165"/>
                  </a:lnTo>
                  <a:lnTo>
                    <a:pt x="124" y="163"/>
                  </a:lnTo>
                  <a:lnTo>
                    <a:pt x="126" y="163"/>
                  </a:lnTo>
                  <a:lnTo>
                    <a:pt x="126" y="161"/>
                  </a:lnTo>
                  <a:lnTo>
                    <a:pt x="128" y="161"/>
                  </a:lnTo>
                  <a:lnTo>
                    <a:pt x="128" y="163"/>
                  </a:lnTo>
                  <a:lnTo>
                    <a:pt x="131" y="163"/>
                  </a:lnTo>
                  <a:lnTo>
                    <a:pt x="133" y="163"/>
                  </a:lnTo>
                  <a:lnTo>
                    <a:pt x="135" y="163"/>
                  </a:lnTo>
                  <a:lnTo>
                    <a:pt x="135" y="165"/>
                  </a:lnTo>
                  <a:lnTo>
                    <a:pt x="138" y="165"/>
                  </a:lnTo>
                  <a:lnTo>
                    <a:pt x="140" y="163"/>
                  </a:lnTo>
                  <a:lnTo>
                    <a:pt x="142" y="165"/>
                  </a:lnTo>
                  <a:lnTo>
                    <a:pt x="145" y="165"/>
                  </a:lnTo>
                  <a:lnTo>
                    <a:pt x="145" y="163"/>
                  </a:lnTo>
                  <a:lnTo>
                    <a:pt x="145" y="161"/>
                  </a:lnTo>
                  <a:lnTo>
                    <a:pt x="147" y="161"/>
                  </a:lnTo>
                  <a:lnTo>
                    <a:pt x="147" y="158"/>
                  </a:lnTo>
                  <a:lnTo>
                    <a:pt x="149" y="161"/>
                  </a:lnTo>
                  <a:lnTo>
                    <a:pt x="149" y="163"/>
                  </a:lnTo>
                  <a:lnTo>
                    <a:pt x="149" y="165"/>
                  </a:lnTo>
                  <a:lnTo>
                    <a:pt x="152" y="165"/>
                  </a:lnTo>
                  <a:lnTo>
                    <a:pt x="152" y="168"/>
                  </a:lnTo>
                  <a:lnTo>
                    <a:pt x="154" y="168"/>
                  </a:lnTo>
                  <a:lnTo>
                    <a:pt x="152" y="172"/>
                  </a:lnTo>
                  <a:lnTo>
                    <a:pt x="152" y="179"/>
                  </a:lnTo>
                  <a:lnTo>
                    <a:pt x="152" y="184"/>
                  </a:lnTo>
                  <a:lnTo>
                    <a:pt x="149" y="189"/>
                  </a:lnTo>
                  <a:lnTo>
                    <a:pt x="149" y="193"/>
                  </a:lnTo>
                  <a:lnTo>
                    <a:pt x="149" y="198"/>
                  </a:lnTo>
                  <a:lnTo>
                    <a:pt x="147" y="203"/>
                  </a:lnTo>
                  <a:lnTo>
                    <a:pt x="147" y="207"/>
                  </a:lnTo>
                  <a:lnTo>
                    <a:pt x="145" y="212"/>
                  </a:lnTo>
                  <a:lnTo>
                    <a:pt x="145" y="217"/>
                  </a:lnTo>
                  <a:lnTo>
                    <a:pt x="145" y="224"/>
                  </a:lnTo>
                  <a:lnTo>
                    <a:pt x="142" y="228"/>
                  </a:lnTo>
                  <a:lnTo>
                    <a:pt x="142" y="233"/>
                  </a:lnTo>
                  <a:lnTo>
                    <a:pt x="142" y="238"/>
                  </a:lnTo>
                  <a:lnTo>
                    <a:pt x="140" y="242"/>
                  </a:lnTo>
                  <a:lnTo>
                    <a:pt x="140" y="247"/>
                  </a:lnTo>
                  <a:lnTo>
                    <a:pt x="135" y="247"/>
                  </a:lnTo>
                  <a:lnTo>
                    <a:pt x="131" y="245"/>
                  </a:lnTo>
                  <a:lnTo>
                    <a:pt x="126" y="245"/>
                  </a:lnTo>
                  <a:lnTo>
                    <a:pt x="121" y="245"/>
                  </a:lnTo>
                  <a:lnTo>
                    <a:pt x="117" y="242"/>
                  </a:lnTo>
                  <a:lnTo>
                    <a:pt x="114" y="242"/>
                  </a:lnTo>
                  <a:lnTo>
                    <a:pt x="110" y="242"/>
                  </a:lnTo>
                  <a:lnTo>
                    <a:pt x="105" y="240"/>
                  </a:lnTo>
                  <a:lnTo>
                    <a:pt x="100" y="240"/>
                  </a:lnTo>
                  <a:lnTo>
                    <a:pt x="96" y="240"/>
                  </a:lnTo>
                  <a:lnTo>
                    <a:pt x="91" y="238"/>
                  </a:lnTo>
                  <a:lnTo>
                    <a:pt x="86" y="238"/>
                  </a:lnTo>
                  <a:lnTo>
                    <a:pt x="82" y="235"/>
                  </a:lnTo>
                  <a:lnTo>
                    <a:pt x="79" y="235"/>
                  </a:lnTo>
                  <a:lnTo>
                    <a:pt x="75" y="235"/>
                  </a:lnTo>
                  <a:lnTo>
                    <a:pt x="70" y="233"/>
                  </a:lnTo>
                  <a:lnTo>
                    <a:pt x="65" y="233"/>
                  </a:lnTo>
                  <a:lnTo>
                    <a:pt x="61" y="233"/>
                  </a:lnTo>
                  <a:lnTo>
                    <a:pt x="56" y="231"/>
                  </a:lnTo>
                  <a:lnTo>
                    <a:pt x="51" y="231"/>
                  </a:lnTo>
                  <a:lnTo>
                    <a:pt x="49" y="228"/>
                  </a:lnTo>
                  <a:lnTo>
                    <a:pt x="45" y="228"/>
                  </a:lnTo>
                  <a:lnTo>
                    <a:pt x="40" y="226"/>
                  </a:lnTo>
                  <a:lnTo>
                    <a:pt x="35" y="226"/>
                  </a:lnTo>
                  <a:lnTo>
                    <a:pt x="31" y="226"/>
                  </a:lnTo>
                  <a:lnTo>
                    <a:pt x="26" y="224"/>
                  </a:lnTo>
                  <a:lnTo>
                    <a:pt x="21" y="224"/>
                  </a:lnTo>
                  <a:lnTo>
                    <a:pt x="19" y="221"/>
                  </a:lnTo>
                  <a:lnTo>
                    <a:pt x="14" y="221"/>
                  </a:lnTo>
                  <a:lnTo>
                    <a:pt x="10" y="219"/>
                  </a:lnTo>
                  <a:lnTo>
                    <a:pt x="5" y="219"/>
                  </a:lnTo>
                  <a:lnTo>
                    <a:pt x="0" y="219"/>
                  </a:lnTo>
                  <a:lnTo>
                    <a:pt x="3" y="214"/>
                  </a:lnTo>
                  <a:lnTo>
                    <a:pt x="3" y="212"/>
                  </a:lnTo>
                  <a:lnTo>
                    <a:pt x="3" y="207"/>
                  </a:lnTo>
                  <a:lnTo>
                    <a:pt x="5" y="205"/>
                  </a:lnTo>
                  <a:lnTo>
                    <a:pt x="5" y="203"/>
                  </a:lnTo>
                  <a:lnTo>
                    <a:pt x="5" y="198"/>
                  </a:lnTo>
                  <a:lnTo>
                    <a:pt x="7" y="196"/>
                  </a:lnTo>
                  <a:lnTo>
                    <a:pt x="7" y="193"/>
                  </a:lnTo>
                  <a:lnTo>
                    <a:pt x="7" y="189"/>
                  </a:lnTo>
                  <a:lnTo>
                    <a:pt x="10" y="186"/>
                  </a:lnTo>
                  <a:lnTo>
                    <a:pt x="10" y="182"/>
                  </a:lnTo>
                  <a:lnTo>
                    <a:pt x="10" y="179"/>
                  </a:lnTo>
                  <a:lnTo>
                    <a:pt x="12" y="177"/>
                  </a:lnTo>
                  <a:lnTo>
                    <a:pt x="12" y="172"/>
                  </a:lnTo>
                  <a:lnTo>
                    <a:pt x="12" y="170"/>
                  </a:lnTo>
                  <a:lnTo>
                    <a:pt x="14" y="168"/>
                  </a:lnTo>
                  <a:lnTo>
                    <a:pt x="14" y="165"/>
                  </a:lnTo>
                  <a:lnTo>
                    <a:pt x="14" y="163"/>
                  </a:lnTo>
                  <a:lnTo>
                    <a:pt x="14" y="161"/>
                  </a:lnTo>
                  <a:lnTo>
                    <a:pt x="17" y="161"/>
                  </a:lnTo>
                  <a:lnTo>
                    <a:pt x="17" y="158"/>
                  </a:lnTo>
                  <a:lnTo>
                    <a:pt x="17" y="156"/>
                  </a:lnTo>
                  <a:lnTo>
                    <a:pt x="19" y="156"/>
                  </a:lnTo>
                  <a:lnTo>
                    <a:pt x="19" y="154"/>
                  </a:lnTo>
                  <a:lnTo>
                    <a:pt x="19" y="151"/>
                  </a:lnTo>
                  <a:lnTo>
                    <a:pt x="21" y="151"/>
                  </a:lnTo>
                  <a:lnTo>
                    <a:pt x="19" y="151"/>
                  </a:lnTo>
                  <a:lnTo>
                    <a:pt x="19" y="149"/>
                  </a:lnTo>
                  <a:lnTo>
                    <a:pt x="19" y="147"/>
                  </a:lnTo>
                  <a:lnTo>
                    <a:pt x="17" y="147"/>
                  </a:lnTo>
                  <a:lnTo>
                    <a:pt x="14" y="147"/>
                  </a:lnTo>
                  <a:lnTo>
                    <a:pt x="14" y="144"/>
                  </a:lnTo>
                  <a:lnTo>
                    <a:pt x="14" y="142"/>
                  </a:lnTo>
                  <a:lnTo>
                    <a:pt x="17" y="140"/>
                  </a:lnTo>
                  <a:lnTo>
                    <a:pt x="19" y="137"/>
                  </a:lnTo>
                  <a:lnTo>
                    <a:pt x="19" y="135"/>
                  </a:lnTo>
                  <a:lnTo>
                    <a:pt x="21" y="133"/>
                  </a:lnTo>
                  <a:lnTo>
                    <a:pt x="24" y="133"/>
                  </a:lnTo>
                  <a:lnTo>
                    <a:pt x="24" y="130"/>
                  </a:lnTo>
                  <a:lnTo>
                    <a:pt x="26" y="130"/>
                  </a:lnTo>
                  <a:lnTo>
                    <a:pt x="26" y="128"/>
                  </a:lnTo>
                  <a:lnTo>
                    <a:pt x="28" y="128"/>
                  </a:lnTo>
                  <a:lnTo>
                    <a:pt x="28" y="126"/>
                  </a:lnTo>
                  <a:lnTo>
                    <a:pt x="31" y="121"/>
                  </a:lnTo>
                  <a:lnTo>
                    <a:pt x="33" y="121"/>
                  </a:lnTo>
                  <a:lnTo>
                    <a:pt x="33" y="119"/>
                  </a:lnTo>
                  <a:lnTo>
                    <a:pt x="35" y="117"/>
                  </a:lnTo>
                  <a:lnTo>
                    <a:pt x="35" y="114"/>
                  </a:lnTo>
                  <a:lnTo>
                    <a:pt x="38" y="112"/>
                  </a:lnTo>
                  <a:lnTo>
                    <a:pt x="40" y="112"/>
                  </a:lnTo>
                  <a:lnTo>
                    <a:pt x="40" y="110"/>
                  </a:lnTo>
                  <a:lnTo>
                    <a:pt x="40" y="107"/>
                  </a:lnTo>
                  <a:lnTo>
                    <a:pt x="40" y="105"/>
                  </a:lnTo>
                  <a:lnTo>
                    <a:pt x="40" y="103"/>
                  </a:lnTo>
                  <a:lnTo>
                    <a:pt x="38" y="103"/>
                  </a:lnTo>
                  <a:lnTo>
                    <a:pt x="38" y="100"/>
                  </a:lnTo>
                  <a:lnTo>
                    <a:pt x="35" y="100"/>
                  </a:lnTo>
                  <a:lnTo>
                    <a:pt x="35" y="98"/>
                  </a:lnTo>
                  <a:lnTo>
                    <a:pt x="35" y="96"/>
                  </a:lnTo>
                  <a:lnTo>
                    <a:pt x="35" y="93"/>
                  </a:lnTo>
                  <a:lnTo>
                    <a:pt x="33" y="91"/>
                  </a:lnTo>
                  <a:lnTo>
                    <a:pt x="35" y="91"/>
                  </a:lnTo>
                  <a:lnTo>
                    <a:pt x="35" y="89"/>
                  </a:lnTo>
                  <a:lnTo>
                    <a:pt x="35" y="86"/>
                  </a:lnTo>
                  <a:lnTo>
                    <a:pt x="35" y="84"/>
                  </a:lnTo>
                  <a:lnTo>
                    <a:pt x="33" y="82"/>
                  </a:lnTo>
                  <a:lnTo>
                    <a:pt x="35" y="82"/>
                  </a:lnTo>
                  <a:lnTo>
                    <a:pt x="35" y="79"/>
                  </a:lnTo>
                  <a:lnTo>
                    <a:pt x="35" y="75"/>
                  </a:lnTo>
                  <a:lnTo>
                    <a:pt x="38" y="70"/>
                  </a:lnTo>
                  <a:lnTo>
                    <a:pt x="38" y="65"/>
                  </a:lnTo>
                  <a:lnTo>
                    <a:pt x="40" y="61"/>
                  </a:lnTo>
                  <a:lnTo>
                    <a:pt x="40" y="54"/>
                  </a:lnTo>
                  <a:lnTo>
                    <a:pt x="42" y="49"/>
                  </a:lnTo>
                  <a:lnTo>
                    <a:pt x="42" y="44"/>
                  </a:lnTo>
                  <a:lnTo>
                    <a:pt x="45" y="40"/>
                  </a:lnTo>
                  <a:lnTo>
                    <a:pt x="45" y="35"/>
                  </a:lnTo>
                  <a:lnTo>
                    <a:pt x="47" y="30"/>
                  </a:lnTo>
                  <a:lnTo>
                    <a:pt x="47" y="26"/>
                  </a:lnTo>
                  <a:lnTo>
                    <a:pt x="49" y="21"/>
                  </a:lnTo>
                  <a:lnTo>
                    <a:pt x="49" y="16"/>
                  </a:lnTo>
                  <a:lnTo>
                    <a:pt x="51" y="9"/>
                  </a:lnTo>
                  <a:lnTo>
                    <a:pt x="51" y="5"/>
                  </a:lnTo>
                  <a:lnTo>
                    <a:pt x="54" y="0"/>
                  </a:lnTo>
                  <a:lnTo>
                    <a:pt x="56" y="0"/>
                  </a:lnTo>
                  <a:lnTo>
                    <a:pt x="61" y="2"/>
                  </a:lnTo>
                  <a:lnTo>
                    <a:pt x="65" y="2"/>
                  </a:lnTo>
                  <a:lnTo>
                    <a:pt x="70" y="5"/>
                  </a:lnTo>
                  <a:lnTo>
                    <a:pt x="75" y="5"/>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774">
              <a:extLst>
                <a:ext uri="{FF2B5EF4-FFF2-40B4-BE49-F238E27FC236}">
                  <a16:creationId xmlns:a16="http://schemas.microsoft.com/office/drawing/2014/main" id="{1BA45B08-441F-4D85-B274-11850B2E3D5D}"/>
                </a:ext>
              </a:extLst>
            </p:cNvPr>
            <p:cNvSpPr>
              <a:spLocks noEditPoints="1"/>
            </p:cNvSpPr>
            <p:nvPr/>
          </p:nvSpPr>
          <p:spPr bwMode="auto">
            <a:xfrm>
              <a:off x="5588794" y="4098926"/>
              <a:ext cx="273050" cy="203200"/>
            </a:xfrm>
            <a:custGeom>
              <a:avLst/>
              <a:gdLst>
                <a:gd name="T0" fmla="*/ 4 w 172"/>
                <a:gd name="T1" fmla="*/ 69 h 128"/>
                <a:gd name="T2" fmla="*/ 39 w 172"/>
                <a:gd name="T3" fmla="*/ 55 h 128"/>
                <a:gd name="T4" fmla="*/ 46 w 172"/>
                <a:gd name="T5" fmla="*/ 51 h 128"/>
                <a:gd name="T6" fmla="*/ 44 w 172"/>
                <a:gd name="T7" fmla="*/ 51 h 128"/>
                <a:gd name="T8" fmla="*/ 46 w 172"/>
                <a:gd name="T9" fmla="*/ 44 h 128"/>
                <a:gd name="T10" fmla="*/ 53 w 172"/>
                <a:gd name="T11" fmla="*/ 18 h 128"/>
                <a:gd name="T12" fmla="*/ 51 w 172"/>
                <a:gd name="T13" fmla="*/ 30 h 128"/>
                <a:gd name="T14" fmla="*/ 48 w 172"/>
                <a:gd name="T15" fmla="*/ 32 h 128"/>
                <a:gd name="T16" fmla="*/ 53 w 172"/>
                <a:gd name="T17" fmla="*/ 18 h 128"/>
                <a:gd name="T18" fmla="*/ 53 w 172"/>
                <a:gd name="T19" fmla="*/ 14 h 128"/>
                <a:gd name="T20" fmla="*/ 46 w 172"/>
                <a:gd name="T21" fmla="*/ 16 h 128"/>
                <a:gd name="T22" fmla="*/ 46 w 172"/>
                <a:gd name="T23" fmla="*/ 11 h 128"/>
                <a:gd name="T24" fmla="*/ 46 w 172"/>
                <a:gd name="T25" fmla="*/ 9 h 128"/>
                <a:gd name="T26" fmla="*/ 53 w 172"/>
                <a:gd name="T27" fmla="*/ 9 h 128"/>
                <a:gd name="T28" fmla="*/ 67 w 172"/>
                <a:gd name="T29" fmla="*/ 4 h 128"/>
                <a:gd name="T30" fmla="*/ 102 w 172"/>
                <a:gd name="T31" fmla="*/ 14 h 128"/>
                <a:gd name="T32" fmla="*/ 137 w 172"/>
                <a:gd name="T33" fmla="*/ 23 h 128"/>
                <a:gd name="T34" fmla="*/ 172 w 172"/>
                <a:gd name="T35" fmla="*/ 32 h 128"/>
                <a:gd name="T36" fmla="*/ 163 w 172"/>
                <a:gd name="T37" fmla="*/ 72 h 128"/>
                <a:gd name="T38" fmla="*/ 153 w 172"/>
                <a:gd name="T39" fmla="*/ 111 h 128"/>
                <a:gd name="T40" fmla="*/ 153 w 172"/>
                <a:gd name="T41" fmla="*/ 125 h 128"/>
                <a:gd name="T42" fmla="*/ 132 w 172"/>
                <a:gd name="T43" fmla="*/ 121 h 128"/>
                <a:gd name="T44" fmla="*/ 111 w 172"/>
                <a:gd name="T45" fmla="*/ 116 h 128"/>
                <a:gd name="T46" fmla="*/ 86 w 172"/>
                <a:gd name="T47" fmla="*/ 114 h 128"/>
                <a:gd name="T48" fmla="*/ 65 w 172"/>
                <a:gd name="T49" fmla="*/ 114 h 128"/>
                <a:gd name="T50" fmla="*/ 46 w 172"/>
                <a:gd name="T51" fmla="*/ 107 h 128"/>
                <a:gd name="T52" fmla="*/ 28 w 172"/>
                <a:gd name="T53" fmla="*/ 104 h 128"/>
                <a:gd name="T54" fmla="*/ 25 w 172"/>
                <a:gd name="T55" fmla="*/ 95 h 128"/>
                <a:gd name="T56" fmla="*/ 18 w 172"/>
                <a:gd name="T57" fmla="*/ 83 h 128"/>
                <a:gd name="T58" fmla="*/ 4 w 172"/>
                <a:gd name="T59" fmla="*/ 74 h 128"/>
                <a:gd name="T60" fmla="*/ 4 w 172"/>
                <a:gd name="T61" fmla="*/ 65 h 128"/>
                <a:gd name="T62" fmla="*/ 7 w 172"/>
                <a:gd name="T63" fmla="*/ 67 h 128"/>
                <a:gd name="T64" fmla="*/ 9 w 172"/>
                <a:gd name="T65" fmla="*/ 60 h 128"/>
                <a:gd name="T66" fmla="*/ 7 w 172"/>
                <a:gd name="T67" fmla="*/ 53 h 128"/>
                <a:gd name="T68" fmla="*/ 14 w 172"/>
                <a:gd name="T69" fmla="*/ 55 h 128"/>
                <a:gd name="T70" fmla="*/ 7 w 172"/>
                <a:gd name="T71" fmla="*/ 51 h 128"/>
                <a:gd name="T72" fmla="*/ 9 w 172"/>
                <a:gd name="T73" fmla="*/ 32 h 128"/>
                <a:gd name="T74" fmla="*/ 7 w 172"/>
                <a:gd name="T75" fmla="*/ 14 h 128"/>
                <a:gd name="T76" fmla="*/ 14 w 172"/>
                <a:gd name="T77" fmla="*/ 9 h 128"/>
                <a:gd name="T78" fmla="*/ 25 w 172"/>
                <a:gd name="T79" fmla="*/ 18 h 128"/>
                <a:gd name="T80" fmla="*/ 37 w 172"/>
                <a:gd name="T81" fmla="*/ 23 h 128"/>
                <a:gd name="T82" fmla="*/ 44 w 172"/>
                <a:gd name="T83" fmla="*/ 27 h 128"/>
                <a:gd name="T84" fmla="*/ 46 w 172"/>
                <a:gd name="T85" fmla="*/ 34 h 128"/>
                <a:gd name="T86" fmla="*/ 41 w 172"/>
                <a:gd name="T87" fmla="*/ 37 h 128"/>
                <a:gd name="T88" fmla="*/ 32 w 172"/>
                <a:gd name="T89" fmla="*/ 46 h 128"/>
                <a:gd name="T90" fmla="*/ 32 w 172"/>
                <a:gd name="T91" fmla="*/ 46 h 128"/>
                <a:gd name="T92" fmla="*/ 46 w 172"/>
                <a:gd name="T93" fmla="*/ 37 h 128"/>
                <a:gd name="T94" fmla="*/ 48 w 172"/>
                <a:gd name="T95" fmla="*/ 39 h 128"/>
                <a:gd name="T96" fmla="*/ 44 w 172"/>
                <a:gd name="T97" fmla="*/ 41 h 128"/>
                <a:gd name="T98" fmla="*/ 44 w 172"/>
                <a:gd name="T99" fmla="*/ 48 h 128"/>
                <a:gd name="T100" fmla="*/ 41 w 172"/>
                <a:gd name="T101" fmla="*/ 48 h 128"/>
                <a:gd name="T102" fmla="*/ 39 w 172"/>
                <a:gd name="T103" fmla="*/ 51 h 128"/>
                <a:gd name="T104" fmla="*/ 32 w 172"/>
                <a:gd name="T105" fmla="*/ 55 h 128"/>
                <a:gd name="T106" fmla="*/ 32 w 172"/>
                <a:gd name="T107" fmla="*/ 58 h 128"/>
                <a:gd name="T108" fmla="*/ 44 w 172"/>
                <a:gd name="T109" fmla="*/ 55 h 128"/>
                <a:gd name="T110" fmla="*/ 48 w 172"/>
                <a:gd name="T111" fmla="*/ 46 h 128"/>
                <a:gd name="T112" fmla="*/ 53 w 172"/>
                <a:gd name="T113" fmla="*/ 37 h 128"/>
                <a:gd name="T114" fmla="*/ 55 w 172"/>
                <a:gd name="T115" fmla="*/ 25 h 128"/>
                <a:gd name="T116" fmla="*/ 51 w 172"/>
                <a:gd name="T117" fmla="*/ 25 h 128"/>
                <a:gd name="T118" fmla="*/ 53 w 172"/>
                <a:gd name="T119" fmla="*/ 18 h 128"/>
                <a:gd name="T120" fmla="*/ 55 w 172"/>
                <a:gd name="T121" fmla="*/ 16 h 128"/>
                <a:gd name="T122" fmla="*/ 55 w 172"/>
                <a:gd name="T123" fmla="*/ 9 h 128"/>
                <a:gd name="T124" fmla="*/ 53 w 172"/>
                <a:gd name="T125"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28">
                  <a:moveTo>
                    <a:pt x="16" y="83"/>
                  </a:moveTo>
                  <a:lnTo>
                    <a:pt x="14" y="83"/>
                  </a:lnTo>
                  <a:lnTo>
                    <a:pt x="14" y="81"/>
                  </a:lnTo>
                  <a:lnTo>
                    <a:pt x="16" y="81"/>
                  </a:lnTo>
                  <a:lnTo>
                    <a:pt x="16" y="83"/>
                  </a:lnTo>
                  <a:close/>
                  <a:moveTo>
                    <a:pt x="4" y="69"/>
                  </a:moveTo>
                  <a:lnTo>
                    <a:pt x="4" y="72"/>
                  </a:lnTo>
                  <a:lnTo>
                    <a:pt x="4" y="69"/>
                  </a:lnTo>
                  <a:lnTo>
                    <a:pt x="4" y="67"/>
                  </a:lnTo>
                  <a:lnTo>
                    <a:pt x="4" y="69"/>
                  </a:lnTo>
                  <a:lnTo>
                    <a:pt x="7" y="69"/>
                  </a:lnTo>
                  <a:lnTo>
                    <a:pt x="4" y="69"/>
                  </a:lnTo>
                  <a:close/>
                  <a:moveTo>
                    <a:pt x="39" y="58"/>
                  </a:moveTo>
                  <a:lnTo>
                    <a:pt x="37" y="58"/>
                  </a:lnTo>
                  <a:lnTo>
                    <a:pt x="37" y="55"/>
                  </a:lnTo>
                  <a:lnTo>
                    <a:pt x="39" y="55"/>
                  </a:lnTo>
                  <a:lnTo>
                    <a:pt x="39" y="58"/>
                  </a:lnTo>
                  <a:close/>
                  <a:moveTo>
                    <a:pt x="35" y="55"/>
                  </a:moveTo>
                  <a:lnTo>
                    <a:pt x="35" y="53"/>
                  </a:lnTo>
                  <a:lnTo>
                    <a:pt x="35" y="51"/>
                  </a:lnTo>
                  <a:lnTo>
                    <a:pt x="37" y="51"/>
                  </a:lnTo>
                  <a:lnTo>
                    <a:pt x="37" y="53"/>
                  </a:lnTo>
                  <a:lnTo>
                    <a:pt x="35" y="55"/>
                  </a:lnTo>
                  <a:close/>
                  <a:moveTo>
                    <a:pt x="46" y="51"/>
                  </a:moveTo>
                  <a:lnTo>
                    <a:pt x="48" y="51"/>
                  </a:lnTo>
                  <a:lnTo>
                    <a:pt x="46" y="51"/>
                  </a:lnTo>
                  <a:lnTo>
                    <a:pt x="46" y="53"/>
                  </a:lnTo>
                  <a:lnTo>
                    <a:pt x="44" y="53"/>
                  </a:lnTo>
                  <a:lnTo>
                    <a:pt x="46" y="51"/>
                  </a:lnTo>
                  <a:lnTo>
                    <a:pt x="44" y="51"/>
                  </a:lnTo>
                  <a:lnTo>
                    <a:pt x="44" y="53"/>
                  </a:lnTo>
                  <a:lnTo>
                    <a:pt x="44" y="51"/>
                  </a:lnTo>
                  <a:lnTo>
                    <a:pt x="46" y="48"/>
                  </a:lnTo>
                  <a:lnTo>
                    <a:pt x="46" y="51"/>
                  </a:lnTo>
                  <a:close/>
                  <a:moveTo>
                    <a:pt x="46" y="44"/>
                  </a:moveTo>
                  <a:lnTo>
                    <a:pt x="46" y="41"/>
                  </a:lnTo>
                  <a:lnTo>
                    <a:pt x="46" y="39"/>
                  </a:lnTo>
                  <a:lnTo>
                    <a:pt x="48" y="41"/>
                  </a:lnTo>
                  <a:lnTo>
                    <a:pt x="48" y="44"/>
                  </a:lnTo>
                  <a:lnTo>
                    <a:pt x="46" y="44"/>
                  </a:lnTo>
                  <a:close/>
                  <a:moveTo>
                    <a:pt x="48" y="30"/>
                  </a:moveTo>
                  <a:lnTo>
                    <a:pt x="46" y="30"/>
                  </a:lnTo>
                  <a:lnTo>
                    <a:pt x="46" y="27"/>
                  </a:lnTo>
                  <a:lnTo>
                    <a:pt x="46" y="30"/>
                  </a:lnTo>
                  <a:lnTo>
                    <a:pt x="46" y="27"/>
                  </a:lnTo>
                  <a:lnTo>
                    <a:pt x="48" y="27"/>
                  </a:lnTo>
                  <a:lnTo>
                    <a:pt x="48" y="30"/>
                  </a:lnTo>
                  <a:close/>
                  <a:moveTo>
                    <a:pt x="53" y="18"/>
                  </a:moveTo>
                  <a:lnTo>
                    <a:pt x="53" y="20"/>
                  </a:lnTo>
                  <a:lnTo>
                    <a:pt x="53" y="23"/>
                  </a:lnTo>
                  <a:lnTo>
                    <a:pt x="51" y="23"/>
                  </a:lnTo>
                  <a:lnTo>
                    <a:pt x="48" y="23"/>
                  </a:lnTo>
                  <a:lnTo>
                    <a:pt x="51" y="23"/>
                  </a:lnTo>
                  <a:lnTo>
                    <a:pt x="51" y="25"/>
                  </a:lnTo>
                  <a:lnTo>
                    <a:pt x="51" y="27"/>
                  </a:lnTo>
                  <a:lnTo>
                    <a:pt x="51" y="30"/>
                  </a:lnTo>
                  <a:lnTo>
                    <a:pt x="51" y="32"/>
                  </a:lnTo>
                  <a:lnTo>
                    <a:pt x="51" y="30"/>
                  </a:lnTo>
                  <a:lnTo>
                    <a:pt x="53" y="30"/>
                  </a:lnTo>
                  <a:lnTo>
                    <a:pt x="53" y="32"/>
                  </a:lnTo>
                  <a:lnTo>
                    <a:pt x="53" y="34"/>
                  </a:lnTo>
                  <a:lnTo>
                    <a:pt x="51" y="34"/>
                  </a:lnTo>
                  <a:lnTo>
                    <a:pt x="51" y="32"/>
                  </a:lnTo>
                  <a:lnTo>
                    <a:pt x="48" y="32"/>
                  </a:lnTo>
                  <a:lnTo>
                    <a:pt x="48" y="30"/>
                  </a:lnTo>
                  <a:lnTo>
                    <a:pt x="51" y="27"/>
                  </a:lnTo>
                  <a:lnTo>
                    <a:pt x="51" y="25"/>
                  </a:lnTo>
                  <a:lnTo>
                    <a:pt x="48" y="25"/>
                  </a:lnTo>
                  <a:lnTo>
                    <a:pt x="48" y="23"/>
                  </a:lnTo>
                  <a:lnTo>
                    <a:pt x="51" y="20"/>
                  </a:lnTo>
                  <a:lnTo>
                    <a:pt x="51" y="18"/>
                  </a:lnTo>
                  <a:lnTo>
                    <a:pt x="53" y="18"/>
                  </a:lnTo>
                  <a:close/>
                  <a:moveTo>
                    <a:pt x="48" y="16"/>
                  </a:moveTo>
                  <a:lnTo>
                    <a:pt x="46" y="16"/>
                  </a:lnTo>
                  <a:lnTo>
                    <a:pt x="46" y="14"/>
                  </a:lnTo>
                  <a:lnTo>
                    <a:pt x="48" y="14"/>
                  </a:lnTo>
                  <a:lnTo>
                    <a:pt x="48" y="11"/>
                  </a:lnTo>
                  <a:lnTo>
                    <a:pt x="48" y="14"/>
                  </a:lnTo>
                  <a:lnTo>
                    <a:pt x="48" y="16"/>
                  </a:lnTo>
                  <a:close/>
                  <a:moveTo>
                    <a:pt x="53" y="14"/>
                  </a:moveTo>
                  <a:lnTo>
                    <a:pt x="51" y="14"/>
                  </a:lnTo>
                  <a:lnTo>
                    <a:pt x="51" y="11"/>
                  </a:lnTo>
                  <a:lnTo>
                    <a:pt x="53" y="11"/>
                  </a:lnTo>
                  <a:lnTo>
                    <a:pt x="53" y="14"/>
                  </a:lnTo>
                  <a:close/>
                  <a:moveTo>
                    <a:pt x="46" y="14"/>
                  </a:moveTo>
                  <a:lnTo>
                    <a:pt x="44" y="14"/>
                  </a:lnTo>
                  <a:lnTo>
                    <a:pt x="46" y="14"/>
                  </a:lnTo>
                  <a:lnTo>
                    <a:pt x="46" y="16"/>
                  </a:lnTo>
                  <a:lnTo>
                    <a:pt x="46" y="14"/>
                  </a:lnTo>
                  <a:lnTo>
                    <a:pt x="44" y="14"/>
                  </a:lnTo>
                  <a:lnTo>
                    <a:pt x="41" y="14"/>
                  </a:lnTo>
                  <a:lnTo>
                    <a:pt x="41" y="11"/>
                  </a:lnTo>
                  <a:lnTo>
                    <a:pt x="41" y="9"/>
                  </a:lnTo>
                  <a:lnTo>
                    <a:pt x="44" y="9"/>
                  </a:lnTo>
                  <a:lnTo>
                    <a:pt x="44" y="11"/>
                  </a:lnTo>
                  <a:lnTo>
                    <a:pt x="46" y="11"/>
                  </a:lnTo>
                  <a:lnTo>
                    <a:pt x="46" y="14"/>
                  </a:lnTo>
                  <a:close/>
                  <a:moveTo>
                    <a:pt x="51" y="9"/>
                  </a:moveTo>
                  <a:lnTo>
                    <a:pt x="53" y="9"/>
                  </a:lnTo>
                  <a:lnTo>
                    <a:pt x="51" y="11"/>
                  </a:lnTo>
                  <a:lnTo>
                    <a:pt x="48" y="9"/>
                  </a:lnTo>
                  <a:lnTo>
                    <a:pt x="48" y="11"/>
                  </a:lnTo>
                  <a:lnTo>
                    <a:pt x="48" y="9"/>
                  </a:lnTo>
                  <a:lnTo>
                    <a:pt x="46" y="9"/>
                  </a:lnTo>
                  <a:lnTo>
                    <a:pt x="46" y="11"/>
                  </a:lnTo>
                  <a:lnTo>
                    <a:pt x="46" y="9"/>
                  </a:lnTo>
                  <a:lnTo>
                    <a:pt x="48" y="9"/>
                  </a:lnTo>
                  <a:lnTo>
                    <a:pt x="48" y="7"/>
                  </a:lnTo>
                  <a:lnTo>
                    <a:pt x="51" y="9"/>
                  </a:lnTo>
                  <a:close/>
                  <a:moveTo>
                    <a:pt x="55" y="11"/>
                  </a:moveTo>
                  <a:lnTo>
                    <a:pt x="53" y="11"/>
                  </a:lnTo>
                  <a:lnTo>
                    <a:pt x="53" y="9"/>
                  </a:lnTo>
                  <a:lnTo>
                    <a:pt x="53" y="7"/>
                  </a:lnTo>
                  <a:lnTo>
                    <a:pt x="53" y="9"/>
                  </a:lnTo>
                  <a:lnTo>
                    <a:pt x="55" y="9"/>
                  </a:lnTo>
                  <a:lnTo>
                    <a:pt x="55" y="11"/>
                  </a:lnTo>
                  <a:close/>
                  <a:moveTo>
                    <a:pt x="55" y="0"/>
                  </a:moveTo>
                  <a:lnTo>
                    <a:pt x="58" y="0"/>
                  </a:lnTo>
                  <a:lnTo>
                    <a:pt x="62" y="2"/>
                  </a:lnTo>
                  <a:lnTo>
                    <a:pt x="67" y="4"/>
                  </a:lnTo>
                  <a:lnTo>
                    <a:pt x="69" y="4"/>
                  </a:lnTo>
                  <a:lnTo>
                    <a:pt x="74" y="7"/>
                  </a:lnTo>
                  <a:lnTo>
                    <a:pt x="79" y="7"/>
                  </a:lnTo>
                  <a:lnTo>
                    <a:pt x="83" y="9"/>
                  </a:lnTo>
                  <a:lnTo>
                    <a:pt x="88" y="9"/>
                  </a:lnTo>
                  <a:lnTo>
                    <a:pt x="93" y="11"/>
                  </a:lnTo>
                  <a:lnTo>
                    <a:pt x="97" y="14"/>
                  </a:lnTo>
                  <a:lnTo>
                    <a:pt x="102" y="14"/>
                  </a:lnTo>
                  <a:lnTo>
                    <a:pt x="107" y="16"/>
                  </a:lnTo>
                  <a:lnTo>
                    <a:pt x="111" y="16"/>
                  </a:lnTo>
                  <a:lnTo>
                    <a:pt x="116" y="18"/>
                  </a:lnTo>
                  <a:lnTo>
                    <a:pt x="121" y="18"/>
                  </a:lnTo>
                  <a:lnTo>
                    <a:pt x="125" y="20"/>
                  </a:lnTo>
                  <a:lnTo>
                    <a:pt x="128" y="20"/>
                  </a:lnTo>
                  <a:lnTo>
                    <a:pt x="132" y="23"/>
                  </a:lnTo>
                  <a:lnTo>
                    <a:pt x="137" y="23"/>
                  </a:lnTo>
                  <a:lnTo>
                    <a:pt x="142" y="25"/>
                  </a:lnTo>
                  <a:lnTo>
                    <a:pt x="146" y="25"/>
                  </a:lnTo>
                  <a:lnTo>
                    <a:pt x="151" y="27"/>
                  </a:lnTo>
                  <a:lnTo>
                    <a:pt x="156" y="27"/>
                  </a:lnTo>
                  <a:lnTo>
                    <a:pt x="160" y="30"/>
                  </a:lnTo>
                  <a:lnTo>
                    <a:pt x="165" y="30"/>
                  </a:lnTo>
                  <a:lnTo>
                    <a:pt x="169" y="32"/>
                  </a:lnTo>
                  <a:lnTo>
                    <a:pt x="172" y="32"/>
                  </a:lnTo>
                  <a:lnTo>
                    <a:pt x="169" y="37"/>
                  </a:lnTo>
                  <a:lnTo>
                    <a:pt x="169" y="41"/>
                  </a:lnTo>
                  <a:lnTo>
                    <a:pt x="167" y="48"/>
                  </a:lnTo>
                  <a:lnTo>
                    <a:pt x="167" y="53"/>
                  </a:lnTo>
                  <a:lnTo>
                    <a:pt x="165" y="58"/>
                  </a:lnTo>
                  <a:lnTo>
                    <a:pt x="165" y="62"/>
                  </a:lnTo>
                  <a:lnTo>
                    <a:pt x="163" y="67"/>
                  </a:lnTo>
                  <a:lnTo>
                    <a:pt x="163" y="72"/>
                  </a:lnTo>
                  <a:lnTo>
                    <a:pt x="160" y="76"/>
                  </a:lnTo>
                  <a:lnTo>
                    <a:pt x="160" y="81"/>
                  </a:lnTo>
                  <a:lnTo>
                    <a:pt x="158" y="86"/>
                  </a:lnTo>
                  <a:lnTo>
                    <a:pt x="158" y="93"/>
                  </a:lnTo>
                  <a:lnTo>
                    <a:pt x="156" y="97"/>
                  </a:lnTo>
                  <a:lnTo>
                    <a:pt x="156" y="102"/>
                  </a:lnTo>
                  <a:lnTo>
                    <a:pt x="153" y="107"/>
                  </a:lnTo>
                  <a:lnTo>
                    <a:pt x="153" y="111"/>
                  </a:lnTo>
                  <a:lnTo>
                    <a:pt x="153" y="114"/>
                  </a:lnTo>
                  <a:lnTo>
                    <a:pt x="151" y="114"/>
                  </a:lnTo>
                  <a:lnTo>
                    <a:pt x="153" y="116"/>
                  </a:lnTo>
                  <a:lnTo>
                    <a:pt x="153" y="118"/>
                  </a:lnTo>
                  <a:lnTo>
                    <a:pt x="153" y="121"/>
                  </a:lnTo>
                  <a:lnTo>
                    <a:pt x="153" y="123"/>
                  </a:lnTo>
                  <a:lnTo>
                    <a:pt x="151" y="123"/>
                  </a:lnTo>
                  <a:lnTo>
                    <a:pt x="153" y="125"/>
                  </a:lnTo>
                  <a:lnTo>
                    <a:pt x="153" y="128"/>
                  </a:lnTo>
                  <a:lnTo>
                    <a:pt x="149" y="125"/>
                  </a:lnTo>
                  <a:lnTo>
                    <a:pt x="146" y="125"/>
                  </a:lnTo>
                  <a:lnTo>
                    <a:pt x="144" y="125"/>
                  </a:lnTo>
                  <a:lnTo>
                    <a:pt x="142" y="123"/>
                  </a:lnTo>
                  <a:lnTo>
                    <a:pt x="139" y="123"/>
                  </a:lnTo>
                  <a:lnTo>
                    <a:pt x="135" y="123"/>
                  </a:lnTo>
                  <a:lnTo>
                    <a:pt x="132" y="121"/>
                  </a:lnTo>
                  <a:lnTo>
                    <a:pt x="130" y="121"/>
                  </a:lnTo>
                  <a:lnTo>
                    <a:pt x="128" y="121"/>
                  </a:lnTo>
                  <a:lnTo>
                    <a:pt x="125" y="121"/>
                  </a:lnTo>
                  <a:lnTo>
                    <a:pt x="121" y="118"/>
                  </a:lnTo>
                  <a:lnTo>
                    <a:pt x="118" y="118"/>
                  </a:lnTo>
                  <a:lnTo>
                    <a:pt x="116" y="118"/>
                  </a:lnTo>
                  <a:lnTo>
                    <a:pt x="114" y="116"/>
                  </a:lnTo>
                  <a:lnTo>
                    <a:pt x="111" y="116"/>
                  </a:lnTo>
                  <a:lnTo>
                    <a:pt x="107" y="116"/>
                  </a:lnTo>
                  <a:lnTo>
                    <a:pt x="104" y="116"/>
                  </a:lnTo>
                  <a:lnTo>
                    <a:pt x="100" y="114"/>
                  </a:lnTo>
                  <a:lnTo>
                    <a:pt x="97" y="114"/>
                  </a:lnTo>
                  <a:lnTo>
                    <a:pt x="95" y="114"/>
                  </a:lnTo>
                  <a:lnTo>
                    <a:pt x="93" y="114"/>
                  </a:lnTo>
                  <a:lnTo>
                    <a:pt x="90" y="116"/>
                  </a:lnTo>
                  <a:lnTo>
                    <a:pt x="86" y="114"/>
                  </a:lnTo>
                  <a:lnTo>
                    <a:pt x="81" y="114"/>
                  </a:lnTo>
                  <a:lnTo>
                    <a:pt x="79" y="116"/>
                  </a:lnTo>
                  <a:lnTo>
                    <a:pt x="76" y="116"/>
                  </a:lnTo>
                  <a:lnTo>
                    <a:pt x="74" y="116"/>
                  </a:lnTo>
                  <a:lnTo>
                    <a:pt x="72" y="116"/>
                  </a:lnTo>
                  <a:lnTo>
                    <a:pt x="69" y="114"/>
                  </a:lnTo>
                  <a:lnTo>
                    <a:pt x="67" y="114"/>
                  </a:lnTo>
                  <a:lnTo>
                    <a:pt x="65" y="114"/>
                  </a:lnTo>
                  <a:lnTo>
                    <a:pt x="62" y="114"/>
                  </a:lnTo>
                  <a:lnTo>
                    <a:pt x="60" y="114"/>
                  </a:lnTo>
                  <a:lnTo>
                    <a:pt x="58" y="114"/>
                  </a:lnTo>
                  <a:lnTo>
                    <a:pt x="55" y="114"/>
                  </a:lnTo>
                  <a:lnTo>
                    <a:pt x="55" y="111"/>
                  </a:lnTo>
                  <a:lnTo>
                    <a:pt x="55" y="109"/>
                  </a:lnTo>
                  <a:lnTo>
                    <a:pt x="48" y="107"/>
                  </a:lnTo>
                  <a:lnTo>
                    <a:pt x="46" y="107"/>
                  </a:lnTo>
                  <a:lnTo>
                    <a:pt x="44" y="107"/>
                  </a:lnTo>
                  <a:lnTo>
                    <a:pt x="41" y="107"/>
                  </a:lnTo>
                  <a:lnTo>
                    <a:pt x="39" y="107"/>
                  </a:lnTo>
                  <a:lnTo>
                    <a:pt x="35" y="107"/>
                  </a:lnTo>
                  <a:lnTo>
                    <a:pt x="32" y="109"/>
                  </a:lnTo>
                  <a:lnTo>
                    <a:pt x="30" y="107"/>
                  </a:lnTo>
                  <a:lnTo>
                    <a:pt x="28" y="107"/>
                  </a:lnTo>
                  <a:lnTo>
                    <a:pt x="28" y="104"/>
                  </a:lnTo>
                  <a:lnTo>
                    <a:pt x="25" y="104"/>
                  </a:lnTo>
                  <a:lnTo>
                    <a:pt x="23" y="102"/>
                  </a:lnTo>
                  <a:lnTo>
                    <a:pt x="23" y="100"/>
                  </a:lnTo>
                  <a:lnTo>
                    <a:pt x="23" y="97"/>
                  </a:lnTo>
                  <a:lnTo>
                    <a:pt x="25" y="97"/>
                  </a:lnTo>
                  <a:lnTo>
                    <a:pt x="23" y="97"/>
                  </a:lnTo>
                  <a:lnTo>
                    <a:pt x="23" y="95"/>
                  </a:lnTo>
                  <a:lnTo>
                    <a:pt x="25" y="95"/>
                  </a:lnTo>
                  <a:lnTo>
                    <a:pt x="25" y="93"/>
                  </a:lnTo>
                  <a:lnTo>
                    <a:pt x="25" y="90"/>
                  </a:lnTo>
                  <a:lnTo>
                    <a:pt x="25" y="88"/>
                  </a:lnTo>
                  <a:lnTo>
                    <a:pt x="23" y="88"/>
                  </a:lnTo>
                  <a:lnTo>
                    <a:pt x="23" y="86"/>
                  </a:lnTo>
                  <a:lnTo>
                    <a:pt x="21" y="86"/>
                  </a:lnTo>
                  <a:lnTo>
                    <a:pt x="21" y="83"/>
                  </a:lnTo>
                  <a:lnTo>
                    <a:pt x="18" y="83"/>
                  </a:lnTo>
                  <a:lnTo>
                    <a:pt x="16" y="83"/>
                  </a:lnTo>
                  <a:lnTo>
                    <a:pt x="14" y="81"/>
                  </a:lnTo>
                  <a:lnTo>
                    <a:pt x="14" y="79"/>
                  </a:lnTo>
                  <a:lnTo>
                    <a:pt x="11" y="79"/>
                  </a:lnTo>
                  <a:lnTo>
                    <a:pt x="9" y="76"/>
                  </a:lnTo>
                  <a:lnTo>
                    <a:pt x="7" y="76"/>
                  </a:lnTo>
                  <a:lnTo>
                    <a:pt x="4" y="76"/>
                  </a:lnTo>
                  <a:lnTo>
                    <a:pt x="4" y="74"/>
                  </a:lnTo>
                  <a:lnTo>
                    <a:pt x="2" y="74"/>
                  </a:lnTo>
                  <a:lnTo>
                    <a:pt x="0" y="74"/>
                  </a:lnTo>
                  <a:lnTo>
                    <a:pt x="2" y="74"/>
                  </a:lnTo>
                  <a:lnTo>
                    <a:pt x="2" y="72"/>
                  </a:lnTo>
                  <a:lnTo>
                    <a:pt x="2" y="69"/>
                  </a:lnTo>
                  <a:lnTo>
                    <a:pt x="4" y="65"/>
                  </a:lnTo>
                  <a:lnTo>
                    <a:pt x="4" y="62"/>
                  </a:lnTo>
                  <a:lnTo>
                    <a:pt x="4" y="65"/>
                  </a:lnTo>
                  <a:lnTo>
                    <a:pt x="4" y="67"/>
                  </a:lnTo>
                  <a:lnTo>
                    <a:pt x="4" y="69"/>
                  </a:lnTo>
                  <a:lnTo>
                    <a:pt x="4" y="72"/>
                  </a:lnTo>
                  <a:lnTo>
                    <a:pt x="4" y="69"/>
                  </a:lnTo>
                  <a:lnTo>
                    <a:pt x="7" y="69"/>
                  </a:lnTo>
                  <a:lnTo>
                    <a:pt x="7" y="72"/>
                  </a:lnTo>
                  <a:lnTo>
                    <a:pt x="7" y="69"/>
                  </a:lnTo>
                  <a:lnTo>
                    <a:pt x="7" y="67"/>
                  </a:lnTo>
                  <a:lnTo>
                    <a:pt x="7" y="65"/>
                  </a:lnTo>
                  <a:lnTo>
                    <a:pt x="9" y="65"/>
                  </a:lnTo>
                  <a:lnTo>
                    <a:pt x="9" y="62"/>
                  </a:lnTo>
                  <a:lnTo>
                    <a:pt x="11" y="62"/>
                  </a:lnTo>
                  <a:lnTo>
                    <a:pt x="11" y="65"/>
                  </a:lnTo>
                  <a:lnTo>
                    <a:pt x="11" y="62"/>
                  </a:lnTo>
                  <a:lnTo>
                    <a:pt x="9" y="62"/>
                  </a:lnTo>
                  <a:lnTo>
                    <a:pt x="9" y="60"/>
                  </a:lnTo>
                  <a:lnTo>
                    <a:pt x="7" y="60"/>
                  </a:lnTo>
                  <a:lnTo>
                    <a:pt x="7" y="62"/>
                  </a:lnTo>
                  <a:lnTo>
                    <a:pt x="7" y="60"/>
                  </a:lnTo>
                  <a:lnTo>
                    <a:pt x="4" y="60"/>
                  </a:lnTo>
                  <a:lnTo>
                    <a:pt x="4" y="58"/>
                  </a:lnTo>
                  <a:lnTo>
                    <a:pt x="7" y="58"/>
                  </a:lnTo>
                  <a:lnTo>
                    <a:pt x="7" y="55"/>
                  </a:lnTo>
                  <a:lnTo>
                    <a:pt x="7" y="53"/>
                  </a:lnTo>
                  <a:lnTo>
                    <a:pt x="7" y="55"/>
                  </a:lnTo>
                  <a:lnTo>
                    <a:pt x="7" y="58"/>
                  </a:lnTo>
                  <a:lnTo>
                    <a:pt x="9" y="58"/>
                  </a:lnTo>
                  <a:lnTo>
                    <a:pt x="9" y="55"/>
                  </a:lnTo>
                  <a:lnTo>
                    <a:pt x="7" y="55"/>
                  </a:lnTo>
                  <a:lnTo>
                    <a:pt x="9" y="55"/>
                  </a:lnTo>
                  <a:lnTo>
                    <a:pt x="11" y="55"/>
                  </a:lnTo>
                  <a:lnTo>
                    <a:pt x="14" y="55"/>
                  </a:lnTo>
                  <a:lnTo>
                    <a:pt x="11" y="53"/>
                  </a:lnTo>
                  <a:lnTo>
                    <a:pt x="9" y="53"/>
                  </a:lnTo>
                  <a:lnTo>
                    <a:pt x="9" y="51"/>
                  </a:lnTo>
                  <a:lnTo>
                    <a:pt x="7" y="51"/>
                  </a:lnTo>
                  <a:lnTo>
                    <a:pt x="7" y="53"/>
                  </a:lnTo>
                  <a:lnTo>
                    <a:pt x="4" y="53"/>
                  </a:lnTo>
                  <a:lnTo>
                    <a:pt x="7" y="53"/>
                  </a:lnTo>
                  <a:lnTo>
                    <a:pt x="7" y="51"/>
                  </a:lnTo>
                  <a:lnTo>
                    <a:pt x="7" y="48"/>
                  </a:lnTo>
                  <a:lnTo>
                    <a:pt x="7" y="46"/>
                  </a:lnTo>
                  <a:lnTo>
                    <a:pt x="7" y="44"/>
                  </a:lnTo>
                  <a:lnTo>
                    <a:pt x="9" y="44"/>
                  </a:lnTo>
                  <a:lnTo>
                    <a:pt x="7" y="41"/>
                  </a:lnTo>
                  <a:lnTo>
                    <a:pt x="7" y="39"/>
                  </a:lnTo>
                  <a:lnTo>
                    <a:pt x="7" y="34"/>
                  </a:lnTo>
                  <a:lnTo>
                    <a:pt x="9" y="32"/>
                  </a:lnTo>
                  <a:lnTo>
                    <a:pt x="9" y="30"/>
                  </a:lnTo>
                  <a:lnTo>
                    <a:pt x="9" y="27"/>
                  </a:lnTo>
                  <a:lnTo>
                    <a:pt x="9" y="25"/>
                  </a:lnTo>
                  <a:lnTo>
                    <a:pt x="7" y="23"/>
                  </a:lnTo>
                  <a:lnTo>
                    <a:pt x="7" y="20"/>
                  </a:lnTo>
                  <a:lnTo>
                    <a:pt x="7" y="18"/>
                  </a:lnTo>
                  <a:lnTo>
                    <a:pt x="7" y="16"/>
                  </a:lnTo>
                  <a:lnTo>
                    <a:pt x="7" y="14"/>
                  </a:lnTo>
                  <a:lnTo>
                    <a:pt x="7" y="11"/>
                  </a:lnTo>
                  <a:lnTo>
                    <a:pt x="9" y="11"/>
                  </a:lnTo>
                  <a:lnTo>
                    <a:pt x="9" y="9"/>
                  </a:lnTo>
                  <a:lnTo>
                    <a:pt x="9" y="7"/>
                  </a:lnTo>
                  <a:lnTo>
                    <a:pt x="9" y="4"/>
                  </a:lnTo>
                  <a:lnTo>
                    <a:pt x="11" y="7"/>
                  </a:lnTo>
                  <a:lnTo>
                    <a:pt x="14" y="7"/>
                  </a:lnTo>
                  <a:lnTo>
                    <a:pt x="14" y="9"/>
                  </a:lnTo>
                  <a:lnTo>
                    <a:pt x="16" y="11"/>
                  </a:lnTo>
                  <a:lnTo>
                    <a:pt x="18" y="11"/>
                  </a:lnTo>
                  <a:lnTo>
                    <a:pt x="18" y="14"/>
                  </a:lnTo>
                  <a:lnTo>
                    <a:pt x="21" y="14"/>
                  </a:lnTo>
                  <a:lnTo>
                    <a:pt x="21" y="16"/>
                  </a:lnTo>
                  <a:lnTo>
                    <a:pt x="23" y="16"/>
                  </a:lnTo>
                  <a:lnTo>
                    <a:pt x="23" y="18"/>
                  </a:lnTo>
                  <a:lnTo>
                    <a:pt x="25" y="18"/>
                  </a:lnTo>
                  <a:lnTo>
                    <a:pt x="28" y="18"/>
                  </a:lnTo>
                  <a:lnTo>
                    <a:pt x="30" y="20"/>
                  </a:lnTo>
                  <a:lnTo>
                    <a:pt x="32" y="20"/>
                  </a:lnTo>
                  <a:lnTo>
                    <a:pt x="35" y="20"/>
                  </a:lnTo>
                  <a:lnTo>
                    <a:pt x="32" y="20"/>
                  </a:lnTo>
                  <a:lnTo>
                    <a:pt x="32" y="23"/>
                  </a:lnTo>
                  <a:lnTo>
                    <a:pt x="35" y="23"/>
                  </a:lnTo>
                  <a:lnTo>
                    <a:pt x="37" y="23"/>
                  </a:lnTo>
                  <a:lnTo>
                    <a:pt x="39" y="23"/>
                  </a:lnTo>
                  <a:lnTo>
                    <a:pt x="39" y="25"/>
                  </a:lnTo>
                  <a:lnTo>
                    <a:pt x="41" y="25"/>
                  </a:lnTo>
                  <a:lnTo>
                    <a:pt x="39" y="27"/>
                  </a:lnTo>
                  <a:lnTo>
                    <a:pt x="41" y="27"/>
                  </a:lnTo>
                  <a:lnTo>
                    <a:pt x="41" y="25"/>
                  </a:lnTo>
                  <a:lnTo>
                    <a:pt x="44" y="25"/>
                  </a:lnTo>
                  <a:lnTo>
                    <a:pt x="44" y="27"/>
                  </a:lnTo>
                  <a:lnTo>
                    <a:pt x="44" y="30"/>
                  </a:lnTo>
                  <a:lnTo>
                    <a:pt x="44" y="27"/>
                  </a:lnTo>
                  <a:lnTo>
                    <a:pt x="44" y="25"/>
                  </a:lnTo>
                  <a:lnTo>
                    <a:pt x="46" y="25"/>
                  </a:lnTo>
                  <a:lnTo>
                    <a:pt x="46" y="27"/>
                  </a:lnTo>
                  <a:lnTo>
                    <a:pt x="46" y="30"/>
                  </a:lnTo>
                  <a:lnTo>
                    <a:pt x="46" y="32"/>
                  </a:lnTo>
                  <a:lnTo>
                    <a:pt x="46" y="34"/>
                  </a:lnTo>
                  <a:lnTo>
                    <a:pt x="46" y="37"/>
                  </a:lnTo>
                  <a:lnTo>
                    <a:pt x="44" y="37"/>
                  </a:lnTo>
                  <a:lnTo>
                    <a:pt x="41" y="39"/>
                  </a:lnTo>
                  <a:lnTo>
                    <a:pt x="41" y="37"/>
                  </a:lnTo>
                  <a:lnTo>
                    <a:pt x="44" y="37"/>
                  </a:lnTo>
                  <a:lnTo>
                    <a:pt x="44" y="34"/>
                  </a:lnTo>
                  <a:lnTo>
                    <a:pt x="41" y="34"/>
                  </a:lnTo>
                  <a:lnTo>
                    <a:pt x="41" y="37"/>
                  </a:lnTo>
                  <a:lnTo>
                    <a:pt x="41" y="34"/>
                  </a:lnTo>
                  <a:lnTo>
                    <a:pt x="41" y="37"/>
                  </a:lnTo>
                  <a:lnTo>
                    <a:pt x="39" y="39"/>
                  </a:lnTo>
                  <a:lnTo>
                    <a:pt x="37" y="41"/>
                  </a:lnTo>
                  <a:lnTo>
                    <a:pt x="35" y="41"/>
                  </a:lnTo>
                  <a:lnTo>
                    <a:pt x="35" y="44"/>
                  </a:lnTo>
                  <a:lnTo>
                    <a:pt x="32" y="44"/>
                  </a:lnTo>
                  <a:lnTo>
                    <a:pt x="32" y="46"/>
                  </a:lnTo>
                  <a:lnTo>
                    <a:pt x="30" y="46"/>
                  </a:lnTo>
                  <a:lnTo>
                    <a:pt x="32" y="48"/>
                  </a:lnTo>
                  <a:lnTo>
                    <a:pt x="37" y="48"/>
                  </a:lnTo>
                  <a:lnTo>
                    <a:pt x="39" y="46"/>
                  </a:lnTo>
                  <a:lnTo>
                    <a:pt x="37" y="46"/>
                  </a:lnTo>
                  <a:lnTo>
                    <a:pt x="35" y="48"/>
                  </a:lnTo>
                  <a:lnTo>
                    <a:pt x="32" y="48"/>
                  </a:lnTo>
                  <a:lnTo>
                    <a:pt x="32" y="46"/>
                  </a:lnTo>
                  <a:lnTo>
                    <a:pt x="35" y="46"/>
                  </a:lnTo>
                  <a:lnTo>
                    <a:pt x="35" y="44"/>
                  </a:lnTo>
                  <a:lnTo>
                    <a:pt x="37" y="41"/>
                  </a:lnTo>
                  <a:lnTo>
                    <a:pt x="39" y="41"/>
                  </a:lnTo>
                  <a:lnTo>
                    <a:pt x="41" y="41"/>
                  </a:lnTo>
                  <a:lnTo>
                    <a:pt x="41" y="39"/>
                  </a:lnTo>
                  <a:lnTo>
                    <a:pt x="44" y="39"/>
                  </a:lnTo>
                  <a:lnTo>
                    <a:pt x="46" y="37"/>
                  </a:lnTo>
                  <a:lnTo>
                    <a:pt x="46" y="34"/>
                  </a:lnTo>
                  <a:lnTo>
                    <a:pt x="46" y="37"/>
                  </a:lnTo>
                  <a:lnTo>
                    <a:pt x="48" y="37"/>
                  </a:lnTo>
                  <a:lnTo>
                    <a:pt x="48" y="34"/>
                  </a:lnTo>
                  <a:lnTo>
                    <a:pt x="48" y="32"/>
                  </a:lnTo>
                  <a:lnTo>
                    <a:pt x="48" y="34"/>
                  </a:lnTo>
                  <a:lnTo>
                    <a:pt x="48" y="37"/>
                  </a:lnTo>
                  <a:lnTo>
                    <a:pt x="48" y="39"/>
                  </a:lnTo>
                  <a:lnTo>
                    <a:pt x="46" y="39"/>
                  </a:lnTo>
                  <a:lnTo>
                    <a:pt x="46" y="41"/>
                  </a:lnTo>
                  <a:lnTo>
                    <a:pt x="46" y="39"/>
                  </a:lnTo>
                  <a:lnTo>
                    <a:pt x="44" y="39"/>
                  </a:lnTo>
                  <a:lnTo>
                    <a:pt x="46" y="39"/>
                  </a:lnTo>
                  <a:lnTo>
                    <a:pt x="46" y="41"/>
                  </a:lnTo>
                  <a:lnTo>
                    <a:pt x="44" y="44"/>
                  </a:lnTo>
                  <a:lnTo>
                    <a:pt x="44" y="41"/>
                  </a:lnTo>
                  <a:lnTo>
                    <a:pt x="44" y="44"/>
                  </a:lnTo>
                  <a:lnTo>
                    <a:pt x="41" y="44"/>
                  </a:lnTo>
                  <a:lnTo>
                    <a:pt x="41" y="46"/>
                  </a:lnTo>
                  <a:lnTo>
                    <a:pt x="44" y="44"/>
                  </a:lnTo>
                  <a:lnTo>
                    <a:pt x="46" y="44"/>
                  </a:lnTo>
                  <a:lnTo>
                    <a:pt x="46" y="46"/>
                  </a:lnTo>
                  <a:lnTo>
                    <a:pt x="46" y="48"/>
                  </a:lnTo>
                  <a:lnTo>
                    <a:pt x="44" y="48"/>
                  </a:lnTo>
                  <a:lnTo>
                    <a:pt x="44" y="51"/>
                  </a:lnTo>
                  <a:lnTo>
                    <a:pt x="41" y="51"/>
                  </a:lnTo>
                  <a:lnTo>
                    <a:pt x="44" y="53"/>
                  </a:lnTo>
                  <a:lnTo>
                    <a:pt x="41" y="53"/>
                  </a:lnTo>
                  <a:lnTo>
                    <a:pt x="39" y="53"/>
                  </a:lnTo>
                  <a:lnTo>
                    <a:pt x="39" y="51"/>
                  </a:lnTo>
                  <a:lnTo>
                    <a:pt x="41" y="51"/>
                  </a:lnTo>
                  <a:lnTo>
                    <a:pt x="41" y="48"/>
                  </a:lnTo>
                  <a:lnTo>
                    <a:pt x="41" y="51"/>
                  </a:lnTo>
                  <a:lnTo>
                    <a:pt x="39" y="51"/>
                  </a:lnTo>
                  <a:lnTo>
                    <a:pt x="39" y="53"/>
                  </a:lnTo>
                  <a:lnTo>
                    <a:pt x="37" y="53"/>
                  </a:lnTo>
                  <a:lnTo>
                    <a:pt x="37" y="55"/>
                  </a:lnTo>
                  <a:lnTo>
                    <a:pt x="37" y="53"/>
                  </a:lnTo>
                  <a:lnTo>
                    <a:pt x="37" y="51"/>
                  </a:lnTo>
                  <a:lnTo>
                    <a:pt x="39" y="51"/>
                  </a:lnTo>
                  <a:lnTo>
                    <a:pt x="39" y="48"/>
                  </a:lnTo>
                  <a:lnTo>
                    <a:pt x="37" y="51"/>
                  </a:lnTo>
                  <a:lnTo>
                    <a:pt x="35" y="51"/>
                  </a:lnTo>
                  <a:lnTo>
                    <a:pt x="35" y="53"/>
                  </a:lnTo>
                  <a:lnTo>
                    <a:pt x="32" y="53"/>
                  </a:lnTo>
                  <a:lnTo>
                    <a:pt x="30" y="53"/>
                  </a:lnTo>
                  <a:lnTo>
                    <a:pt x="30" y="55"/>
                  </a:lnTo>
                  <a:lnTo>
                    <a:pt x="32" y="55"/>
                  </a:lnTo>
                  <a:lnTo>
                    <a:pt x="30" y="55"/>
                  </a:lnTo>
                  <a:lnTo>
                    <a:pt x="32" y="55"/>
                  </a:lnTo>
                  <a:lnTo>
                    <a:pt x="35" y="53"/>
                  </a:lnTo>
                  <a:lnTo>
                    <a:pt x="35" y="55"/>
                  </a:lnTo>
                  <a:lnTo>
                    <a:pt x="32" y="55"/>
                  </a:lnTo>
                  <a:lnTo>
                    <a:pt x="32" y="58"/>
                  </a:lnTo>
                  <a:lnTo>
                    <a:pt x="32" y="55"/>
                  </a:lnTo>
                  <a:lnTo>
                    <a:pt x="32" y="58"/>
                  </a:lnTo>
                  <a:lnTo>
                    <a:pt x="35" y="58"/>
                  </a:lnTo>
                  <a:lnTo>
                    <a:pt x="35" y="55"/>
                  </a:lnTo>
                  <a:lnTo>
                    <a:pt x="37" y="55"/>
                  </a:lnTo>
                  <a:lnTo>
                    <a:pt x="37" y="58"/>
                  </a:lnTo>
                  <a:lnTo>
                    <a:pt x="39" y="58"/>
                  </a:lnTo>
                  <a:lnTo>
                    <a:pt x="41" y="55"/>
                  </a:lnTo>
                  <a:lnTo>
                    <a:pt x="44" y="53"/>
                  </a:lnTo>
                  <a:lnTo>
                    <a:pt x="44" y="55"/>
                  </a:lnTo>
                  <a:lnTo>
                    <a:pt x="46" y="55"/>
                  </a:lnTo>
                  <a:lnTo>
                    <a:pt x="46" y="53"/>
                  </a:lnTo>
                  <a:lnTo>
                    <a:pt x="48" y="53"/>
                  </a:lnTo>
                  <a:lnTo>
                    <a:pt x="48" y="51"/>
                  </a:lnTo>
                  <a:lnTo>
                    <a:pt x="48" y="48"/>
                  </a:lnTo>
                  <a:lnTo>
                    <a:pt x="48" y="46"/>
                  </a:lnTo>
                  <a:lnTo>
                    <a:pt x="48" y="44"/>
                  </a:lnTo>
                  <a:lnTo>
                    <a:pt x="48" y="46"/>
                  </a:lnTo>
                  <a:lnTo>
                    <a:pt x="51" y="46"/>
                  </a:lnTo>
                  <a:lnTo>
                    <a:pt x="51" y="44"/>
                  </a:lnTo>
                  <a:lnTo>
                    <a:pt x="48" y="44"/>
                  </a:lnTo>
                  <a:lnTo>
                    <a:pt x="48" y="41"/>
                  </a:lnTo>
                  <a:lnTo>
                    <a:pt x="51" y="41"/>
                  </a:lnTo>
                  <a:lnTo>
                    <a:pt x="51" y="39"/>
                  </a:lnTo>
                  <a:lnTo>
                    <a:pt x="51" y="37"/>
                  </a:lnTo>
                  <a:lnTo>
                    <a:pt x="53" y="37"/>
                  </a:lnTo>
                  <a:lnTo>
                    <a:pt x="53" y="34"/>
                  </a:lnTo>
                  <a:lnTo>
                    <a:pt x="55" y="34"/>
                  </a:lnTo>
                  <a:lnTo>
                    <a:pt x="58" y="34"/>
                  </a:lnTo>
                  <a:lnTo>
                    <a:pt x="58" y="32"/>
                  </a:lnTo>
                  <a:lnTo>
                    <a:pt x="55" y="32"/>
                  </a:lnTo>
                  <a:lnTo>
                    <a:pt x="55" y="30"/>
                  </a:lnTo>
                  <a:lnTo>
                    <a:pt x="55" y="27"/>
                  </a:lnTo>
                  <a:lnTo>
                    <a:pt x="55" y="25"/>
                  </a:lnTo>
                  <a:lnTo>
                    <a:pt x="53" y="25"/>
                  </a:lnTo>
                  <a:lnTo>
                    <a:pt x="53" y="27"/>
                  </a:lnTo>
                  <a:lnTo>
                    <a:pt x="53" y="30"/>
                  </a:lnTo>
                  <a:lnTo>
                    <a:pt x="55" y="32"/>
                  </a:lnTo>
                  <a:lnTo>
                    <a:pt x="53" y="30"/>
                  </a:lnTo>
                  <a:lnTo>
                    <a:pt x="53" y="27"/>
                  </a:lnTo>
                  <a:lnTo>
                    <a:pt x="51" y="27"/>
                  </a:lnTo>
                  <a:lnTo>
                    <a:pt x="51" y="25"/>
                  </a:lnTo>
                  <a:lnTo>
                    <a:pt x="53" y="25"/>
                  </a:lnTo>
                  <a:lnTo>
                    <a:pt x="53" y="23"/>
                  </a:lnTo>
                  <a:lnTo>
                    <a:pt x="53" y="25"/>
                  </a:lnTo>
                  <a:lnTo>
                    <a:pt x="55" y="25"/>
                  </a:lnTo>
                  <a:lnTo>
                    <a:pt x="55" y="23"/>
                  </a:lnTo>
                  <a:lnTo>
                    <a:pt x="55" y="20"/>
                  </a:lnTo>
                  <a:lnTo>
                    <a:pt x="53" y="20"/>
                  </a:lnTo>
                  <a:lnTo>
                    <a:pt x="53" y="18"/>
                  </a:lnTo>
                  <a:lnTo>
                    <a:pt x="51" y="18"/>
                  </a:lnTo>
                  <a:lnTo>
                    <a:pt x="51" y="16"/>
                  </a:lnTo>
                  <a:lnTo>
                    <a:pt x="53" y="16"/>
                  </a:lnTo>
                  <a:lnTo>
                    <a:pt x="53" y="18"/>
                  </a:lnTo>
                  <a:lnTo>
                    <a:pt x="53" y="16"/>
                  </a:lnTo>
                  <a:lnTo>
                    <a:pt x="55" y="16"/>
                  </a:lnTo>
                  <a:lnTo>
                    <a:pt x="55" y="18"/>
                  </a:lnTo>
                  <a:lnTo>
                    <a:pt x="55" y="16"/>
                  </a:lnTo>
                  <a:lnTo>
                    <a:pt x="55" y="14"/>
                  </a:lnTo>
                  <a:lnTo>
                    <a:pt x="58" y="16"/>
                  </a:lnTo>
                  <a:lnTo>
                    <a:pt x="58" y="14"/>
                  </a:lnTo>
                  <a:lnTo>
                    <a:pt x="58" y="11"/>
                  </a:lnTo>
                  <a:lnTo>
                    <a:pt x="58" y="9"/>
                  </a:lnTo>
                  <a:lnTo>
                    <a:pt x="58" y="7"/>
                  </a:lnTo>
                  <a:lnTo>
                    <a:pt x="55" y="7"/>
                  </a:lnTo>
                  <a:lnTo>
                    <a:pt x="55" y="9"/>
                  </a:lnTo>
                  <a:lnTo>
                    <a:pt x="55" y="7"/>
                  </a:lnTo>
                  <a:lnTo>
                    <a:pt x="53" y="7"/>
                  </a:lnTo>
                  <a:lnTo>
                    <a:pt x="55" y="7"/>
                  </a:lnTo>
                  <a:lnTo>
                    <a:pt x="55" y="4"/>
                  </a:lnTo>
                  <a:lnTo>
                    <a:pt x="53" y="4"/>
                  </a:lnTo>
                  <a:lnTo>
                    <a:pt x="53" y="2"/>
                  </a:lnTo>
                  <a:lnTo>
                    <a:pt x="55" y="2"/>
                  </a:lnTo>
                  <a:lnTo>
                    <a:pt x="53" y="2"/>
                  </a:lnTo>
                  <a:lnTo>
                    <a:pt x="53" y="0"/>
                  </a:lnTo>
                  <a:lnTo>
                    <a:pt x="55" y="0"/>
                  </a:lnTo>
                  <a:lnTo>
                    <a:pt x="55" y="2"/>
                  </a:lnTo>
                  <a:lnTo>
                    <a:pt x="55"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775">
              <a:extLst>
                <a:ext uri="{FF2B5EF4-FFF2-40B4-BE49-F238E27FC236}">
                  <a16:creationId xmlns:a16="http://schemas.microsoft.com/office/drawing/2014/main" id="{987217EC-0E1A-4503-8E2D-3C181FB65E7C}"/>
                </a:ext>
              </a:extLst>
            </p:cNvPr>
            <p:cNvSpPr>
              <a:spLocks/>
            </p:cNvSpPr>
            <p:nvPr/>
          </p:nvSpPr>
          <p:spPr bwMode="auto">
            <a:xfrm>
              <a:off x="5753894" y="4767263"/>
              <a:ext cx="280988" cy="320675"/>
            </a:xfrm>
            <a:custGeom>
              <a:avLst/>
              <a:gdLst>
                <a:gd name="T0" fmla="*/ 173 w 177"/>
                <a:gd name="T1" fmla="*/ 56 h 202"/>
                <a:gd name="T2" fmla="*/ 166 w 177"/>
                <a:gd name="T3" fmla="*/ 95 h 202"/>
                <a:gd name="T4" fmla="*/ 161 w 177"/>
                <a:gd name="T5" fmla="*/ 135 h 202"/>
                <a:gd name="T6" fmla="*/ 154 w 177"/>
                <a:gd name="T7" fmla="*/ 174 h 202"/>
                <a:gd name="T8" fmla="*/ 149 w 177"/>
                <a:gd name="T9" fmla="*/ 202 h 202"/>
                <a:gd name="T10" fmla="*/ 149 w 177"/>
                <a:gd name="T11" fmla="*/ 202 h 202"/>
                <a:gd name="T12" fmla="*/ 149 w 177"/>
                <a:gd name="T13" fmla="*/ 202 h 202"/>
                <a:gd name="T14" fmla="*/ 149 w 177"/>
                <a:gd name="T15" fmla="*/ 202 h 202"/>
                <a:gd name="T16" fmla="*/ 149 w 177"/>
                <a:gd name="T17" fmla="*/ 202 h 202"/>
                <a:gd name="T18" fmla="*/ 145 w 177"/>
                <a:gd name="T19" fmla="*/ 202 h 202"/>
                <a:gd name="T20" fmla="*/ 138 w 177"/>
                <a:gd name="T21" fmla="*/ 202 h 202"/>
                <a:gd name="T22" fmla="*/ 128 w 177"/>
                <a:gd name="T23" fmla="*/ 200 h 202"/>
                <a:gd name="T24" fmla="*/ 121 w 177"/>
                <a:gd name="T25" fmla="*/ 198 h 202"/>
                <a:gd name="T26" fmla="*/ 112 w 177"/>
                <a:gd name="T27" fmla="*/ 198 h 202"/>
                <a:gd name="T28" fmla="*/ 105 w 177"/>
                <a:gd name="T29" fmla="*/ 195 h 202"/>
                <a:gd name="T30" fmla="*/ 96 w 177"/>
                <a:gd name="T31" fmla="*/ 195 h 202"/>
                <a:gd name="T32" fmla="*/ 86 w 177"/>
                <a:gd name="T33" fmla="*/ 191 h 202"/>
                <a:gd name="T34" fmla="*/ 42 w 177"/>
                <a:gd name="T35" fmla="*/ 163 h 202"/>
                <a:gd name="T36" fmla="*/ 0 w 177"/>
                <a:gd name="T37" fmla="*/ 137 h 202"/>
                <a:gd name="T38" fmla="*/ 3 w 177"/>
                <a:gd name="T39" fmla="*/ 133 h 202"/>
                <a:gd name="T40" fmla="*/ 5 w 177"/>
                <a:gd name="T41" fmla="*/ 130 h 202"/>
                <a:gd name="T42" fmla="*/ 12 w 177"/>
                <a:gd name="T43" fmla="*/ 128 h 202"/>
                <a:gd name="T44" fmla="*/ 14 w 177"/>
                <a:gd name="T45" fmla="*/ 123 h 202"/>
                <a:gd name="T46" fmla="*/ 7 w 177"/>
                <a:gd name="T47" fmla="*/ 119 h 202"/>
                <a:gd name="T48" fmla="*/ 10 w 177"/>
                <a:gd name="T49" fmla="*/ 112 h 202"/>
                <a:gd name="T50" fmla="*/ 10 w 177"/>
                <a:gd name="T51" fmla="*/ 109 h 202"/>
                <a:gd name="T52" fmla="*/ 14 w 177"/>
                <a:gd name="T53" fmla="*/ 107 h 202"/>
                <a:gd name="T54" fmla="*/ 17 w 177"/>
                <a:gd name="T55" fmla="*/ 105 h 202"/>
                <a:gd name="T56" fmla="*/ 17 w 177"/>
                <a:gd name="T57" fmla="*/ 100 h 202"/>
                <a:gd name="T58" fmla="*/ 17 w 177"/>
                <a:gd name="T59" fmla="*/ 98 h 202"/>
                <a:gd name="T60" fmla="*/ 19 w 177"/>
                <a:gd name="T61" fmla="*/ 95 h 202"/>
                <a:gd name="T62" fmla="*/ 21 w 177"/>
                <a:gd name="T63" fmla="*/ 91 h 202"/>
                <a:gd name="T64" fmla="*/ 28 w 177"/>
                <a:gd name="T65" fmla="*/ 88 h 202"/>
                <a:gd name="T66" fmla="*/ 31 w 177"/>
                <a:gd name="T67" fmla="*/ 84 h 202"/>
                <a:gd name="T68" fmla="*/ 28 w 177"/>
                <a:gd name="T69" fmla="*/ 79 h 202"/>
                <a:gd name="T70" fmla="*/ 26 w 177"/>
                <a:gd name="T71" fmla="*/ 79 h 202"/>
                <a:gd name="T72" fmla="*/ 26 w 177"/>
                <a:gd name="T73" fmla="*/ 77 h 202"/>
                <a:gd name="T74" fmla="*/ 26 w 177"/>
                <a:gd name="T75" fmla="*/ 74 h 202"/>
                <a:gd name="T76" fmla="*/ 24 w 177"/>
                <a:gd name="T77" fmla="*/ 67 h 202"/>
                <a:gd name="T78" fmla="*/ 21 w 177"/>
                <a:gd name="T79" fmla="*/ 65 h 202"/>
                <a:gd name="T80" fmla="*/ 24 w 177"/>
                <a:gd name="T81" fmla="*/ 58 h 202"/>
                <a:gd name="T82" fmla="*/ 24 w 177"/>
                <a:gd name="T83" fmla="*/ 56 h 202"/>
                <a:gd name="T84" fmla="*/ 26 w 177"/>
                <a:gd name="T85" fmla="*/ 51 h 202"/>
                <a:gd name="T86" fmla="*/ 26 w 177"/>
                <a:gd name="T87" fmla="*/ 42 h 202"/>
                <a:gd name="T88" fmla="*/ 26 w 177"/>
                <a:gd name="T89" fmla="*/ 32 h 202"/>
                <a:gd name="T90" fmla="*/ 26 w 177"/>
                <a:gd name="T91" fmla="*/ 28 h 202"/>
                <a:gd name="T92" fmla="*/ 28 w 177"/>
                <a:gd name="T93" fmla="*/ 25 h 202"/>
                <a:gd name="T94" fmla="*/ 33 w 177"/>
                <a:gd name="T95" fmla="*/ 23 h 202"/>
                <a:gd name="T96" fmla="*/ 35 w 177"/>
                <a:gd name="T97" fmla="*/ 25 h 202"/>
                <a:gd name="T98" fmla="*/ 38 w 177"/>
                <a:gd name="T99" fmla="*/ 25 h 202"/>
                <a:gd name="T100" fmla="*/ 38 w 177"/>
                <a:gd name="T101" fmla="*/ 25 h 202"/>
                <a:gd name="T102" fmla="*/ 40 w 177"/>
                <a:gd name="T103" fmla="*/ 30 h 202"/>
                <a:gd name="T104" fmla="*/ 45 w 177"/>
                <a:gd name="T105" fmla="*/ 28 h 202"/>
                <a:gd name="T106" fmla="*/ 47 w 177"/>
                <a:gd name="T107" fmla="*/ 23 h 202"/>
                <a:gd name="T108" fmla="*/ 49 w 177"/>
                <a:gd name="T109" fmla="*/ 9 h 202"/>
                <a:gd name="T110" fmla="*/ 52 w 177"/>
                <a:gd name="T111" fmla="*/ 0 h 202"/>
                <a:gd name="T112" fmla="*/ 79 w 177"/>
                <a:gd name="T113" fmla="*/ 7 h 202"/>
                <a:gd name="T114" fmla="*/ 105 w 177"/>
                <a:gd name="T115" fmla="*/ 12 h 202"/>
                <a:gd name="T116" fmla="*/ 133 w 177"/>
                <a:gd name="T117" fmla="*/ 16 h 202"/>
                <a:gd name="T118" fmla="*/ 161 w 177"/>
                <a:gd name="T119" fmla="*/ 2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 h="202">
                  <a:moveTo>
                    <a:pt x="177" y="23"/>
                  </a:moveTo>
                  <a:lnTo>
                    <a:pt x="175" y="28"/>
                  </a:lnTo>
                  <a:lnTo>
                    <a:pt x="175" y="35"/>
                  </a:lnTo>
                  <a:lnTo>
                    <a:pt x="175" y="39"/>
                  </a:lnTo>
                  <a:lnTo>
                    <a:pt x="173" y="46"/>
                  </a:lnTo>
                  <a:lnTo>
                    <a:pt x="173" y="51"/>
                  </a:lnTo>
                  <a:lnTo>
                    <a:pt x="173" y="56"/>
                  </a:lnTo>
                  <a:lnTo>
                    <a:pt x="170" y="63"/>
                  </a:lnTo>
                  <a:lnTo>
                    <a:pt x="170" y="67"/>
                  </a:lnTo>
                  <a:lnTo>
                    <a:pt x="170" y="74"/>
                  </a:lnTo>
                  <a:lnTo>
                    <a:pt x="168" y="79"/>
                  </a:lnTo>
                  <a:lnTo>
                    <a:pt x="168" y="86"/>
                  </a:lnTo>
                  <a:lnTo>
                    <a:pt x="168" y="91"/>
                  </a:lnTo>
                  <a:lnTo>
                    <a:pt x="166" y="95"/>
                  </a:lnTo>
                  <a:lnTo>
                    <a:pt x="166" y="102"/>
                  </a:lnTo>
                  <a:lnTo>
                    <a:pt x="163" y="107"/>
                  </a:lnTo>
                  <a:lnTo>
                    <a:pt x="163" y="114"/>
                  </a:lnTo>
                  <a:lnTo>
                    <a:pt x="163" y="119"/>
                  </a:lnTo>
                  <a:lnTo>
                    <a:pt x="161" y="123"/>
                  </a:lnTo>
                  <a:lnTo>
                    <a:pt x="161" y="130"/>
                  </a:lnTo>
                  <a:lnTo>
                    <a:pt x="161" y="135"/>
                  </a:lnTo>
                  <a:lnTo>
                    <a:pt x="159" y="142"/>
                  </a:lnTo>
                  <a:lnTo>
                    <a:pt x="159" y="147"/>
                  </a:lnTo>
                  <a:lnTo>
                    <a:pt x="156" y="151"/>
                  </a:lnTo>
                  <a:lnTo>
                    <a:pt x="156" y="158"/>
                  </a:lnTo>
                  <a:lnTo>
                    <a:pt x="156" y="163"/>
                  </a:lnTo>
                  <a:lnTo>
                    <a:pt x="154" y="170"/>
                  </a:lnTo>
                  <a:lnTo>
                    <a:pt x="154" y="174"/>
                  </a:lnTo>
                  <a:lnTo>
                    <a:pt x="154" y="181"/>
                  </a:lnTo>
                  <a:lnTo>
                    <a:pt x="152" y="186"/>
                  </a:lnTo>
                  <a:lnTo>
                    <a:pt x="152" y="191"/>
                  </a:lnTo>
                  <a:lnTo>
                    <a:pt x="152" y="198"/>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9" y="202"/>
                  </a:lnTo>
                  <a:lnTo>
                    <a:pt x="147" y="202"/>
                  </a:lnTo>
                  <a:lnTo>
                    <a:pt x="147" y="202"/>
                  </a:lnTo>
                  <a:lnTo>
                    <a:pt x="145" y="202"/>
                  </a:lnTo>
                  <a:lnTo>
                    <a:pt x="145" y="202"/>
                  </a:lnTo>
                  <a:lnTo>
                    <a:pt x="142" y="202"/>
                  </a:lnTo>
                  <a:lnTo>
                    <a:pt x="142" y="202"/>
                  </a:lnTo>
                  <a:lnTo>
                    <a:pt x="140" y="202"/>
                  </a:lnTo>
                  <a:lnTo>
                    <a:pt x="140" y="202"/>
                  </a:lnTo>
                  <a:lnTo>
                    <a:pt x="138" y="202"/>
                  </a:lnTo>
                  <a:lnTo>
                    <a:pt x="138" y="202"/>
                  </a:lnTo>
                  <a:lnTo>
                    <a:pt x="135" y="200"/>
                  </a:lnTo>
                  <a:lnTo>
                    <a:pt x="135" y="200"/>
                  </a:lnTo>
                  <a:lnTo>
                    <a:pt x="133" y="200"/>
                  </a:lnTo>
                  <a:lnTo>
                    <a:pt x="133" y="200"/>
                  </a:lnTo>
                  <a:lnTo>
                    <a:pt x="131" y="200"/>
                  </a:lnTo>
                  <a:lnTo>
                    <a:pt x="131" y="200"/>
                  </a:lnTo>
                  <a:lnTo>
                    <a:pt x="128" y="200"/>
                  </a:lnTo>
                  <a:lnTo>
                    <a:pt x="128" y="200"/>
                  </a:lnTo>
                  <a:lnTo>
                    <a:pt x="126" y="200"/>
                  </a:lnTo>
                  <a:lnTo>
                    <a:pt x="126" y="200"/>
                  </a:lnTo>
                  <a:lnTo>
                    <a:pt x="124" y="200"/>
                  </a:lnTo>
                  <a:lnTo>
                    <a:pt x="124" y="200"/>
                  </a:lnTo>
                  <a:lnTo>
                    <a:pt x="121" y="198"/>
                  </a:lnTo>
                  <a:lnTo>
                    <a:pt x="121" y="198"/>
                  </a:lnTo>
                  <a:lnTo>
                    <a:pt x="119" y="198"/>
                  </a:lnTo>
                  <a:lnTo>
                    <a:pt x="119" y="198"/>
                  </a:lnTo>
                  <a:lnTo>
                    <a:pt x="117" y="198"/>
                  </a:lnTo>
                  <a:lnTo>
                    <a:pt x="117" y="198"/>
                  </a:lnTo>
                  <a:lnTo>
                    <a:pt x="114" y="198"/>
                  </a:lnTo>
                  <a:lnTo>
                    <a:pt x="114" y="198"/>
                  </a:lnTo>
                  <a:lnTo>
                    <a:pt x="112" y="198"/>
                  </a:lnTo>
                  <a:lnTo>
                    <a:pt x="112" y="198"/>
                  </a:lnTo>
                  <a:lnTo>
                    <a:pt x="110" y="198"/>
                  </a:lnTo>
                  <a:lnTo>
                    <a:pt x="110" y="198"/>
                  </a:lnTo>
                  <a:lnTo>
                    <a:pt x="107" y="195"/>
                  </a:lnTo>
                  <a:lnTo>
                    <a:pt x="107" y="195"/>
                  </a:lnTo>
                  <a:lnTo>
                    <a:pt x="105" y="195"/>
                  </a:lnTo>
                  <a:lnTo>
                    <a:pt x="105" y="195"/>
                  </a:lnTo>
                  <a:lnTo>
                    <a:pt x="103" y="195"/>
                  </a:lnTo>
                  <a:lnTo>
                    <a:pt x="103" y="195"/>
                  </a:lnTo>
                  <a:lnTo>
                    <a:pt x="100" y="195"/>
                  </a:lnTo>
                  <a:lnTo>
                    <a:pt x="100" y="195"/>
                  </a:lnTo>
                  <a:lnTo>
                    <a:pt x="98" y="195"/>
                  </a:lnTo>
                  <a:lnTo>
                    <a:pt x="98" y="195"/>
                  </a:lnTo>
                  <a:lnTo>
                    <a:pt x="96" y="195"/>
                  </a:lnTo>
                  <a:lnTo>
                    <a:pt x="96" y="193"/>
                  </a:lnTo>
                  <a:lnTo>
                    <a:pt x="93" y="193"/>
                  </a:lnTo>
                  <a:lnTo>
                    <a:pt x="93" y="193"/>
                  </a:lnTo>
                  <a:lnTo>
                    <a:pt x="91" y="193"/>
                  </a:lnTo>
                  <a:lnTo>
                    <a:pt x="91" y="191"/>
                  </a:lnTo>
                  <a:lnTo>
                    <a:pt x="89" y="191"/>
                  </a:lnTo>
                  <a:lnTo>
                    <a:pt x="86" y="191"/>
                  </a:lnTo>
                  <a:lnTo>
                    <a:pt x="86" y="188"/>
                  </a:lnTo>
                  <a:lnTo>
                    <a:pt x="84" y="188"/>
                  </a:lnTo>
                  <a:lnTo>
                    <a:pt x="84" y="188"/>
                  </a:lnTo>
                  <a:lnTo>
                    <a:pt x="72" y="181"/>
                  </a:lnTo>
                  <a:lnTo>
                    <a:pt x="63" y="174"/>
                  </a:lnTo>
                  <a:lnTo>
                    <a:pt x="52" y="170"/>
                  </a:lnTo>
                  <a:lnTo>
                    <a:pt x="42" y="163"/>
                  </a:lnTo>
                  <a:lnTo>
                    <a:pt x="33" y="156"/>
                  </a:lnTo>
                  <a:lnTo>
                    <a:pt x="21" y="151"/>
                  </a:lnTo>
                  <a:lnTo>
                    <a:pt x="12" y="144"/>
                  </a:lnTo>
                  <a:lnTo>
                    <a:pt x="3" y="137"/>
                  </a:lnTo>
                  <a:lnTo>
                    <a:pt x="0" y="137"/>
                  </a:lnTo>
                  <a:lnTo>
                    <a:pt x="0" y="137"/>
                  </a:lnTo>
                  <a:lnTo>
                    <a:pt x="0" y="137"/>
                  </a:lnTo>
                  <a:lnTo>
                    <a:pt x="0" y="137"/>
                  </a:lnTo>
                  <a:lnTo>
                    <a:pt x="3" y="135"/>
                  </a:lnTo>
                  <a:lnTo>
                    <a:pt x="3" y="135"/>
                  </a:lnTo>
                  <a:lnTo>
                    <a:pt x="3" y="135"/>
                  </a:lnTo>
                  <a:lnTo>
                    <a:pt x="3" y="133"/>
                  </a:lnTo>
                  <a:lnTo>
                    <a:pt x="3" y="133"/>
                  </a:lnTo>
                  <a:lnTo>
                    <a:pt x="3" y="133"/>
                  </a:lnTo>
                  <a:lnTo>
                    <a:pt x="3" y="133"/>
                  </a:lnTo>
                  <a:lnTo>
                    <a:pt x="5" y="133"/>
                  </a:lnTo>
                  <a:lnTo>
                    <a:pt x="5" y="133"/>
                  </a:lnTo>
                  <a:lnTo>
                    <a:pt x="5" y="130"/>
                  </a:lnTo>
                  <a:lnTo>
                    <a:pt x="5" y="130"/>
                  </a:lnTo>
                  <a:lnTo>
                    <a:pt x="5" y="130"/>
                  </a:lnTo>
                  <a:lnTo>
                    <a:pt x="5" y="130"/>
                  </a:lnTo>
                  <a:lnTo>
                    <a:pt x="10" y="130"/>
                  </a:lnTo>
                  <a:lnTo>
                    <a:pt x="10" y="130"/>
                  </a:lnTo>
                  <a:lnTo>
                    <a:pt x="10" y="130"/>
                  </a:lnTo>
                  <a:lnTo>
                    <a:pt x="10" y="130"/>
                  </a:lnTo>
                  <a:lnTo>
                    <a:pt x="10" y="130"/>
                  </a:lnTo>
                  <a:lnTo>
                    <a:pt x="10" y="130"/>
                  </a:lnTo>
                  <a:lnTo>
                    <a:pt x="12" y="128"/>
                  </a:lnTo>
                  <a:lnTo>
                    <a:pt x="12" y="128"/>
                  </a:lnTo>
                  <a:lnTo>
                    <a:pt x="12" y="128"/>
                  </a:lnTo>
                  <a:lnTo>
                    <a:pt x="12" y="128"/>
                  </a:lnTo>
                  <a:lnTo>
                    <a:pt x="12" y="126"/>
                  </a:lnTo>
                  <a:lnTo>
                    <a:pt x="12" y="126"/>
                  </a:lnTo>
                  <a:lnTo>
                    <a:pt x="14" y="126"/>
                  </a:lnTo>
                  <a:lnTo>
                    <a:pt x="14" y="123"/>
                  </a:lnTo>
                  <a:lnTo>
                    <a:pt x="14" y="123"/>
                  </a:lnTo>
                  <a:lnTo>
                    <a:pt x="12" y="123"/>
                  </a:lnTo>
                  <a:lnTo>
                    <a:pt x="12" y="121"/>
                  </a:lnTo>
                  <a:lnTo>
                    <a:pt x="10" y="121"/>
                  </a:lnTo>
                  <a:lnTo>
                    <a:pt x="10" y="121"/>
                  </a:lnTo>
                  <a:lnTo>
                    <a:pt x="7" y="119"/>
                  </a:lnTo>
                  <a:lnTo>
                    <a:pt x="7" y="119"/>
                  </a:lnTo>
                  <a:lnTo>
                    <a:pt x="10" y="116"/>
                  </a:lnTo>
                  <a:lnTo>
                    <a:pt x="10" y="116"/>
                  </a:lnTo>
                  <a:lnTo>
                    <a:pt x="10" y="114"/>
                  </a:lnTo>
                  <a:lnTo>
                    <a:pt x="10" y="114"/>
                  </a:lnTo>
                  <a:lnTo>
                    <a:pt x="10" y="112"/>
                  </a:lnTo>
                  <a:lnTo>
                    <a:pt x="10" y="112"/>
                  </a:lnTo>
                  <a:lnTo>
                    <a:pt x="10" y="112"/>
                  </a:lnTo>
                  <a:lnTo>
                    <a:pt x="10" y="112"/>
                  </a:lnTo>
                  <a:lnTo>
                    <a:pt x="10" y="112"/>
                  </a:lnTo>
                  <a:lnTo>
                    <a:pt x="10" y="109"/>
                  </a:lnTo>
                  <a:lnTo>
                    <a:pt x="10" y="109"/>
                  </a:lnTo>
                  <a:lnTo>
                    <a:pt x="10" y="109"/>
                  </a:lnTo>
                  <a:lnTo>
                    <a:pt x="10" y="109"/>
                  </a:lnTo>
                  <a:lnTo>
                    <a:pt x="10" y="109"/>
                  </a:lnTo>
                  <a:lnTo>
                    <a:pt x="12" y="109"/>
                  </a:lnTo>
                  <a:lnTo>
                    <a:pt x="12" y="109"/>
                  </a:lnTo>
                  <a:lnTo>
                    <a:pt x="12" y="109"/>
                  </a:lnTo>
                  <a:lnTo>
                    <a:pt x="14" y="107"/>
                  </a:lnTo>
                  <a:lnTo>
                    <a:pt x="14" y="107"/>
                  </a:lnTo>
                  <a:lnTo>
                    <a:pt x="14" y="107"/>
                  </a:lnTo>
                  <a:lnTo>
                    <a:pt x="14" y="107"/>
                  </a:lnTo>
                  <a:lnTo>
                    <a:pt x="17" y="105"/>
                  </a:lnTo>
                  <a:lnTo>
                    <a:pt x="17" y="105"/>
                  </a:lnTo>
                  <a:lnTo>
                    <a:pt x="17" y="105"/>
                  </a:lnTo>
                  <a:lnTo>
                    <a:pt x="17" y="105"/>
                  </a:lnTo>
                  <a:lnTo>
                    <a:pt x="17" y="105"/>
                  </a:lnTo>
                  <a:lnTo>
                    <a:pt x="17" y="105"/>
                  </a:lnTo>
                  <a:lnTo>
                    <a:pt x="17" y="105"/>
                  </a:lnTo>
                  <a:lnTo>
                    <a:pt x="17" y="102"/>
                  </a:lnTo>
                  <a:lnTo>
                    <a:pt x="17" y="102"/>
                  </a:lnTo>
                  <a:lnTo>
                    <a:pt x="17" y="102"/>
                  </a:lnTo>
                  <a:lnTo>
                    <a:pt x="17" y="102"/>
                  </a:lnTo>
                  <a:lnTo>
                    <a:pt x="17" y="100"/>
                  </a:lnTo>
                  <a:lnTo>
                    <a:pt x="19" y="100"/>
                  </a:lnTo>
                  <a:lnTo>
                    <a:pt x="17" y="100"/>
                  </a:lnTo>
                  <a:lnTo>
                    <a:pt x="17" y="100"/>
                  </a:lnTo>
                  <a:lnTo>
                    <a:pt x="19" y="100"/>
                  </a:lnTo>
                  <a:lnTo>
                    <a:pt x="19" y="100"/>
                  </a:lnTo>
                  <a:lnTo>
                    <a:pt x="19" y="100"/>
                  </a:lnTo>
                  <a:lnTo>
                    <a:pt x="19" y="98"/>
                  </a:lnTo>
                  <a:lnTo>
                    <a:pt x="19" y="98"/>
                  </a:lnTo>
                  <a:lnTo>
                    <a:pt x="17" y="98"/>
                  </a:lnTo>
                  <a:lnTo>
                    <a:pt x="19" y="98"/>
                  </a:lnTo>
                  <a:lnTo>
                    <a:pt x="19" y="95"/>
                  </a:lnTo>
                  <a:lnTo>
                    <a:pt x="19" y="95"/>
                  </a:lnTo>
                  <a:lnTo>
                    <a:pt x="19" y="95"/>
                  </a:lnTo>
                  <a:lnTo>
                    <a:pt x="19" y="95"/>
                  </a:lnTo>
                  <a:lnTo>
                    <a:pt x="19" y="95"/>
                  </a:lnTo>
                  <a:lnTo>
                    <a:pt x="19" y="95"/>
                  </a:lnTo>
                  <a:lnTo>
                    <a:pt x="19" y="93"/>
                  </a:lnTo>
                  <a:lnTo>
                    <a:pt x="19" y="93"/>
                  </a:lnTo>
                  <a:lnTo>
                    <a:pt x="19" y="93"/>
                  </a:lnTo>
                  <a:lnTo>
                    <a:pt x="19" y="93"/>
                  </a:lnTo>
                  <a:lnTo>
                    <a:pt x="21" y="93"/>
                  </a:lnTo>
                  <a:lnTo>
                    <a:pt x="21" y="93"/>
                  </a:lnTo>
                  <a:lnTo>
                    <a:pt x="21" y="91"/>
                  </a:lnTo>
                  <a:lnTo>
                    <a:pt x="21" y="91"/>
                  </a:lnTo>
                  <a:lnTo>
                    <a:pt x="21" y="91"/>
                  </a:lnTo>
                  <a:lnTo>
                    <a:pt x="24" y="88"/>
                  </a:lnTo>
                  <a:lnTo>
                    <a:pt x="24" y="88"/>
                  </a:lnTo>
                  <a:lnTo>
                    <a:pt x="24" y="88"/>
                  </a:lnTo>
                  <a:lnTo>
                    <a:pt x="28" y="88"/>
                  </a:lnTo>
                  <a:lnTo>
                    <a:pt x="28" y="88"/>
                  </a:lnTo>
                  <a:lnTo>
                    <a:pt x="28" y="86"/>
                  </a:lnTo>
                  <a:lnTo>
                    <a:pt x="31" y="86"/>
                  </a:lnTo>
                  <a:lnTo>
                    <a:pt x="31" y="86"/>
                  </a:lnTo>
                  <a:lnTo>
                    <a:pt x="31" y="86"/>
                  </a:lnTo>
                  <a:lnTo>
                    <a:pt x="31" y="84"/>
                  </a:lnTo>
                  <a:lnTo>
                    <a:pt x="31" y="84"/>
                  </a:lnTo>
                  <a:lnTo>
                    <a:pt x="31" y="84"/>
                  </a:lnTo>
                  <a:lnTo>
                    <a:pt x="31" y="84"/>
                  </a:lnTo>
                  <a:lnTo>
                    <a:pt x="31" y="81"/>
                  </a:lnTo>
                  <a:lnTo>
                    <a:pt x="31" y="81"/>
                  </a:lnTo>
                  <a:lnTo>
                    <a:pt x="28" y="79"/>
                  </a:lnTo>
                  <a:lnTo>
                    <a:pt x="28" y="79"/>
                  </a:lnTo>
                  <a:lnTo>
                    <a:pt x="28" y="79"/>
                  </a:lnTo>
                  <a:lnTo>
                    <a:pt x="28" y="79"/>
                  </a:lnTo>
                  <a:lnTo>
                    <a:pt x="26" y="79"/>
                  </a:lnTo>
                  <a:lnTo>
                    <a:pt x="26" y="79"/>
                  </a:lnTo>
                  <a:lnTo>
                    <a:pt x="26" y="79"/>
                  </a:lnTo>
                  <a:lnTo>
                    <a:pt x="26" y="79"/>
                  </a:lnTo>
                  <a:lnTo>
                    <a:pt x="26" y="79"/>
                  </a:lnTo>
                  <a:lnTo>
                    <a:pt x="26" y="79"/>
                  </a:lnTo>
                  <a:lnTo>
                    <a:pt x="26" y="79"/>
                  </a:lnTo>
                  <a:lnTo>
                    <a:pt x="26" y="79"/>
                  </a:lnTo>
                  <a:lnTo>
                    <a:pt x="26" y="77"/>
                  </a:lnTo>
                  <a:lnTo>
                    <a:pt x="26" y="77"/>
                  </a:lnTo>
                  <a:lnTo>
                    <a:pt x="26" y="77"/>
                  </a:lnTo>
                  <a:lnTo>
                    <a:pt x="26" y="77"/>
                  </a:lnTo>
                  <a:lnTo>
                    <a:pt x="26" y="77"/>
                  </a:lnTo>
                  <a:lnTo>
                    <a:pt x="26" y="77"/>
                  </a:lnTo>
                  <a:lnTo>
                    <a:pt x="26" y="77"/>
                  </a:lnTo>
                  <a:lnTo>
                    <a:pt x="26" y="77"/>
                  </a:lnTo>
                  <a:lnTo>
                    <a:pt x="26" y="74"/>
                  </a:lnTo>
                  <a:lnTo>
                    <a:pt x="26" y="74"/>
                  </a:lnTo>
                  <a:lnTo>
                    <a:pt x="26" y="74"/>
                  </a:lnTo>
                  <a:lnTo>
                    <a:pt x="26" y="74"/>
                  </a:lnTo>
                  <a:lnTo>
                    <a:pt x="26" y="74"/>
                  </a:lnTo>
                  <a:lnTo>
                    <a:pt x="26" y="72"/>
                  </a:lnTo>
                  <a:lnTo>
                    <a:pt x="26" y="72"/>
                  </a:lnTo>
                  <a:lnTo>
                    <a:pt x="26" y="72"/>
                  </a:lnTo>
                  <a:lnTo>
                    <a:pt x="26" y="72"/>
                  </a:lnTo>
                  <a:lnTo>
                    <a:pt x="24" y="67"/>
                  </a:lnTo>
                  <a:lnTo>
                    <a:pt x="24" y="67"/>
                  </a:lnTo>
                  <a:lnTo>
                    <a:pt x="24" y="67"/>
                  </a:lnTo>
                  <a:lnTo>
                    <a:pt x="24" y="67"/>
                  </a:lnTo>
                  <a:lnTo>
                    <a:pt x="24" y="65"/>
                  </a:lnTo>
                  <a:lnTo>
                    <a:pt x="24" y="65"/>
                  </a:lnTo>
                  <a:lnTo>
                    <a:pt x="24" y="65"/>
                  </a:lnTo>
                  <a:lnTo>
                    <a:pt x="24" y="65"/>
                  </a:lnTo>
                  <a:lnTo>
                    <a:pt x="24" y="65"/>
                  </a:lnTo>
                  <a:lnTo>
                    <a:pt x="21" y="65"/>
                  </a:lnTo>
                  <a:lnTo>
                    <a:pt x="21" y="63"/>
                  </a:lnTo>
                  <a:lnTo>
                    <a:pt x="24" y="60"/>
                  </a:lnTo>
                  <a:lnTo>
                    <a:pt x="24" y="60"/>
                  </a:lnTo>
                  <a:lnTo>
                    <a:pt x="24" y="60"/>
                  </a:lnTo>
                  <a:lnTo>
                    <a:pt x="24" y="58"/>
                  </a:lnTo>
                  <a:lnTo>
                    <a:pt x="24" y="58"/>
                  </a:lnTo>
                  <a:lnTo>
                    <a:pt x="24" y="58"/>
                  </a:lnTo>
                  <a:lnTo>
                    <a:pt x="24" y="58"/>
                  </a:lnTo>
                  <a:lnTo>
                    <a:pt x="24" y="56"/>
                  </a:lnTo>
                  <a:lnTo>
                    <a:pt x="24" y="56"/>
                  </a:lnTo>
                  <a:lnTo>
                    <a:pt x="24" y="56"/>
                  </a:lnTo>
                  <a:lnTo>
                    <a:pt x="24" y="56"/>
                  </a:lnTo>
                  <a:lnTo>
                    <a:pt x="24" y="56"/>
                  </a:lnTo>
                  <a:lnTo>
                    <a:pt x="24" y="56"/>
                  </a:lnTo>
                  <a:lnTo>
                    <a:pt x="26" y="56"/>
                  </a:lnTo>
                  <a:lnTo>
                    <a:pt x="26" y="56"/>
                  </a:lnTo>
                  <a:lnTo>
                    <a:pt x="26" y="53"/>
                  </a:lnTo>
                  <a:lnTo>
                    <a:pt x="26" y="53"/>
                  </a:lnTo>
                  <a:lnTo>
                    <a:pt x="26" y="53"/>
                  </a:lnTo>
                  <a:lnTo>
                    <a:pt x="26" y="51"/>
                  </a:lnTo>
                  <a:lnTo>
                    <a:pt x="26" y="51"/>
                  </a:lnTo>
                  <a:lnTo>
                    <a:pt x="26" y="49"/>
                  </a:lnTo>
                  <a:lnTo>
                    <a:pt x="26" y="49"/>
                  </a:lnTo>
                  <a:lnTo>
                    <a:pt x="26" y="46"/>
                  </a:lnTo>
                  <a:lnTo>
                    <a:pt x="26" y="44"/>
                  </a:lnTo>
                  <a:lnTo>
                    <a:pt x="26" y="44"/>
                  </a:lnTo>
                  <a:lnTo>
                    <a:pt x="26" y="42"/>
                  </a:lnTo>
                  <a:lnTo>
                    <a:pt x="26" y="42"/>
                  </a:lnTo>
                  <a:lnTo>
                    <a:pt x="26" y="39"/>
                  </a:lnTo>
                  <a:lnTo>
                    <a:pt x="26" y="39"/>
                  </a:lnTo>
                  <a:lnTo>
                    <a:pt x="26" y="37"/>
                  </a:lnTo>
                  <a:lnTo>
                    <a:pt x="26" y="37"/>
                  </a:lnTo>
                  <a:lnTo>
                    <a:pt x="26" y="35"/>
                  </a:lnTo>
                  <a:lnTo>
                    <a:pt x="26" y="35"/>
                  </a:lnTo>
                  <a:lnTo>
                    <a:pt x="26" y="32"/>
                  </a:lnTo>
                  <a:lnTo>
                    <a:pt x="28" y="32"/>
                  </a:lnTo>
                  <a:lnTo>
                    <a:pt x="28" y="32"/>
                  </a:lnTo>
                  <a:lnTo>
                    <a:pt x="28" y="32"/>
                  </a:lnTo>
                  <a:lnTo>
                    <a:pt x="28" y="32"/>
                  </a:lnTo>
                  <a:lnTo>
                    <a:pt x="26" y="30"/>
                  </a:lnTo>
                  <a:lnTo>
                    <a:pt x="26" y="30"/>
                  </a:lnTo>
                  <a:lnTo>
                    <a:pt x="26" y="28"/>
                  </a:lnTo>
                  <a:lnTo>
                    <a:pt x="26" y="28"/>
                  </a:lnTo>
                  <a:lnTo>
                    <a:pt x="28" y="28"/>
                  </a:lnTo>
                  <a:lnTo>
                    <a:pt x="28" y="28"/>
                  </a:lnTo>
                  <a:lnTo>
                    <a:pt x="28" y="25"/>
                  </a:lnTo>
                  <a:lnTo>
                    <a:pt x="28" y="25"/>
                  </a:lnTo>
                  <a:lnTo>
                    <a:pt x="28" y="25"/>
                  </a:lnTo>
                  <a:lnTo>
                    <a:pt x="28" y="25"/>
                  </a:lnTo>
                  <a:lnTo>
                    <a:pt x="28" y="25"/>
                  </a:lnTo>
                  <a:lnTo>
                    <a:pt x="28" y="25"/>
                  </a:lnTo>
                  <a:lnTo>
                    <a:pt x="28" y="25"/>
                  </a:lnTo>
                  <a:lnTo>
                    <a:pt x="28" y="25"/>
                  </a:lnTo>
                  <a:lnTo>
                    <a:pt x="28" y="25"/>
                  </a:lnTo>
                  <a:lnTo>
                    <a:pt x="31" y="23"/>
                  </a:lnTo>
                  <a:lnTo>
                    <a:pt x="33" y="23"/>
                  </a:lnTo>
                  <a:lnTo>
                    <a:pt x="33" y="23"/>
                  </a:lnTo>
                  <a:lnTo>
                    <a:pt x="33" y="23"/>
                  </a:lnTo>
                  <a:lnTo>
                    <a:pt x="33" y="23"/>
                  </a:lnTo>
                  <a:lnTo>
                    <a:pt x="33" y="25"/>
                  </a:lnTo>
                  <a:lnTo>
                    <a:pt x="35" y="25"/>
                  </a:lnTo>
                  <a:lnTo>
                    <a:pt x="35" y="25"/>
                  </a:lnTo>
                  <a:lnTo>
                    <a:pt x="35" y="25"/>
                  </a:lnTo>
                  <a:lnTo>
                    <a:pt x="35" y="25"/>
                  </a:lnTo>
                  <a:lnTo>
                    <a:pt x="35" y="25"/>
                  </a:lnTo>
                  <a:lnTo>
                    <a:pt x="35" y="25"/>
                  </a:lnTo>
                  <a:lnTo>
                    <a:pt x="35" y="25"/>
                  </a:lnTo>
                  <a:lnTo>
                    <a:pt x="35" y="25"/>
                  </a:lnTo>
                  <a:lnTo>
                    <a:pt x="35" y="25"/>
                  </a:lnTo>
                  <a:lnTo>
                    <a:pt x="38" y="25"/>
                  </a:lnTo>
                  <a:lnTo>
                    <a:pt x="38" y="25"/>
                  </a:lnTo>
                  <a:lnTo>
                    <a:pt x="38" y="25"/>
                  </a:lnTo>
                  <a:lnTo>
                    <a:pt x="38" y="25"/>
                  </a:lnTo>
                  <a:lnTo>
                    <a:pt x="38" y="25"/>
                  </a:lnTo>
                  <a:lnTo>
                    <a:pt x="38" y="25"/>
                  </a:lnTo>
                  <a:lnTo>
                    <a:pt x="38" y="25"/>
                  </a:lnTo>
                  <a:lnTo>
                    <a:pt x="38" y="25"/>
                  </a:lnTo>
                  <a:lnTo>
                    <a:pt x="38" y="25"/>
                  </a:lnTo>
                  <a:lnTo>
                    <a:pt x="38" y="25"/>
                  </a:lnTo>
                  <a:lnTo>
                    <a:pt x="38" y="28"/>
                  </a:lnTo>
                  <a:lnTo>
                    <a:pt x="38" y="28"/>
                  </a:lnTo>
                  <a:lnTo>
                    <a:pt x="38" y="28"/>
                  </a:lnTo>
                  <a:lnTo>
                    <a:pt x="40" y="30"/>
                  </a:lnTo>
                  <a:lnTo>
                    <a:pt x="40" y="30"/>
                  </a:lnTo>
                  <a:lnTo>
                    <a:pt x="40" y="30"/>
                  </a:lnTo>
                  <a:lnTo>
                    <a:pt x="40" y="30"/>
                  </a:lnTo>
                  <a:lnTo>
                    <a:pt x="42" y="30"/>
                  </a:lnTo>
                  <a:lnTo>
                    <a:pt x="42" y="30"/>
                  </a:lnTo>
                  <a:lnTo>
                    <a:pt x="42" y="28"/>
                  </a:lnTo>
                  <a:lnTo>
                    <a:pt x="45" y="28"/>
                  </a:lnTo>
                  <a:lnTo>
                    <a:pt x="45" y="28"/>
                  </a:lnTo>
                  <a:lnTo>
                    <a:pt x="45" y="25"/>
                  </a:lnTo>
                  <a:lnTo>
                    <a:pt x="45" y="25"/>
                  </a:lnTo>
                  <a:lnTo>
                    <a:pt x="47" y="25"/>
                  </a:lnTo>
                  <a:lnTo>
                    <a:pt x="47" y="25"/>
                  </a:lnTo>
                  <a:lnTo>
                    <a:pt x="47" y="23"/>
                  </a:lnTo>
                  <a:lnTo>
                    <a:pt x="47" y="23"/>
                  </a:lnTo>
                  <a:lnTo>
                    <a:pt x="47" y="23"/>
                  </a:lnTo>
                  <a:lnTo>
                    <a:pt x="47" y="21"/>
                  </a:lnTo>
                  <a:lnTo>
                    <a:pt x="47" y="21"/>
                  </a:lnTo>
                  <a:lnTo>
                    <a:pt x="47" y="19"/>
                  </a:lnTo>
                  <a:lnTo>
                    <a:pt x="47" y="16"/>
                  </a:lnTo>
                  <a:lnTo>
                    <a:pt x="49" y="14"/>
                  </a:lnTo>
                  <a:lnTo>
                    <a:pt x="49" y="12"/>
                  </a:lnTo>
                  <a:lnTo>
                    <a:pt x="49" y="9"/>
                  </a:lnTo>
                  <a:lnTo>
                    <a:pt x="49" y="7"/>
                  </a:lnTo>
                  <a:lnTo>
                    <a:pt x="49" y="7"/>
                  </a:lnTo>
                  <a:lnTo>
                    <a:pt x="49" y="5"/>
                  </a:lnTo>
                  <a:lnTo>
                    <a:pt x="52" y="2"/>
                  </a:lnTo>
                  <a:lnTo>
                    <a:pt x="52" y="2"/>
                  </a:lnTo>
                  <a:lnTo>
                    <a:pt x="52" y="0"/>
                  </a:lnTo>
                  <a:lnTo>
                    <a:pt x="52" y="0"/>
                  </a:lnTo>
                  <a:lnTo>
                    <a:pt x="54" y="2"/>
                  </a:lnTo>
                  <a:lnTo>
                    <a:pt x="59" y="2"/>
                  </a:lnTo>
                  <a:lnTo>
                    <a:pt x="63" y="2"/>
                  </a:lnTo>
                  <a:lnTo>
                    <a:pt x="68" y="5"/>
                  </a:lnTo>
                  <a:lnTo>
                    <a:pt x="70" y="5"/>
                  </a:lnTo>
                  <a:lnTo>
                    <a:pt x="75" y="5"/>
                  </a:lnTo>
                  <a:lnTo>
                    <a:pt x="79" y="7"/>
                  </a:lnTo>
                  <a:lnTo>
                    <a:pt x="82" y="7"/>
                  </a:lnTo>
                  <a:lnTo>
                    <a:pt x="86" y="7"/>
                  </a:lnTo>
                  <a:lnTo>
                    <a:pt x="91" y="9"/>
                  </a:lnTo>
                  <a:lnTo>
                    <a:pt x="93" y="9"/>
                  </a:lnTo>
                  <a:lnTo>
                    <a:pt x="98" y="9"/>
                  </a:lnTo>
                  <a:lnTo>
                    <a:pt x="103" y="12"/>
                  </a:lnTo>
                  <a:lnTo>
                    <a:pt x="105" y="12"/>
                  </a:lnTo>
                  <a:lnTo>
                    <a:pt x="110" y="12"/>
                  </a:lnTo>
                  <a:lnTo>
                    <a:pt x="114" y="14"/>
                  </a:lnTo>
                  <a:lnTo>
                    <a:pt x="117" y="14"/>
                  </a:lnTo>
                  <a:lnTo>
                    <a:pt x="121" y="14"/>
                  </a:lnTo>
                  <a:lnTo>
                    <a:pt x="126" y="14"/>
                  </a:lnTo>
                  <a:lnTo>
                    <a:pt x="131" y="16"/>
                  </a:lnTo>
                  <a:lnTo>
                    <a:pt x="133" y="16"/>
                  </a:lnTo>
                  <a:lnTo>
                    <a:pt x="138" y="16"/>
                  </a:lnTo>
                  <a:lnTo>
                    <a:pt x="142" y="19"/>
                  </a:lnTo>
                  <a:lnTo>
                    <a:pt x="145" y="19"/>
                  </a:lnTo>
                  <a:lnTo>
                    <a:pt x="149" y="19"/>
                  </a:lnTo>
                  <a:lnTo>
                    <a:pt x="154" y="19"/>
                  </a:lnTo>
                  <a:lnTo>
                    <a:pt x="156" y="21"/>
                  </a:lnTo>
                  <a:lnTo>
                    <a:pt x="161" y="21"/>
                  </a:lnTo>
                  <a:lnTo>
                    <a:pt x="166" y="21"/>
                  </a:lnTo>
                  <a:lnTo>
                    <a:pt x="168" y="23"/>
                  </a:lnTo>
                  <a:lnTo>
                    <a:pt x="173" y="23"/>
                  </a:lnTo>
                  <a:lnTo>
                    <a:pt x="177" y="2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776">
              <a:extLst>
                <a:ext uri="{FF2B5EF4-FFF2-40B4-BE49-F238E27FC236}">
                  <a16:creationId xmlns:a16="http://schemas.microsoft.com/office/drawing/2014/main" id="{200C4185-C712-4CDE-8D7F-E60F0A731AF6}"/>
                </a:ext>
              </a:extLst>
            </p:cNvPr>
            <p:cNvSpPr>
              <a:spLocks noEditPoints="1"/>
            </p:cNvSpPr>
            <p:nvPr/>
          </p:nvSpPr>
          <p:spPr bwMode="auto">
            <a:xfrm>
              <a:off x="5484019" y="4419601"/>
              <a:ext cx="319088" cy="554038"/>
            </a:xfrm>
            <a:custGeom>
              <a:avLst/>
              <a:gdLst>
                <a:gd name="T0" fmla="*/ 75 w 201"/>
                <a:gd name="T1" fmla="*/ 321 h 349"/>
                <a:gd name="T2" fmla="*/ 52 w 201"/>
                <a:gd name="T3" fmla="*/ 300 h 349"/>
                <a:gd name="T4" fmla="*/ 82 w 201"/>
                <a:gd name="T5" fmla="*/ 307 h 349"/>
                <a:gd name="T6" fmla="*/ 47 w 201"/>
                <a:gd name="T7" fmla="*/ 275 h 349"/>
                <a:gd name="T8" fmla="*/ 42 w 201"/>
                <a:gd name="T9" fmla="*/ 275 h 349"/>
                <a:gd name="T10" fmla="*/ 38 w 201"/>
                <a:gd name="T11" fmla="*/ 272 h 349"/>
                <a:gd name="T12" fmla="*/ 52 w 201"/>
                <a:gd name="T13" fmla="*/ 279 h 349"/>
                <a:gd name="T14" fmla="*/ 107 w 201"/>
                <a:gd name="T15" fmla="*/ 58 h 349"/>
                <a:gd name="T16" fmla="*/ 94 w 201"/>
                <a:gd name="T17" fmla="*/ 109 h 349"/>
                <a:gd name="T18" fmla="*/ 117 w 201"/>
                <a:gd name="T19" fmla="*/ 161 h 349"/>
                <a:gd name="T20" fmla="*/ 149 w 201"/>
                <a:gd name="T21" fmla="*/ 212 h 349"/>
                <a:gd name="T22" fmla="*/ 177 w 201"/>
                <a:gd name="T23" fmla="*/ 256 h 349"/>
                <a:gd name="T24" fmla="*/ 196 w 201"/>
                <a:gd name="T25" fmla="*/ 291 h 349"/>
                <a:gd name="T26" fmla="*/ 198 w 201"/>
                <a:gd name="T27" fmla="*/ 307 h 349"/>
                <a:gd name="T28" fmla="*/ 189 w 201"/>
                <a:gd name="T29" fmla="*/ 319 h 349"/>
                <a:gd name="T30" fmla="*/ 180 w 201"/>
                <a:gd name="T31" fmla="*/ 331 h 349"/>
                <a:gd name="T32" fmla="*/ 182 w 201"/>
                <a:gd name="T33" fmla="*/ 345 h 349"/>
                <a:gd name="T34" fmla="*/ 161 w 201"/>
                <a:gd name="T35" fmla="*/ 349 h 349"/>
                <a:gd name="T36" fmla="*/ 142 w 201"/>
                <a:gd name="T37" fmla="*/ 345 h 349"/>
                <a:gd name="T38" fmla="*/ 121 w 201"/>
                <a:gd name="T39" fmla="*/ 342 h 349"/>
                <a:gd name="T40" fmla="*/ 110 w 201"/>
                <a:gd name="T41" fmla="*/ 335 h 349"/>
                <a:gd name="T42" fmla="*/ 107 w 201"/>
                <a:gd name="T43" fmla="*/ 331 h 349"/>
                <a:gd name="T44" fmla="*/ 103 w 201"/>
                <a:gd name="T45" fmla="*/ 310 h 349"/>
                <a:gd name="T46" fmla="*/ 87 w 201"/>
                <a:gd name="T47" fmla="*/ 296 h 349"/>
                <a:gd name="T48" fmla="*/ 77 w 201"/>
                <a:gd name="T49" fmla="*/ 284 h 349"/>
                <a:gd name="T50" fmla="*/ 68 w 201"/>
                <a:gd name="T51" fmla="*/ 272 h 349"/>
                <a:gd name="T52" fmla="*/ 54 w 201"/>
                <a:gd name="T53" fmla="*/ 263 h 349"/>
                <a:gd name="T54" fmla="*/ 38 w 201"/>
                <a:gd name="T55" fmla="*/ 254 h 349"/>
                <a:gd name="T56" fmla="*/ 40 w 201"/>
                <a:gd name="T57" fmla="*/ 238 h 349"/>
                <a:gd name="T58" fmla="*/ 38 w 201"/>
                <a:gd name="T59" fmla="*/ 224 h 349"/>
                <a:gd name="T60" fmla="*/ 28 w 201"/>
                <a:gd name="T61" fmla="*/ 210 h 349"/>
                <a:gd name="T62" fmla="*/ 21 w 201"/>
                <a:gd name="T63" fmla="*/ 193 h 349"/>
                <a:gd name="T64" fmla="*/ 24 w 201"/>
                <a:gd name="T65" fmla="*/ 182 h 349"/>
                <a:gd name="T66" fmla="*/ 21 w 201"/>
                <a:gd name="T67" fmla="*/ 168 h 349"/>
                <a:gd name="T68" fmla="*/ 17 w 201"/>
                <a:gd name="T69" fmla="*/ 151 h 349"/>
                <a:gd name="T70" fmla="*/ 21 w 201"/>
                <a:gd name="T71" fmla="*/ 147 h 349"/>
                <a:gd name="T72" fmla="*/ 26 w 201"/>
                <a:gd name="T73" fmla="*/ 149 h 349"/>
                <a:gd name="T74" fmla="*/ 24 w 201"/>
                <a:gd name="T75" fmla="*/ 137 h 349"/>
                <a:gd name="T76" fmla="*/ 33 w 201"/>
                <a:gd name="T77" fmla="*/ 137 h 349"/>
                <a:gd name="T78" fmla="*/ 45 w 201"/>
                <a:gd name="T79" fmla="*/ 140 h 349"/>
                <a:gd name="T80" fmla="*/ 38 w 201"/>
                <a:gd name="T81" fmla="*/ 137 h 349"/>
                <a:gd name="T82" fmla="*/ 33 w 201"/>
                <a:gd name="T83" fmla="*/ 135 h 349"/>
                <a:gd name="T84" fmla="*/ 24 w 201"/>
                <a:gd name="T85" fmla="*/ 130 h 349"/>
                <a:gd name="T86" fmla="*/ 21 w 201"/>
                <a:gd name="T87" fmla="*/ 140 h 349"/>
                <a:gd name="T88" fmla="*/ 12 w 201"/>
                <a:gd name="T89" fmla="*/ 133 h 349"/>
                <a:gd name="T90" fmla="*/ 12 w 201"/>
                <a:gd name="T91" fmla="*/ 126 h 349"/>
                <a:gd name="T92" fmla="*/ 12 w 201"/>
                <a:gd name="T93" fmla="*/ 123 h 349"/>
                <a:gd name="T94" fmla="*/ 7 w 201"/>
                <a:gd name="T95" fmla="*/ 112 h 349"/>
                <a:gd name="T96" fmla="*/ 3 w 201"/>
                <a:gd name="T97" fmla="*/ 93 h 349"/>
                <a:gd name="T98" fmla="*/ 7 w 201"/>
                <a:gd name="T99" fmla="*/ 77 h 349"/>
                <a:gd name="T100" fmla="*/ 5 w 201"/>
                <a:gd name="T101" fmla="*/ 61 h 349"/>
                <a:gd name="T102" fmla="*/ 0 w 201"/>
                <a:gd name="T103" fmla="*/ 49 h 349"/>
                <a:gd name="T104" fmla="*/ 7 w 201"/>
                <a:gd name="T105" fmla="*/ 37 h 349"/>
                <a:gd name="T106" fmla="*/ 12 w 201"/>
                <a:gd name="T107" fmla="*/ 30 h 349"/>
                <a:gd name="T108" fmla="*/ 19 w 201"/>
                <a:gd name="T109" fmla="*/ 14 h 349"/>
                <a:gd name="T110" fmla="*/ 26 w 201"/>
                <a:gd name="T111" fmla="*/ 2 h 349"/>
                <a:gd name="T112" fmla="*/ 80 w 201"/>
                <a:gd name="T113" fmla="*/ 1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 h="349">
                  <a:moveTo>
                    <a:pt x="75" y="314"/>
                  </a:moveTo>
                  <a:lnTo>
                    <a:pt x="75" y="317"/>
                  </a:lnTo>
                  <a:lnTo>
                    <a:pt x="77" y="319"/>
                  </a:lnTo>
                  <a:lnTo>
                    <a:pt x="77" y="321"/>
                  </a:lnTo>
                  <a:lnTo>
                    <a:pt x="80" y="321"/>
                  </a:lnTo>
                  <a:lnTo>
                    <a:pt x="80" y="324"/>
                  </a:lnTo>
                  <a:lnTo>
                    <a:pt x="77" y="324"/>
                  </a:lnTo>
                  <a:lnTo>
                    <a:pt x="77" y="321"/>
                  </a:lnTo>
                  <a:lnTo>
                    <a:pt x="75" y="321"/>
                  </a:lnTo>
                  <a:lnTo>
                    <a:pt x="77" y="321"/>
                  </a:lnTo>
                  <a:lnTo>
                    <a:pt x="75" y="321"/>
                  </a:lnTo>
                  <a:lnTo>
                    <a:pt x="75" y="319"/>
                  </a:lnTo>
                  <a:lnTo>
                    <a:pt x="75" y="317"/>
                  </a:lnTo>
                  <a:lnTo>
                    <a:pt x="75" y="314"/>
                  </a:lnTo>
                  <a:close/>
                  <a:moveTo>
                    <a:pt x="54" y="300"/>
                  </a:moveTo>
                  <a:lnTo>
                    <a:pt x="54" y="303"/>
                  </a:lnTo>
                  <a:lnTo>
                    <a:pt x="52" y="303"/>
                  </a:lnTo>
                  <a:lnTo>
                    <a:pt x="52" y="300"/>
                  </a:lnTo>
                  <a:lnTo>
                    <a:pt x="54" y="300"/>
                  </a:lnTo>
                  <a:close/>
                  <a:moveTo>
                    <a:pt x="80" y="303"/>
                  </a:moveTo>
                  <a:lnTo>
                    <a:pt x="82" y="303"/>
                  </a:lnTo>
                  <a:lnTo>
                    <a:pt x="82" y="305"/>
                  </a:lnTo>
                  <a:lnTo>
                    <a:pt x="84" y="305"/>
                  </a:lnTo>
                  <a:lnTo>
                    <a:pt x="84" y="307"/>
                  </a:lnTo>
                  <a:lnTo>
                    <a:pt x="84" y="310"/>
                  </a:lnTo>
                  <a:lnTo>
                    <a:pt x="84" y="307"/>
                  </a:lnTo>
                  <a:lnTo>
                    <a:pt x="82" y="307"/>
                  </a:lnTo>
                  <a:lnTo>
                    <a:pt x="80" y="307"/>
                  </a:lnTo>
                  <a:lnTo>
                    <a:pt x="80" y="305"/>
                  </a:lnTo>
                  <a:lnTo>
                    <a:pt x="82" y="305"/>
                  </a:lnTo>
                  <a:lnTo>
                    <a:pt x="80" y="305"/>
                  </a:lnTo>
                  <a:lnTo>
                    <a:pt x="80" y="303"/>
                  </a:lnTo>
                  <a:close/>
                  <a:moveTo>
                    <a:pt x="91" y="296"/>
                  </a:moveTo>
                  <a:lnTo>
                    <a:pt x="89" y="296"/>
                  </a:lnTo>
                  <a:lnTo>
                    <a:pt x="91" y="296"/>
                  </a:lnTo>
                  <a:close/>
                  <a:moveTo>
                    <a:pt x="47" y="275"/>
                  </a:moveTo>
                  <a:lnTo>
                    <a:pt x="45" y="275"/>
                  </a:lnTo>
                  <a:lnTo>
                    <a:pt x="47" y="275"/>
                  </a:lnTo>
                  <a:lnTo>
                    <a:pt x="47" y="277"/>
                  </a:lnTo>
                  <a:lnTo>
                    <a:pt x="45" y="277"/>
                  </a:lnTo>
                  <a:lnTo>
                    <a:pt x="42" y="277"/>
                  </a:lnTo>
                  <a:lnTo>
                    <a:pt x="42" y="275"/>
                  </a:lnTo>
                  <a:lnTo>
                    <a:pt x="40" y="275"/>
                  </a:lnTo>
                  <a:lnTo>
                    <a:pt x="40" y="272"/>
                  </a:lnTo>
                  <a:lnTo>
                    <a:pt x="42" y="275"/>
                  </a:lnTo>
                  <a:lnTo>
                    <a:pt x="45" y="275"/>
                  </a:lnTo>
                  <a:lnTo>
                    <a:pt x="47" y="275"/>
                  </a:lnTo>
                  <a:close/>
                  <a:moveTo>
                    <a:pt x="38" y="272"/>
                  </a:moveTo>
                  <a:lnTo>
                    <a:pt x="40" y="272"/>
                  </a:lnTo>
                  <a:lnTo>
                    <a:pt x="38" y="272"/>
                  </a:lnTo>
                  <a:lnTo>
                    <a:pt x="35" y="272"/>
                  </a:lnTo>
                  <a:lnTo>
                    <a:pt x="35" y="270"/>
                  </a:lnTo>
                  <a:lnTo>
                    <a:pt x="38" y="270"/>
                  </a:lnTo>
                  <a:lnTo>
                    <a:pt x="38" y="272"/>
                  </a:lnTo>
                  <a:close/>
                  <a:moveTo>
                    <a:pt x="52" y="275"/>
                  </a:moveTo>
                  <a:lnTo>
                    <a:pt x="54" y="275"/>
                  </a:lnTo>
                  <a:lnTo>
                    <a:pt x="54" y="277"/>
                  </a:lnTo>
                  <a:lnTo>
                    <a:pt x="56" y="277"/>
                  </a:lnTo>
                  <a:lnTo>
                    <a:pt x="59" y="277"/>
                  </a:lnTo>
                  <a:lnTo>
                    <a:pt x="59" y="279"/>
                  </a:lnTo>
                  <a:lnTo>
                    <a:pt x="56" y="279"/>
                  </a:lnTo>
                  <a:lnTo>
                    <a:pt x="54" y="279"/>
                  </a:lnTo>
                  <a:lnTo>
                    <a:pt x="52" y="279"/>
                  </a:lnTo>
                  <a:lnTo>
                    <a:pt x="52" y="277"/>
                  </a:lnTo>
                  <a:lnTo>
                    <a:pt x="49" y="277"/>
                  </a:lnTo>
                  <a:lnTo>
                    <a:pt x="49" y="275"/>
                  </a:lnTo>
                  <a:lnTo>
                    <a:pt x="52" y="275"/>
                  </a:lnTo>
                  <a:close/>
                  <a:moveTo>
                    <a:pt x="114" y="35"/>
                  </a:moveTo>
                  <a:lnTo>
                    <a:pt x="112" y="42"/>
                  </a:lnTo>
                  <a:lnTo>
                    <a:pt x="112" y="47"/>
                  </a:lnTo>
                  <a:lnTo>
                    <a:pt x="110" y="51"/>
                  </a:lnTo>
                  <a:lnTo>
                    <a:pt x="107" y="58"/>
                  </a:lnTo>
                  <a:lnTo>
                    <a:pt x="107" y="63"/>
                  </a:lnTo>
                  <a:lnTo>
                    <a:pt x="105" y="70"/>
                  </a:lnTo>
                  <a:lnTo>
                    <a:pt x="103" y="75"/>
                  </a:lnTo>
                  <a:lnTo>
                    <a:pt x="103" y="82"/>
                  </a:lnTo>
                  <a:lnTo>
                    <a:pt x="101" y="86"/>
                  </a:lnTo>
                  <a:lnTo>
                    <a:pt x="98" y="91"/>
                  </a:lnTo>
                  <a:lnTo>
                    <a:pt x="98" y="98"/>
                  </a:lnTo>
                  <a:lnTo>
                    <a:pt x="96" y="102"/>
                  </a:lnTo>
                  <a:lnTo>
                    <a:pt x="94" y="109"/>
                  </a:lnTo>
                  <a:lnTo>
                    <a:pt x="94" y="114"/>
                  </a:lnTo>
                  <a:lnTo>
                    <a:pt x="91" y="119"/>
                  </a:lnTo>
                  <a:lnTo>
                    <a:pt x="91" y="121"/>
                  </a:lnTo>
                  <a:lnTo>
                    <a:pt x="94" y="128"/>
                  </a:lnTo>
                  <a:lnTo>
                    <a:pt x="98" y="135"/>
                  </a:lnTo>
                  <a:lnTo>
                    <a:pt x="103" y="142"/>
                  </a:lnTo>
                  <a:lnTo>
                    <a:pt x="107" y="149"/>
                  </a:lnTo>
                  <a:lnTo>
                    <a:pt x="112" y="154"/>
                  </a:lnTo>
                  <a:lnTo>
                    <a:pt x="117" y="161"/>
                  </a:lnTo>
                  <a:lnTo>
                    <a:pt x="121" y="168"/>
                  </a:lnTo>
                  <a:lnTo>
                    <a:pt x="124" y="175"/>
                  </a:lnTo>
                  <a:lnTo>
                    <a:pt x="128" y="179"/>
                  </a:lnTo>
                  <a:lnTo>
                    <a:pt x="131" y="186"/>
                  </a:lnTo>
                  <a:lnTo>
                    <a:pt x="135" y="191"/>
                  </a:lnTo>
                  <a:lnTo>
                    <a:pt x="138" y="196"/>
                  </a:lnTo>
                  <a:lnTo>
                    <a:pt x="142" y="203"/>
                  </a:lnTo>
                  <a:lnTo>
                    <a:pt x="145" y="207"/>
                  </a:lnTo>
                  <a:lnTo>
                    <a:pt x="149" y="212"/>
                  </a:lnTo>
                  <a:lnTo>
                    <a:pt x="152" y="217"/>
                  </a:lnTo>
                  <a:lnTo>
                    <a:pt x="156" y="224"/>
                  </a:lnTo>
                  <a:lnTo>
                    <a:pt x="159" y="228"/>
                  </a:lnTo>
                  <a:lnTo>
                    <a:pt x="161" y="233"/>
                  </a:lnTo>
                  <a:lnTo>
                    <a:pt x="166" y="238"/>
                  </a:lnTo>
                  <a:lnTo>
                    <a:pt x="168" y="242"/>
                  </a:lnTo>
                  <a:lnTo>
                    <a:pt x="170" y="247"/>
                  </a:lnTo>
                  <a:lnTo>
                    <a:pt x="175" y="251"/>
                  </a:lnTo>
                  <a:lnTo>
                    <a:pt x="177" y="256"/>
                  </a:lnTo>
                  <a:lnTo>
                    <a:pt x="182" y="263"/>
                  </a:lnTo>
                  <a:lnTo>
                    <a:pt x="184" y="268"/>
                  </a:lnTo>
                  <a:lnTo>
                    <a:pt x="189" y="272"/>
                  </a:lnTo>
                  <a:lnTo>
                    <a:pt x="194" y="279"/>
                  </a:lnTo>
                  <a:lnTo>
                    <a:pt x="191" y="282"/>
                  </a:lnTo>
                  <a:lnTo>
                    <a:pt x="191" y="284"/>
                  </a:lnTo>
                  <a:lnTo>
                    <a:pt x="194" y="284"/>
                  </a:lnTo>
                  <a:lnTo>
                    <a:pt x="194" y="286"/>
                  </a:lnTo>
                  <a:lnTo>
                    <a:pt x="196" y="291"/>
                  </a:lnTo>
                  <a:lnTo>
                    <a:pt x="196" y="293"/>
                  </a:lnTo>
                  <a:lnTo>
                    <a:pt x="196" y="296"/>
                  </a:lnTo>
                  <a:lnTo>
                    <a:pt x="196" y="298"/>
                  </a:lnTo>
                  <a:lnTo>
                    <a:pt x="198" y="298"/>
                  </a:lnTo>
                  <a:lnTo>
                    <a:pt x="201" y="300"/>
                  </a:lnTo>
                  <a:lnTo>
                    <a:pt x="201" y="303"/>
                  </a:lnTo>
                  <a:lnTo>
                    <a:pt x="201" y="305"/>
                  </a:lnTo>
                  <a:lnTo>
                    <a:pt x="198" y="305"/>
                  </a:lnTo>
                  <a:lnTo>
                    <a:pt x="198" y="307"/>
                  </a:lnTo>
                  <a:lnTo>
                    <a:pt x="194" y="307"/>
                  </a:lnTo>
                  <a:lnTo>
                    <a:pt x="191" y="310"/>
                  </a:lnTo>
                  <a:lnTo>
                    <a:pt x="191" y="312"/>
                  </a:lnTo>
                  <a:lnTo>
                    <a:pt x="189" y="312"/>
                  </a:lnTo>
                  <a:lnTo>
                    <a:pt x="189" y="314"/>
                  </a:lnTo>
                  <a:lnTo>
                    <a:pt x="189" y="317"/>
                  </a:lnTo>
                  <a:lnTo>
                    <a:pt x="187" y="317"/>
                  </a:lnTo>
                  <a:lnTo>
                    <a:pt x="189" y="317"/>
                  </a:lnTo>
                  <a:lnTo>
                    <a:pt x="189" y="319"/>
                  </a:lnTo>
                  <a:lnTo>
                    <a:pt x="187" y="319"/>
                  </a:lnTo>
                  <a:lnTo>
                    <a:pt x="189" y="319"/>
                  </a:lnTo>
                  <a:lnTo>
                    <a:pt x="187" y="319"/>
                  </a:lnTo>
                  <a:lnTo>
                    <a:pt x="187" y="321"/>
                  </a:lnTo>
                  <a:lnTo>
                    <a:pt x="187" y="324"/>
                  </a:lnTo>
                  <a:lnTo>
                    <a:pt x="184" y="326"/>
                  </a:lnTo>
                  <a:lnTo>
                    <a:pt x="182" y="328"/>
                  </a:lnTo>
                  <a:lnTo>
                    <a:pt x="180" y="328"/>
                  </a:lnTo>
                  <a:lnTo>
                    <a:pt x="180" y="331"/>
                  </a:lnTo>
                  <a:lnTo>
                    <a:pt x="180" y="333"/>
                  </a:lnTo>
                  <a:lnTo>
                    <a:pt x="180" y="335"/>
                  </a:lnTo>
                  <a:lnTo>
                    <a:pt x="177" y="338"/>
                  </a:lnTo>
                  <a:lnTo>
                    <a:pt x="180" y="340"/>
                  </a:lnTo>
                  <a:lnTo>
                    <a:pt x="182" y="340"/>
                  </a:lnTo>
                  <a:lnTo>
                    <a:pt x="182" y="342"/>
                  </a:lnTo>
                  <a:lnTo>
                    <a:pt x="184" y="342"/>
                  </a:lnTo>
                  <a:lnTo>
                    <a:pt x="184" y="345"/>
                  </a:lnTo>
                  <a:lnTo>
                    <a:pt x="182" y="345"/>
                  </a:lnTo>
                  <a:lnTo>
                    <a:pt x="182" y="347"/>
                  </a:lnTo>
                  <a:lnTo>
                    <a:pt x="180" y="349"/>
                  </a:lnTo>
                  <a:lnTo>
                    <a:pt x="175" y="349"/>
                  </a:lnTo>
                  <a:lnTo>
                    <a:pt x="173" y="349"/>
                  </a:lnTo>
                  <a:lnTo>
                    <a:pt x="170" y="349"/>
                  </a:lnTo>
                  <a:lnTo>
                    <a:pt x="168" y="349"/>
                  </a:lnTo>
                  <a:lnTo>
                    <a:pt x="166" y="349"/>
                  </a:lnTo>
                  <a:lnTo>
                    <a:pt x="163" y="349"/>
                  </a:lnTo>
                  <a:lnTo>
                    <a:pt x="161" y="349"/>
                  </a:lnTo>
                  <a:lnTo>
                    <a:pt x="159" y="349"/>
                  </a:lnTo>
                  <a:lnTo>
                    <a:pt x="159" y="347"/>
                  </a:lnTo>
                  <a:lnTo>
                    <a:pt x="156" y="347"/>
                  </a:lnTo>
                  <a:lnTo>
                    <a:pt x="154" y="347"/>
                  </a:lnTo>
                  <a:lnTo>
                    <a:pt x="152" y="347"/>
                  </a:lnTo>
                  <a:lnTo>
                    <a:pt x="149" y="347"/>
                  </a:lnTo>
                  <a:lnTo>
                    <a:pt x="147" y="347"/>
                  </a:lnTo>
                  <a:lnTo>
                    <a:pt x="145" y="347"/>
                  </a:lnTo>
                  <a:lnTo>
                    <a:pt x="142" y="345"/>
                  </a:lnTo>
                  <a:lnTo>
                    <a:pt x="140" y="345"/>
                  </a:lnTo>
                  <a:lnTo>
                    <a:pt x="138" y="345"/>
                  </a:lnTo>
                  <a:lnTo>
                    <a:pt x="135" y="345"/>
                  </a:lnTo>
                  <a:lnTo>
                    <a:pt x="133" y="345"/>
                  </a:lnTo>
                  <a:lnTo>
                    <a:pt x="131" y="345"/>
                  </a:lnTo>
                  <a:lnTo>
                    <a:pt x="128" y="345"/>
                  </a:lnTo>
                  <a:lnTo>
                    <a:pt x="126" y="342"/>
                  </a:lnTo>
                  <a:lnTo>
                    <a:pt x="124" y="342"/>
                  </a:lnTo>
                  <a:lnTo>
                    <a:pt x="121" y="342"/>
                  </a:lnTo>
                  <a:lnTo>
                    <a:pt x="119" y="342"/>
                  </a:lnTo>
                  <a:lnTo>
                    <a:pt x="117" y="342"/>
                  </a:lnTo>
                  <a:lnTo>
                    <a:pt x="114" y="342"/>
                  </a:lnTo>
                  <a:lnTo>
                    <a:pt x="112" y="342"/>
                  </a:lnTo>
                  <a:lnTo>
                    <a:pt x="110" y="340"/>
                  </a:lnTo>
                  <a:lnTo>
                    <a:pt x="110" y="338"/>
                  </a:lnTo>
                  <a:lnTo>
                    <a:pt x="110" y="335"/>
                  </a:lnTo>
                  <a:lnTo>
                    <a:pt x="107" y="335"/>
                  </a:lnTo>
                  <a:lnTo>
                    <a:pt x="110" y="335"/>
                  </a:lnTo>
                  <a:lnTo>
                    <a:pt x="110" y="338"/>
                  </a:lnTo>
                  <a:lnTo>
                    <a:pt x="110" y="340"/>
                  </a:lnTo>
                  <a:lnTo>
                    <a:pt x="112" y="338"/>
                  </a:lnTo>
                  <a:lnTo>
                    <a:pt x="110" y="338"/>
                  </a:lnTo>
                  <a:lnTo>
                    <a:pt x="112" y="338"/>
                  </a:lnTo>
                  <a:lnTo>
                    <a:pt x="110" y="335"/>
                  </a:lnTo>
                  <a:lnTo>
                    <a:pt x="107" y="335"/>
                  </a:lnTo>
                  <a:lnTo>
                    <a:pt x="107" y="333"/>
                  </a:lnTo>
                  <a:lnTo>
                    <a:pt x="107" y="331"/>
                  </a:lnTo>
                  <a:lnTo>
                    <a:pt x="110" y="331"/>
                  </a:lnTo>
                  <a:lnTo>
                    <a:pt x="110" y="328"/>
                  </a:lnTo>
                  <a:lnTo>
                    <a:pt x="110" y="326"/>
                  </a:lnTo>
                  <a:lnTo>
                    <a:pt x="110" y="324"/>
                  </a:lnTo>
                  <a:lnTo>
                    <a:pt x="110" y="321"/>
                  </a:lnTo>
                  <a:lnTo>
                    <a:pt x="107" y="319"/>
                  </a:lnTo>
                  <a:lnTo>
                    <a:pt x="105" y="314"/>
                  </a:lnTo>
                  <a:lnTo>
                    <a:pt x="105" y="312"/>
                  </a:lnTo>
                  <a:lnTo>
                    <a:pt x="103" y="310"/>
                  </a:lnTo>
                  <a:lnTo>
                    <a:pt x="101" y="307"/>
                  </a:lnTo>
                  <a:lnTo>
                    <a:pt x="101" y="305"/>
                  </a:lnTo>
                  <a:lnTo>
                    <a:pt x="98" y="303"/>
                  </a:lnTo>
                  <a:lnTo>
                    <a:pt x="96" y="300"/>
                  </a:lnTo>
                  <a:lnTo>
                    <a:pt x="94" y="298"/>
                  </a:lnTo>
                  <a:lnTo>
                    <a:pt x="94" y="296"/>
                  </a:lnTo>
                  <a:lnTo>
                    <a:pt x="91" y="296"/>
                  </a:lnTo>
                  <a:lnTo>
                    <a:pt x="89" y="296"/>
                  </a:lnTo>
                  <a:lnTo>
                    <a:pt x="87" y="296"/>
                  </a:lnTo>
                  <a:lnTo>
                    <a:pt x="87" y="293"/>
                  </a:lnTo>
                  <a:lnTo>
                    <a:pt x="87" y="291"/>
                  </a:lnTo>
                  <a:lnTo>
                    <a:pt x="87" y="289"/>
                  </a:lnTo>
                  <a:lnTo>
                    <a:pt x="87" y="286"/>
                  </a:lnTo>
                  <a:lnTo>
                    <a:pt x="84" y="286"/>
                  </a:lnTo>
                  <a:lnTo>
                    <a:pt x="84" y="284"/>
                  </a:lnTo>
                  <a:lnTo>
                    <a:pt x="82" y="284"/>
                  </a:lnTo>
                  <a:lnTo>
                    <a:pt x="80" y="284"/>
                  </a:lnTo>
                  <a:lnTo>
                    <a:pt x="77" y="284"/>
                  </a:lnTo>
                  <a:lnTo>
                    <a:pt x="77" y="282"/>
                  </a:lnTo>
                  <a:lnTo>
                    <a:pt x="75" y="282"/>
                  </a:lnTo>
                  <a:lnTo>
                    <a:pt x="73" y="282"/>
                  </a:lnTo>
                  <a:lnTo>
                    <a:pt x="73" y="279"/>
                  </a:lnTo>
                  <a:lnTo>
                    <a:pt x="70" y="279"/>
                  </a:lnTo>
                  <a:lnTo>
                    <a:pt x="70" y="277"/>
                  </a:lnTo>
                  <a:lnTo>
                    <a:pt x="68" y="277"/>
                  </a:lnTo>
                  <a:lnTo>
                    <a:pt x="68" y="275"/>
                  </a:lnTo>
                  <a:lnTo>
                    <a:pt x="68" y="272"/>
                  </a:lnTo>
                  <a:lnTo>
                    <a:pt x="66" y="272"/>
                  </a:lnTo>
                  <a:lnTo>
                    <a:pt x="66" y="270"/>
                  </a:lnTo>
                  <a:lnTo>
                    <a:pt x="66" y="268"/>
                  </a:lnTo>
                  <a:lnTo>
                    <a:pt x="63" y="268"/>
                  </a:lnTo>
                  <a:lnTo>
                    <a:pt x="61" y="265"/>
                  </a:lnTo>
                  <a:lnTo>
                    <a:pt x="59" y="265"/>
                  </a:lnTo>
                  <a:lnTo>
                    <a:pt x="56" y="265"/>
                  </a:lnTo>
                  <a:lnTo>
                    <a:pt x="56" y="263"/>
                  </a:lnTo>
                  <a:lnTo>
                    <a:pt x="54" y="263"/>
                  </a:lnTo>
                  <a:lnTo>
                    <a:pt x="52" y="263"/>
                  </a:lnTo>
                  <a:lnTo>
                    <a:pt x="52" y="261"/>
                  </a:lnTo>
                  <a:lnTo>
                    <a:pt x="49" y="261"/>
                  </a:lnTo>
                  <a:lnTo>
                    <a:pt x="47" y="261"/>
                  </a:lnTo>
                  <a:lnTo>
                    <a:pt x="42" y="258"/>
                  </a:lnTo>
                  <a:lnTo>
                    <a:pt x="40" y="258"/>
                  </a:lnTo>
                  <a:lnTo>
                    <a:pt x="38" y="258"/>
                  </a:lnTo>
                  <a:lnTo>
                    <a:pt x="38" y="256"/>
                  </a:lnTo>
                  <a:lnTo>
                    <a:pt x="38" y="254"/>
                  </a:lnTo>
                  <a:lnTo>
                    <a:pt x="35" y="254"/>
                  </a:lnTo>
                  <a:lnTo>
                    <a:pt x="35" y="251"/>
                  </a:lnTo>
                  <a:lnTo>
                    <a:pt x="38" y="251"/>
                  </a:lnTo>
                  <a:lnTo>
                    <a:pt x="38" y="249"/>
                  </a:lnTo>
                  <a:lnTo>
                    <a:pt x="38" y="247"/>
                  </a:lnTo>
                  <a:lnTo>
                    <a:pt x="38" y="244"/>
                  </a:lnTo>
                  <a:lnTo>
                    <a:pt x="38" y="242"/>
                  </a:lnTo>
                  <a:lnTo>
                    <a:pt x="40" y="240"/>
                  </a:lnTo>
                  <a:lnTo>
                    <a:pt x="40" y="238"/>
                  </a:lnTo>
                  <a:lnTo>
                    <a:pt x="40" y="235"/>
                  </a:lnTo>
                  <a:lnTo>
                    <a:pt x="38" y="233"/>
                  </a:lnTo>
                  <a:lnTo>
                    <a:pt x="38" y="235"/>
                  </a:lnTo>
                  <a:lnTo>
                    <a:pt x="38" y="233"/>
                  </a:lnTo>
                  <a:lnTo>
                    <a:pt x="35" y="233"/>
                  </a:lnTo>
                  <a:lnTo>
                    <a:pt x="35" y="231"/>
                  </a:lnTo>
                  <a:lnTo>
                    <a:pt x="38" y="228"/>
                  </a:lnTo>
                  <a:lnTo>
                    <a:pt x="38" y="226"/>
                  </a:lnTo>
                  <a:lnTo>
                    <a:pt x="38" y="224"/>
                  </a:lnTo>
                  <a:lnTo>
                    <a:pt x="35" y="224"/>
                  </a:lnTo>
                  <a:lnTo>
                    <a:pt x="33" y="221"/>
                  </a:lnTo>
                  <a:lnTo>
                    <a:pt x="33" y="219"/>
                  </a:lnTo>
                  <a:lnTo>
                    <a:pt x="33" y="217"/>
                  </a:lnTo>
                  <a:lnTo>
                    <a:pt x="31" y="217"/>
                  </a:lnTo>
                  <a:lnTo>
                    <a:pt x="31" y="214"/>
                  </a:lnTo>
                  <a:lnTo>
                    <a:pt x="28" y="214"/>
                  </a:lnTo>
                  <a:lnTo>
                    <a:pt x="28" y="212"/>
                  </a:lnTo>
                  <a:lnTo>
                    <a:pt x="28" y="210"/>
                  </a:lnTo>
                  <a:lnTo>
                    <a:pt x="28" y="207"/>
                  </a:lnTo>
                  <a:lnTo>
                    <a:pt x="26" y="207"/>
                  </a:lnTo>
                  <a:lnTo>
                    <a:pt x="26" y="205"/>
                  </a:lnTo>
                  <a:lnTo>
                    <a:pt x="26" y="203"/>
                  </a:lnTo>
                  <a:lnTo>
                    <a:pt x="26" y="200"/>
                  </a:lnTo>
                  <a:lnTo>
                    <a:pt x="24" y="200"/>
                  </a:lnTo>
                  <a:lnTo>
                    <a:pt x="24" y="198"/>
                  </a:lnTo>
                  <a:lnTo>
                    <a:pt x="24" y="196"/>
                  </a:lnTo>
                  <a:lnTo>
                    <a:pt x="21" y="193"/>
                  </a:lnTo>
                  <a:lnTo>
                    <a:pt x="21" y="191"/>
                  </a:lnTo>
                  <a:lnTo>
                    <a:pt x="19" y="191"/>
                  </a:lnTo>
                  <a:lnTo>
                    <a:pt x="21" y="189"/>
                  </a:lnTo>
                  <a:lnTo>
                    <a:pt x="21" y="186"/>
                  </a:lnTo>
                  <a:lnTo>
                    <a:pt x="21" y="184"/>
                  </a:lnTo>
                  <a:lnTo>
                    <a:pt x="21" y="182"/>
                  </a:lnTo>
                  <a:lnTo>
                    <a:pt x="21" y="179"/>
                  </a:lnTo>
                  <a:lnTo>
                    <a:pt x="21" y="182"/>
                  </a:lnTo>
                  <a:lnTo>
                    <a:pt x="24" y="182"/>
                  </a:lnTo>
                  <a:lnTo>
                    <a:pt x="26" y="182"/>
                  </a:lnTo>
                  <a:lnTo>
                    <a:pt x="26" y="179"/>
                  </a:lnTo>
                  <a:lnTo>
                    <a:pt x="26" y="177"/>
                  </a:lnTo>
                  <a:lnTo>
                    <a:pt x="26" y="175"/>
                  </a:lnTo>
                  <a:lnTo>
                    <a:pt x="26" y="172"/>
                  </a:lnTo>
                  <a:lnTo>
                    <a:pt x="26" y="170"/>
                  </a:lnTo>
                  <a:lnTo>
                    <a:pt x="24" y="170"/>
                  </a:lnTo>
                  <a:lnTo>
                    <a:pt x="21" y="170"/>
                  </a:lnTo>
                  <a:lnTo>
                    <a:pt x="21" y="168"/>
                  </a:lnTo>
                  <a:lnTo>
                    <a:pt x="19" y="168"/>
                  </a:lnTo>
                  <a:lnTo>
                    <a:pt x="19" y="165"/>
                  </a:lnTo>
                  <a:lnTo>
                    <a:pt x="19" y="163"/>
                  </a:lnTo>
                  <a:lnTo>
                    <a:pt x="17" y="163"/>
                  </a:lnTo>
                  <a:lnTo>
                    <a:pt x="17" y="161"/>
                  </a:lnTo>
                  <a:lnTo>
                    <a:pt x="17" y="158"/>
                  </a:lnTo>
                  <a:lnTo>
                    <a:pt x="17" y="156"/>
                  </a:lnTo>
                  <a:lnTo>
                    <a:pt x="17" y="154"/>
                  </a:lnTo>
                  <a:lnTo>
                    <a:pt x="17" y="151"/>
                  </a:lnTo>
                  <a:lnTo>
                    <a:pt x="17" y="149"/>
                  </a:lnTo>
                  <a:lnTo>
                    <a:pt x="17" y="147"/>
                  </a:lnTo>
                  <a:lnTo>
                    <a:pt x="19" y="144"/>
                  </a:lnTo>
                  <a:lnTo>
                    <a:pt x="19" y="142"/>
                  </a:lnTo>
                  <a:lnTo>
                    <a:pt x="19" y="140"/>
                  </a:lnTo>
                  <a:lnTo>
                    <a:pt x="21" y="140"/>
                  </a:lnTo>
                  <a:lnTo>
                    <a:pt x="21" y="142"/>
                  </a:lnTo>
                  <a:lnTo>
                    <a:pt x="21" y="144"/>
                  </a:lnTo>
                  <a:lnTo>
                    <a:pt x="21" y="147"/>
                  </a:lnTo>
                  <a:lnTo>
                    <a:pt x="21" y="149"/>
                  </a:lnTo>
                  <a:lnTo>
                    <a:pt x="24" y="149"/>
                  </a:lnTo>
                  <a:lnTo>
                    <a:pt x="24" y="151"/>
                  </a:lnTo>
                  <a:lnTo>
                    <a:pt x="26" y="151"/>
                  </a:lnTo>
                  <a:lnTo>
                    <a:pt x="26" y="154"/>
                  </a:lnTo>
                  <a:lnTo>
                    <a:pt x="28" y="154"/>
                  </a:lnTo>
                  <a:lnTo>
                    <a:pt x="26" y="154"/>
                  </a:lnTo>
                  <a:lnTo>
                    <a:pt x="26" y="151"/>
                  </a:lnTo>
                  <a:lnTo>
                    <a:pt x="26" y="149"/>
                  </a:lnTo>
                  <a:lnTo>
                    <a:pt x="26" y="147"/>
                  </a:lnTo>
                  <a:lnTo>
                    <a:pt x="26" y="144"/>
                  </a:lnTo>
                  <a:lnTo>
                    <a:pt x="26" y="147"/>
                  </a:lnTo>
                  <a:lnTo>
                    <a:pt x="24" y="144"/>
                  </a:lnTo>
                  <a:lnTo>
                    <a:pt x="26" y="144"/>
                  </a:lnTo>
                  <a:lnTo>
                    <a:pt x="24" y="144"/>
                  </a:lnTo>
                  <a:lnTo>
                    <a:pt x="24" y="142"/>
                  </a:lnTo>
                  <a:lnTo>
                    <a:pt x="24" y="140"/>
                  </a:lnTo>
                  <a:lnTo>
                    <a:pt x="24" y="137"/>
                  </a:lnTo>
                  <a:lnTo>
                    <a:pt x="21" y="135"/>
                  </a:lnTo>
                  <a:lnTo>
                    <a:pt x="24" y="137"/>
                  </a:lnTo>
                  <a:lnTo>
                    <a:pt x="24" y="135"/>
                  </a:lnTo>
                  <a:lnTo>
                    <a:pt x="26" y="135"/>
                  </a:lnTo>
                  <a:lnTo>
                    <a:pt x="28" y="135"/>
                  </a:lnTo>
                  <a:lnTo>
                    <a:pt x="31" y="137"/>
                  </a:lnTo>
                  <a:lnTo>
                    <a:pt x="31" y="135"/>
                  </a:lnTo>
                  <a:lnTo>
                    <a:pt x="33" y="135"/>
                  </a:lnTo>
                  <a:lnTo>
                    <a:pt x="33" y="137"/>
                  </a:lnTo>
                  <a:lnTo>
                    <a:pt x="35" y="137"/>
                  </a:lnTo>
                  <a:lnTo>
                    <a:pt x="38" y="140"/>
                  </a:lnTo>
                  <a:lnTo>
                    <a:pt x="40" y="140"/>
                  </a:lnTo>
                  <a:lnTo>
                    <a:pt x="42" y="140"/>
                  </a:lnTo>
                  <a:lnTo>
                    <a:pt x="42" y="137"/>
                  </a:lnTo>
                  <a:lnTo>
                    <a:pt x="45" y="137"/>
                  </a:lnTo>
                  <a:lnTo>
                    <a:pt x="45" y="140"/>
                  </a:lnTo>
                  <a:lnTo>
                    <a:pt x="42" y="140"/>
                  </a:lnTo>
                  <a:lnTo>
                    <a:pt x="45" y="140"/>
                  </a:lnTo>
                  <a:lnTo>
                    <a:pt x="45" y="142"/>
                  </a:lnTo>
                  <a:lnTo>
                    <a:pt x="47" y="142"/>
                  </a:lnTo>
                  <a:lnTo>
                    <a:pt x="47" y="140"/>
                  </a:lnTo>
                  <a:lnTo>
                    <a:pt x="45" y="140"/>
                  </a:lnTo>
                  <a:lnTo>
                    <a:pt x="45" y="137"/>
                  </a:lnTo>
                  <a:lnTo>
                    <a:pt x="42" y="137"/>
                  </a:lnTo>
                  <a:lnTo>
                    <a:pt x="42" y="140"/>
                  </a:lnTo>
                  <a:lnTo>
                    <a:pt x="40" y="140"/>
                  </a:lnTo>
                  <a:lnTo>
                    <a:pt x="38" y="137"/>
                  </a:lnTo>
                  <a:lnTo>
                    <a:pt x="40" y="137"/>
                  </a:lnTo>
                  <a:lnTo>
                    <a:pt x="42" y="137"/>
                  </a:lnTo>
                  <a:lnTo>
                    <a:pt x="42" y="135"/>
                  </a:lnTo>
                  <a:lnTo>
                    <a:pt x="42" y="137"/>
                  </a:lnTo>
                  <a:lnTo>
                    <a:pt x="40" y="137"/>
                  </a:lnTo>
                  <a:lnTo>
                    <a:pt x="38" y="137"/>
                  </a:lnTo>
                  <a:lnTo>
                    <a:pt x="35" y="137"/>
                  </a:lnTo>
                  <a:lnTo>
                    <a:pt x="35" y="135"/>
                  </a:lnTo>
                  <a:lnTo>
                    <a:pt x="33" y="135"/>
                  </a:lnTo>
                  <a:lnTo>
                    <a:pt x="35" y="135"/>
                  </a:lnTo>
                  <a:lnTo>
                    <a:pt x="33" y="133"/>
                  </a:lnTo>
                  <a:lnTo>
                    <a:pt x="33" y="135"/>
                  </a:lnTo>
                  <a:lnTo>
                    <a:pt x="31" y="135"/>
                  </a:lnTo>
                  <a:lnTo>
                    <a:pt x="28" y="135"/>
                  </a:lnTo>
                  <a:lnTo>
                    <a:pt x="28" y="133"/>
                  </a:lnTo>
                  <a:lnTo>
                    <a:pt x="26" y="133"/>
                  </a:lnTo>
                  <a:lnTo>
                    <a:pt x="26" y="130"/>
                  </a:lnTo>
                  <a:lnTo>
                    <a:pt x="24" y="130"/>
                  </a:lnTo>
                  <a:lnTo>
                    <a:pt x="21" y="130"/>
                  </a:lnTo>
                  <a:lnTo>
                    <a:pt x="21" y="133"/>
                  </a:lnTo>
                  <a:lnTo>
                    <a:pt x="21" y="135"/>
                  </a:lnTo>
                  <a:lnTo>
                    <a:pt x="21" y="137"/>
                  </a:lnTo>
                  <a:lnTo>
                    <a:pt x="21" y="140"/>
                  </a:lnTo>
                  <a:lnTo>
                    <a:pt x="21" y="137"/>
                  </a:lnTo>
                  <a:lnTo>
                    <a:pt x="19" y="137"/>
                  </a:lnTo>
                  <a:lnTo>
                    <a:pt x="19" y="140"/>
                  </a:lnTo>
                  <a:lnTo>
                    <a:pt x="21" y="140"/>
                  </a:lnTo>
                  <a:lnTo>
                    <a:pt x="19" y="140"/>
                  </a:lnTo>
                  <a:lnTo>
                    <a:pt x="19" y="137"/>
                  </a:lnTo>
                  <a:lnTo>
                    <a:pt x="17" y="137"/>
                  </a:lnTo>
                  <a:lnTo>
                    <a:pt x="17" y="135"/>
                  </a:lnTo>
                  <a:lnTo>
                    <a:pt x="14" y="135"/>
                  </a:lnTo>
                  <a:lnTo>
                    <a:pt x="14" y="137"/>
                  </a:lnTo>
                  <a:lnTo>
                    <a:pt x="14" y="135"/>
                  </a:lnTo>
                  <a:lnTo>
                    <a:pt x="14" y="133"/>
                  </a:lnTo>
                  <a:lnTo>
                    <a:pt x="12" y="133"/>
                  </a:lnTo>
                  <a:lnTo>
                    <a:pt x="12" y="130"/>
                  </a:lnTo>
                  <a:lnTo>
                    <a:pt x="12" y="128"/>
                  </a:lnTo>
                  <a:lnTo>
                    <a:pt x="12" y="130"/>
                  </a:lnTo>
                  <a:lnTo>
                    <a:pt x="10" y="130"/>
                  </a:lnTo>
                  <a:lnTo>
                    <a:pt x="12" y="130"/>
                  </a:lnTo>
                  <a:lnTo>
                    <a:pt x="10" y="130"/>
                  </a:lnTo>
                  <a:lnTo>
                    <a:pt x="7" y="130"/>
                  </a:lnTo>
                  <a:lnTo>
                    <a:pt x="10" y="130"/>
                  </a:lnTo>
                  <a:lnTo>
                    <a:pt x="12" y="126"/>
                  </a:lnTo>
                  <a:lnTo>
                    <a:pt x="12" y="123"/>
                  </a:lnTo>
                  <a:lnTo>
                    <a:pt x="12" y="126"/>
                  </a:lnTo>
                  <a:lnTo>
                    <a:pt x="12" y="128"/>
                  </a:lnTo>
                  <a:lnTo>
                    <a:pt x="14" y="128"/>
                  </a:lnTo>
                  <a:lnTo>
                    <a:pt x="14" y="130"/>
                  </a:lnTo>
                  <a:lnTo>
                    <a:pt x="14" y="128"/>
                  </a:lnTo>
                  <a:lnTo>
                    <a:pt x="14" y="126"/>
                  </a:lnTo>
                  <a:lnTo>
                    <a:pt x="12" y="126"/>
                  </a:lnTo>
                  <a:lnTo>
                    <a:pt x="12" y="123"/>
                  </a:lnTo>
                  <a:lnTo>
                    <a:pt x="12" y="121"/>
                  </a:lnTo>
                  <a:lnTo>
                    <a:pt x="10" y="121"/>
                  </a:lnTo>
                  <a:lnTo>
                    <a:pt x="10" y="119"/>
                  </a:lnTo>
                  <a:lnTo>
                    <a:pt x="12" y="119"/>
                  </a:lnTo>
                  <a:lnTo>
                    <a:pt x="10" y="119"/>
                  </a:lnTo>
                  <a:lnTo>
                    <a:pt x="10" y="116"/>
                  </a:lnTo>
                  <a:lnTo>
                    <a:pt x="10" y="114"/>
                  </a:lnTo>
                  <a:lnTo>
                    <a:pt x="7" y="114"/>
                  </a:lnTo>
                  <a:lnTo>
                    <a:pt x="7" y="112"/>
                  </a:lnTo>
                  <a:lnTo>
                    <a:pt x="7" y="109"/>
                  </a:lnTo>
                  <a:lnTo>
                    <a:pt x="5" y="107"/>
                  </a:lnTo>
                  <a:lnTo>
                    <a:pt x="5" y="105"/>
                  </a:lnTo>
                  <a:lnTo>
                    <a:pt x="3" y="102"/>
                  </a:lnTo>
                  <a:lnTo>
                    <a:pt x="3" y="100"/>
                  </a:lnTo>
                  <a:lnTo>
                    <a:pt x="0" y="98"/>
                  </a:lnTo>
                  <a:lnTo>
                    <a:pt x="0" y="96"/>
                  </a:lnTo>
                  <a:lnTo>
                    <a:pt x="3" y="96"/>
                  </a:lnTo>
                  <a:lnTo>
                    <a:pt x="3" y="93"/>
                  </a:lnTo>
                  <a:lnTo>
                    <a:pt x="3" y="91"/>
                  </a:lnTo>
                  <a:lnTo>
                    <a:pt x="3" y="89"/>
                  </a:lnTo>
                  <a:lnTo>
                    <a:pt x="3" y="86"/>
                  </a:lnTo>
                  <a:lnTo>
                    <a:pt x="3" y="84"/>
                  </a:lnTo>
                  <a:lnTo>
                    <a:pt x="3" y="82"/>
                  </a:lnTo>
                  <a:lnTo>
                    <a:pt x="5" y="82"/>
                  </a:lnTo>
                  <a:lnTo>
                    <a:pt x="5" y="79"/>
                  </a:lnTo>
                  <a:lnTo>
                    <a:pt x="5" y="77"/>
                  </a:lnTo>
                  <a:lnTo>
                    <a:pt x="7" y="77"/>
                  </a:lnTo>
                  <a:lnTo>
                    <a:pt x="5" y="77"/>
                  </a:lnTo>
                  <a:lnTo>
                    <a:pt x="7" y="75"/>
                  </a:lnTo>
                  <a:lnTo>
                    <a:pt x="7" y="72"/>
                  </a:lnTo>
                  <a:lnTo>
                    <a:pt x="7" y="70"/>
                  </a:lnTo>
                  <a:lnTo>
                    <a:pt x="7" y="68"/>
                  </a:lnTo>
                  <a:lnTo>
                    <a:pt x="5" y="68"/>
                  </a:lnTo>
                  <a:lnTo>
                    <a:pt x="5" y="65"/>
                  </a:lnTo>
                  <a:lnTo>
                    <a:pt x="5" y="63"/>
                  </a:lnTo>
                  <a:lnTo>
                    <a:pt x="5" y="61"/>
                  </a:lnTo>
                  <a:lnTo>
                    <a:pt x="3" y="61"/>
                  </a:lnTo>
                  <a:lnTo>
                    <a:pt x="5" y="61"/>
                  </a:lnTo>
                  <a:lnTo>
                    <a:pt x="5" y="58"/>
                  </a:lnTo>
                  <a:lnTo>
                    <a:pt x="3" y="58"/>
                  </a:lnTo>
                  <a:lnTo>
                    <a:pt x="3" y="56"/>
                  </a:lnTo>
                  <a:lnTo>
                    <a:pt x="0" y="56"/>
                  </a:lnTo>
                  <a:lnTo>
                    <a:pt x="0" y="54"/>
                  </a:lnTo>
                  <a:lnTo>
                    <a:pt x="0" y="51"/>
                  </a:lnTo>
                  <a:lnTo>
                    <a:pt x="0" y="49"/>
                  </a:lnTo>
                  <a:lnTo>
                    <a:pt x="0" y="47"/>
                  </a:lnTo>
                  <a:lnTo>
                    <a:pt x="0" y="44"/>
                  </a:lnTo>
                  <a:lnTo>
                    <a:pt x="3" y="44"/>
                  </a:lnTo>
                  <a:lnTo>
                    <a:pt x="3" y="42"/>
                  </a:lnTo>
                  <a:lnTo>
                    <a:pt x="5" y="42"/>
                  </a:lnTo>
                  <a:lnTo>
                    <a:pt x="5" y="40"/>
                  </a:lnTo>
                  <a:lnTo>
                    <a:pt x="7" y="37"/>
                  </a:lnTo>
                  <a:lnTo>
                    <a:pt x="7" y="40"/>
                  </a:lnTo>
                  <a:lnTo>
                    <a:pt x="7" y="37"/>
                  </a:lnTo>
                  <a:lnTo>
                    <a:pt x="10" y="37"/>
                  </a:lnTo>
                  <a:lnTo>
                    <a:pt x="12" y="37"/>
                  </a:lnTo>
                  <a:lnTo>
                    <a:pt x="12" y="35"/>
                  </a:lnTo>
                  <a:lnTo>
                    <a:pt x="10" y="35"/>
                  </a:lnTo>
                  <a:lnTo>
                    <a:pt x="10" y="37"/>
                  </a:lnTo>
                  <a:lnTo>
                    <a:pt x="7" y="37"/>
                  </a:lnTo>
                  <a:lnTo>
                    <a:pt x="10" y="35"/>
                  </a:lnTo>
                  <a:lnTo>
                    <a:pt x="12" y="33"/>
                  </a:lnTo>
                  <a:lnTo>
                    <a:pt x="12" y="30"/>
                  </a:lnTo>
                  <a:lnTo>
                    <a:pt x="12" y="28"/>
                  </a:lnTo>
                  <a:lnTo>
                    <a:pt x="12" y="26"/>
                  </a:lnTo>
                  <a:lnTo>
                    <a:pt x="14" y="26"/>
                  </a:lnTo>
                  <a:lnTo>
                    <a:pt x="17" y="23"/>
                  </a:lnTo>
                  <a:lnTo>
                    <a:pt x="17" y="21"/>
                  </a:lnTo>
                  <a:lnTo>
                    <a:pt x="17" y="19"/>
                  </a:lnTo>
                  <a:lnTo>
                    <a:pt x="19" y="19"/>
                  </a:lnTo>
                  <a:lnTo>
                    <a:pt x="19" y="16"/>
                  </a:lnTo>
                  <a:lnTo>
                    <a:pt x="19" y="14"/>
                  </a:lnTo>
                  <a:lnTo>
                    <a:pt x="19" y="12"/>
                  </a:lnTo>
                  <a:lnTo>
                    <a:pt x="19" y="9"/>
                  </a:lnTo>
                  <a:lnTo>
                    <a:pt x="19" y="7"/>
                  </a:lnTo>
                  <a:lnTo>
                    <a:pt x="19" y="9"/>
                  </a:lnTo>
                  <a:lnTo>
                    <a:pt x="17" y="7"/>
                  </a:lnTo>
                  <a:lnTo>
                    <a:pt x="19" y="5"/>
                  </a:lnTo>
                  <a:lnTo>
                    <a:pt x="21" y="2"/>
                  </a:lnTo>
                  <a:lnTo>
                    <a:pt x="21" y="0"/>
                  </a:lnTo>
                  <a:lnTo>
                    <a:pt x="26" y="2"/>
                  </a:lnTo>
                  <a:lnTo>
                    <a:pt x="33" y="5"/>
                  </a:lnTo>
                  <a:lnTo>
                    <a:pt x="40" y="7"/>
                  </a:lnTo>
                  <a:lnTo>
                    <a:pt x="45" y="9"/>
                  </a:lnTo>
                  <a:lnTo>
                    <a:pt x="52" y="9"/>
                  </a:lnTo>
                  <a:lnTo>
                    <a:pt x="56" y="12"/>
                  </a:lnTo>
                  <a:lnTo>
                    <a:pt x="63" y="14"/>
                  </a:lnTo>
                  <a:lnTo>
                    <a:pt x="68" y="16"/>
                  </a:lnTo>
                  <a:lnTo>
                    <a:pt x="75" y="19"/>
                  </a:lnTo>
                  <a:lnTo>
                    <a:pt x="80" y="19"/>
                  </a:lnTo>
                  <a:lnTo>
                    <a:pt x="87" y="21"/>
                  </a:lnTo>
                  <a:lnTo>
                    <a:pt x="91" y="23"/>
                  </a:lnTo>
                  <a:lnTo>
                    <a:pt x="98" y="26"/>
                  </a:lnTo>
                  <a:lnTo>
                    <a:pt x="105" y="26"/>
                  </a:lnTo>
                  <a:lnTo>
                    <a:pt x="110" y="28"/>
                  </a:lnTo>
                  <a:lnTo>
                    <a:pt x="117" y="30"/>
                  </a:lnTo>
                  <a:lnTo>
                    <a:pt x="114" y="35"/>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777">
              <a:extLst>
                <a:ext uri="{FF2B5EF4-FFF2-40B4-BE49-F238E27FC236}">
                  <a16:creationId xmlns:a16="http://schemas.microsoft.com/office/drawing/2014/main" id="{90C8CBBC-96A1-452C-B25B-D23D1312C7A8}"/>
                </a:ext>
              </a:extLst>
            </p:cNvPr>
            <p:cNvSpPr>
              <a:spLocks/>
            </p:cNvSpPr>
            <p:nvPr/>
          </p:nvSpPr>
          <p:spPr bwMode="auto">
            <a:xfrm>
              <a:off x="6034881" y="4603751"/>
              <a:ext cx="295275" cy="230188"/>
            </a:xfrm>
            <a:custGeom>
              <a:avLst/>
              <a:gdLst>
                <a:gd name="T0" fmla="*/ 184 w 186"/>
                <a:gd name="T1" fmla="*/ 56 h 145"/>
                <a:gd name="T2" fmla="*/ 184 w 186"/>
                <a:gd name="T3" fmla="*/ 66 h 145"/>
                <a:gd name="T4" fmla="*/ 182 w 186"/>
                <a:gd name="T5" fmla="*/ 75 h 145"/>
                <a:gd name="T6" fmla="*/ 182 w 186"/>
                <a:gd name="T7" fmla="*/ 84 h 145"/>
                <a:gd name="T8" fmla="*/ 182 w 186"/>
                <a:gd name="T9" fmla="*/ 91 h 145"/>
                <a:gd name="T10" fmla="*/ 182 w 186"/>
                <a:gd name="T11" fmla="*/ 101 h 145"/>
                <a:gd name="T12" fmla="*/ 179 w 186"/>
                <a:gd name="T13" fmla="*/ 110 h 145"/>
                <a:gd name="T14" fmla="*/ 179 w 186"/>
                <a:gd name="T15" fmla="*/ 119 h 145"/>
                <a:gd name="T16" fmla="*/ 179 w 186"/>
                <a:gd name="T17" fmla="*/ 128 h 145"/>
                <a:gd name="T18" fmla="*/ 179 w 186"/>
                <a:gd name="T19" fmla="*/ 138 h 145"/>
                <a:gd name="T20" fmla="*/ 177 w 186"/>
                <a:gd name="T21" fmla="*/ 145 h 145"/>
                <a:gd name="T22" fmla="*/ 170 w 186"/>
                <a:gd name="T23" fmla="*/ 145 h 145"/>
                <a:gd name="T24" fmla="*/ 161 w 186"/>
                <a:gd name="T25" fmla="*/ 145 h 145"/>
                <a:gd name="T26" fmla="*/ 149 w 186"/>
                <a:gd name="T27" fmla="*/ 145 h 145"/>
                <a:gd name="T28" fmla="*/ 135 w 186"/>
                <a:gd name="T29" fmla="*/ 142 h 145"/>
                <a:gd name="T30" fmla="*/ 119 w 186"/>
                <a:gd name="T31" fmla="*/ 140 h 145"/>
                <a:gd name="T32" fmla="*/ 105 w 186"/>
                <a:gd name="T33" fmla="*/ 140 h 145"/>
                <a:gd name="T34" fmla="*/ 91 w 186"/>
                <a:gd name="T35" fmla="*/ 138 h 145"/>
                <a:gd name="T36" fmla="*/ 77 w 186"/>
                <a:gd name="T37" fmla="*/ 135 h 145"/>
                <a:gd name="T38" fmla="*/ 63 w 186"/>
                <a:gd name="T39" fmla="*/ 135 h 145"/>
                <a:gd name="T40" fmla="*/ 47 w 186"/>
                <a:gd name="T41" fmla="*/ 133 h 145"/>
                <a:gd name="T42" fmla="*/ 33 w 186"/>
                <a:gd name="T43" fmla="*/ 131 h 145"/>
                <a:gd name="T44" fmla="*/ 19 w 186"/>
                <a:gd name="T45" fmla="*/ 128 h 145"/>
                <a:gd name="T46" fmla="*/ 5 w 186"/>
                <a:gd name="T47" fmla="*/ 126 h 145"/>
                <a:gd name="T48" fmla="*/ 0 w 186"/>
                <a:gd name="T49" fmla="*/ 119 h 145"/>
                <a:gd name="T50" fmla="*/ 3 w 186"/>
                <a:gd name="T51" fmla="*/ 108 h 145"/>
                <a:gd name="T52" fmla="*/ 5 w 186"/>
                <a:gd name="T53" fmla="*/ 96 h 145"/>
                <a:gd name="T54" fmla="*/ 7 w 186"/>
                <a:gd name="T55" fmla="*/ 82 h 145"/>
                <a:gd name="T56" fmla="*/ 7 w 186"/>
                <a:gd name="T57" fmla="*/ 70 h 145"/>
                <a:gd name="T58" fmla="*/ 10 w 186"/>
                <a:gd name="T59" fmla="*/ 59 h 145"/>
                <a:gd name="T60" fmla="*/ 12 w 186"/>
                <a:gd name="T61" fmla="*/ 47 h 145"/>
                <a:gd name="T62" fmla="*/ 14 w 186"/>
                <a:gd name="T63" fmla="*/ 35 h 145"/>
                <a:gd name="T64" fmla="*/ 14 w 186"/>
                <a:gd name="T65" fmla="*/ 24 h 145"/>
                <a:gd name="T66" fmla="*/ 17 w 186"/>
                <a:gd name="T67" fmla="*/ 12 h 145"/>
                <a:gd name="T68" fmla="*/ 19 w 186"/>
                <a:gd name="T69" fmla="*/ 0 h 145"/>
                <a:gd name="T70" fmla="*/ 30 w 186"/>
                <a:gd name="T71" fmla="*/ 3 h 145"/>
                <a:gd name="T72" fmla="*/ 42 w 186"/>
                <a:gd name="T73" fmla="*/ 3 h 145"/>
                <a:gd name="T74" fmla="*/ 54 w 186"/>
                <a:gd name="T75" fmla="*/ 5 h 145"/>
                <a:gd name="T76" fmla="*/ 63 w 186"/>
                <a:gd name="T77" fmla="*/ 7 h 145"/>
                <a:gd name="T78" fmla="*/ 75 w 186"/>
                <a:gd name="T79" fmla="*/ 7 h 145"/>
                <a:gd name="T80" fmla="*/ 86 w 186"/>
                <a:gd name="T81" fmla="*/ 10 h 145"/>
                <a:gd name="T82" fmla="*/ 98 w 186"/>
                <a:gd name="T83" fmla="*/ 10 h 145"/>
                <a:gd name="T84" fmla="*/ 110 w 186"/>
                <a:gd name="T85" fmla="*/ 12 h 145"/>
                <a:gd name="T86" fmla="*/ 121 w 186"/>
                <a:gd name="T87" fmla="*/ 12 h 145"/>
                <a:gd name="T88" fmla="*/ 133 w 186"/>
                <a:gd name="T89" fmla="*/ 14 h 145"/>
                <a:gd name="T90" fmla="*/ 142 w 186"/>
                <a:gd name="T91" fmla="*/ 14 h 145"/>
                <a:gd name="T92" fmla="*/ 151 w 186"/>
                <a:gd name="T93" fmla="*/ 17 h 145"/>
                <a:gd name="T94" fmla="*/ 158 w 186"/>
                <a:gd name="T95" fmla="*/ 17 h 145"/>
                <a:gd name="T96" fmla="*/ 168 w 186"/>
                <a:gd name="T97" fmla="*/ 17 h 145"/>
                <a:gd name="T98" fmla="*/ 177 w 186"/>
                <a:gd name="T99" fmla="*/ 19 h 145"/>
                <a:gd name="T100" fmla="*/ 184 w 186"/>
                <a:gd name="T101" fmla="*/ 19 h 145"/>
                <a:gd name="T102" fmla="*/ 186 w 186"/>
                <a:gd name="T103" fmla="*/ 24 h 145"/>
                <a:gd name="T104" fmla="*/ 186 w 186"/>
                <a:gd name="T105" fmla="*/ 28 h 145"/>
                <a:gd name="T106" fmla="*/ 186 w 186"/>
                <a:gd name="T107" fmla="*/ 35 h 145"/>
                <a:gd name="T108" fmla="*/ 184 w 186"/>
                <a:gd name="T109" fmla="*/ 40 h 145"/>
                <a:gd name="T110" fmla="*/ 184 w 186"/>
                <a:gd name="T111" fmla="*/ 4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6" h="145">
                  <a:moveTo>
                    <a:pt x="184" y="49"/>
                  </a:moveTo>
                  <a:lnTo>
                    <a:pt x="184" y="54"/>
                  </a:lnTo>
                  <a:lnTo>
                    <a:pt x="184" y="56"/>
                  </a:lnTo>
                  <a:lnTo>
                    <a:pt x="184" y="59"/>
                  </a:lnTo>
                  <a:lnTo>
                    <a:pt x="184" y="63"/>
                  </a:lnTo>
                  <a:lnTo>
                    <a:pt x="184" y="66"/>
                  </a:lnTo>
                  <a:lnTo>
                    <a:pt x="184" y="68"/>
                  </a:lnTo>
                  <a:lnTo>
                    <a:pt x="184" y="70"/>
                  </a:lnTo>
                  <a:lnTo>
                    <a:pt x="182" y="75"/>
                  </a:lnTo>
                  <a:lnTo>
                    <a:pt x="182" y="77"/>
                  </a:lnTo>
                  <a:lnTo>
                    <a:pt x="182" y="80"/>
                  </a:lnTo>
                  <a:lnTo>
                    <a:pt x="182" y="84"/>
                  </a:lnTo>
                  <a:lnTo>
                    <a:pt x="182" y="87"/>
                  </a:lnTo>
                  <a:lnTo>
                    <a:pt x="182" y="89"/>
                  </a:lnTo>
                  <a:lnTo>
                    <a:pt x="182" y="91"/>
                  </a:lnTo>
                  <a:lnTo>
                    <a:pt x="182" y="96"/>
                  </a:lnTo>
                  <a:lnTo>
                    <a:pt x="182" y="98"/>
                  </a:lnTo>
                  <a:lnTo>
                    <a:pt x="182" y="101"/>
                  </a:lnTo>
                  <a:lnTo>
                    <a:pt x="182" y="105"/>
                  </a:lnTo>
                  <a:lnTo>
                    <a:pt x="182" y="108"/>
                  </a:lnTo>
                  <a:lnTo>
                    <a:pt x="179" y="110"/>
                  </a:lnTo>
                  <a:lnTo>
                    <a:pt x="179" y="112"/>
                  </a:lnTo>
                  <a:lnTo>
                    <a:pt x="179" y="117"/>
                  </a:lnTo>
                  <a:lnTo>
                    <a:pt x="179" y="119"/>
                  </a:lnTo>
                  <a:lnTo>
                    <a:pt x="179" y="122"/>
                  </a:lnTo>
                  <a:lnTo>
                    <a:pt x="179" y="124"/>
                  </a:lnTo>
                  <a:lnTo>
                    <a:pt x="179" y="128"/>
                  </a:lnTo>
                  <a:lnTo>
                    <a:pt x="179" y="131"/>
                  </a:lnTo>
                  <a:lnTo>
                    <a:pt x="179" y="133"/>
                  </a:lnTo>
                  <a:lnTo>
                    <a:pt x="179" y="138"/>
                  </a:lnTo>
                  <a:lnTo>
                    <a:pt x="179" y="140"/>
                  </a:lnTo>
                  <a:lnTo>
                    <a:pt x="179" y="142"/>
                  </a:lnTo>
                  <a:lnTo>
                    <a:pt x="177" y="145"/>
                  </a:lnTo>
                  <a:lnTo>
                    <a:pt x="175" y="145"/>
                  </a:lnTo>
                  <a:lnTo>
                    <a:pt x="172" y="145"/>
                  </a:lnTo>
                  <a:lnTo>
                    <a:pt x="170" y="145"/>
                  </a:lnTo>
                  <a:lnTo>
                    <a:pt x="165" y="145"/>
                  </a:lnTo>
                  <a:lnTo>
                    <a:pt x="163" y="145"/>
                  </a:lnTo>
                  <a:lnTo>
                    <a:pt x="161" y="145"/>
                  </a:lnTo>
                  <a:lnTo>
                    <a:pt x="156" y="145"/>
                  </a:lnTo>
                  <a:lnTo>
                    <a:pt x="154" y="145"/>
                  </a:lnTo>
                  <a:lnTo>
                    <a:pt x="149" y="145"/>
                  </a:lnTo>
                  <a:lnTo>
                    <a:pt x="145" y="142"/>
                  </a:lnTo>
                  <a:lnTo>
                    <a:pt x="140" y="142"/>
                  </a:lnTo>
                  <a:lnTo>
                    <a:pt x="135" y="142"/>
                  </a:lnTo>
                  <a:lnTo>
                    <a:pt x="131" y="142"/>
                  </a:lnTo>
                  <a:lnTo>
                    <a:pt x="124" y="142"/>
                  </a:lnTo>
                  <a:lnTo>
                    <a:pt x="119" y="140"/>
                  </a:lnTo>
                  <a:lnTo>
                    <a:pt x="114" y="140"/>
                  </a:lnTo>
                  <a:lnTo>
                    <a:pt x="110" y="140"/>
                  </a:lnTo>
                  <a:lnTo>
                    <a:pt x="105" y="140"/>
                  </a:lnTo>
                  <a:lnTo>
                    <a:pt x="100" y="140"/>
                  </a:lnTo>
                  <a:lnTo>
                    <a:pt x="96" y="138"/>
                  </a:lnTo>
                  <a:lnTo>
                    <a:pt x="91" y="138"/>
                  </a:lnTo>
                  <a:lnTo>
                    <a:pt x="86" y="138"/>
                  </a:lnTo>
                  <a:lnTo>
                    <a:pt x="82" y="138"/>
                  </a:lnTo>
                  <a:lnTo>
                    <a:pt x="77" y="135"/>
                  </a:lnTo>
                  <a:lnTo>
                    <a:pt x="72" y="135"/>
                  </a:lnTo>
                  <a:lnTo>
                    <a:pt x="68" y="135"/>
                  </a:lnTo>
                  <a:lnTo>
                    <a:pt x="63" y="135"/>
                  </a:lnTo>
                  <a:lnTo>
                    <a:pt x="58" y="133"/>
                  </a:lnTo>
                  <a:lnTo>
                    <a:pt x="51" y="133"/>
                  </a:lnTo>
                  <a:lnTo>
                    <a:pt x="47" y="133"/>
                  </a:lnTo>
                  <a:lnTo>
                    <a:pt x="42" y="133"/>
                  </a:lnTo>
                  <a:lnTo>
                    <a:pt x="37" y="131"/>
                  </a:lnTo>
                  <a:lnTo>
                    <a:pt x="33" y="131"/>
                  </a:lnTo>
                  <a:lnTo>
                    <a:pt x="28" y="131"/>
                  </a:lnTo>
                  <a:lnTo>
                    <a:pt x="23" y="131"/>
                  </a:lnTo>
                  <a:lnTo>
                    <a:pt x="19" y="128"/>
                  </a:lnTo>
                  <a:lnTo>
                    <a:pt x="14" y="128"/>
                  </a:lnTo>
                  <a:lnTo>
                    <a:pt x="10" y="128"/>
                  </a:lnTo>
                  <a:lnTo>
                    <a:pt x="5" y="126"/>
                  </a:lnTo>
                  <a:lnTo>
                    <a:pt x="0" y="126"/>
                  </a:lnTo>
                  <a:lnTo>
                    <a:pt x="0" y="122"/>
                  </a:lnTo>
                  <a:lnTo>
                    <a:pt x="0" y="119"/>
                  </a:lnTo>
                  <a:lnTo>
                    <a:pt x="3" y="115"/>
                  </a:lnTo>
                  <a:lnTo>
                    <a:pt x="3" y="110"/>
                  </a:lnTo>
                  <a:lnTo>
                    <a:pt x="3" y="108"/>
                  </a:lnTo>
                  <a:lnTo>
                    <a:pt x="3" y="103"/>
                  </a:lnTo>
                  <a:lnTo>
                    <a:pt x="5" y="98"/>
                  </a:lnTo>
                  <a:lnTo>
                    <a:pt x="5" y="96"/>
                  </a:lnTo>
                  <a:lnTo>
                    <a:pt x="5" y="91"/>
                  </a:lnTo>
                  <a:lnTo>
                    <a:pt x="5" y="87"/>
                  </a:lnTo>
                  <a:lnTo>
                    <a:pt x="7" y="82"/>
                  </a:lnTo>
                  <a:lnTo>
                    <a:pt x="7" y="80"/>
                  </a:lnTo>
                  <a:lnTo>
                    <a:pt x="7" y="75"/>
                  </a:lnTo>
                  <a:lnTo>
                    <a:pt x="7" y="70"/>
                  </a:lnTo>
                  <a:lnTo>
                    <a:pt x="10" y="68"/>
                  </a:lnTo>
                  <a:lnTo>
                    <a:pt x="10" y="63"/>
                  </a:lnTo>
                  <a:lnTo>
                    <a:pt x="10" y="59"/>
                  </a:lnTo>
                  <a:lnTo>
                    <a:pt x="10" y="56"/>
                  </a:lnTo>
                  <a:lnTo>
                    <a:pt x="12" y="52"/>
                  </a:lnTo>
                  <a:lnTo>
                    <a:pt x="12" y="47"/>
                  </a:lnTo>
                  <a:lnTo>
                    <a:pt x="12" y="45"/>
                  </a:lnTo>
                  <a:lnTo>
                    <a:pt x="12" y="40"/>
                  </a:lnTo>
                  <a:lnTo>
                    <a:pt x="14" y="35"/>
                  </a:lnTo>
                  <a:lnTo>
                    <a:pt x="14" y="31"/>
                  </a:lnTo>
                  <a:lnTo>
                    <a:pt x="14" y="28"/>
                  </a:lnTo>
                  <a:lnTo>
                    <a:pt x="14" y="24"/>
                  </a:lnTo>
                  <a:lnTo>
                    <a:pt x="17" y="19"/>
                  </a:lnTo>
                  <a:lnTo>
                    <a:pt x="17" y="17"/>
                  </a:lnTo>
                  <a:lnTo>
                    <a:pt x="17" y="12"/>
                  </a:lnTo>
                  <a:lnTo>
                    <a:pt x="19" y="7"/>
                  </a:lnTo>
                  <a:lnTo>
                    <a:pt x="19" y="5"/>
                  </a:lnTo>
                  <a:lnTo>
                    <a:pt x="19" y="0"/>
                  </a:lnTo>
                  <a:lnTo>
                    <a:pt x="23" y="0"/>
                  </a:lnTo>
                  <a:lnTo>
                    <a:pt x="26" y="0"/>
                  </a:lnTo>
                  <a:lnTo>
                    <a:pt x="30" y="3"/>
                  </a:lnTo>
                  <a:lnTo>
                    <a:pt x="33" y="3"/>
                  </a:lnTo>
                  <a:lnTo>
                    <a:pt x="37" y="3"/>
                  </a:lnTo>
                  <a:lnTo>
                    <a:pt x="42" y="3"/>
                  </a:lnTo>
                  <a:lnTo>
                    <a:pt x="44" y="5"/>
                  </a:lnTo>
                  <a:lnTo>
                    <a:pt x="49" y="5"/>
                  </a:lnTo>
                  <a:lnTo>
                    <a:pt x="54" y="5"/>
                  </a:lnTo>
                  <a:lnTo>
                    <a:pt x="56" y="5"/>
                  </a:lnTo>
                  <a:lnTo>
                    <a:pt x="61" y="5"/>
                  </a:lnTo>
                  <a:lnTo>
                    <a:pt x="63" y="7"/>
                  </a:lnTo>
                  <a:lnTo>
                    <a:pt x="68" y="7"/>
                  </a:lnTo>
                  <a:lnTo>
                    <a:pt x="72" y="7"/>
                  </a:lnTo>
                  <a:lnTo>
                    <a:pt x="75" y="7"/>
                  </a:lnTo>
                  <a:lnTo>
                    <a:pt x="79" y="7"/>
                  </a:lnTo>
                  <a:lnTo>
                    <a:pt x="82" y="10"/>
                  </a:lnTo>
                  <a:lnTo>
                    <a:pt x="86" y="10"/>
                  </a:lnTo>
                  <a:lnTo>
                    <a:pt x="91" y="10"/>
                  </a:lnTo>
                  <a:lnTo>
                    <a:pt x="93" y="10"/>
                  </a:lnTo>
                  <a:lnTo>
                    <a:pt x="98" y="10"/>
                  </a:lnTo>
                  <a:lnTo>
                    <a:pt x="103" y="12"/>
                  </a:lnTo>
                  <a:lnTo>
                    <a:pt x="105" y="12"/>
                  </a:lnTo>
                  <a:lnTo>
                    <a:pt x="110" y="12"/>
                  </a:lnTo>
                  <a:lnTo>
                    <a:pt x="112" y="12"/>
                  </a:lnTo>
                  <a:lnTo>
                    <a:pt x="117" y="12"/>
                  </a:lnTo>
                  <a:lnTo>
                    <a:pt x="121" y="12"/>
                  </a:lnTo>
                  <a:lnTo>
                    <a:pt x="124" y="14"/>
                  </a:lnTo>
                  <a:lnTo>
                    <a:pt x="128" y="14"/>
                  </a:lnTo>
                  <a:lnTo>
                    <a:pt x="133" y="14"/>
                  </a:lnTo>
                  <a:lnTo>
                    <a:pt x="135" y="14"/>
                  </a:lnTo>
                  <a:lnTo>
                    <a:pt x="138" y="14"/>
                  </a:lnTo>
                  <a:lnTo>
                    <a:pt x="142" y="14"/>
                  </a:lnTo>
                  <a:lnTo>
                    <a:pt x="145" y="14"/>
                  </a:lnTo>
                  <a:lnTo>
                    <a:pt x="147" y="17"/>
                  </a:lnTo>
                  <a:lnTo>
                    <a:pt x="151" y="17"/>
                  </a:lnTo>
                  <a:lnTo>
                    <a:pt x="154" y="17"/>
                  </a:lnTo>
                  <a:lnTo>
                    <a:pt x="156" y="17"/>
                  </a:lnTo>
                  <a:lnTo>
                    <a:pt x="158" y="17"/>
                  </a:lnTo>
                  <a:lnTo>
                    <a:pt x="163" y="17"/>
                  </a:lnTo>
                  <a:lnTo>
                    <a:pt x="165" y="17"/>
                  </a:lnTo>
                  <a:lnTo>
                    <a:pt x="168" y="17"/>
                  </a:lnTo>
                  <a:lnTo>
                    <a:pt x="170" y="17"/>
                  </a:lnTo>
                  <a:lnTo>
                    <a:pt x="175" y="17"/>
                  </a:lnTo>
                  <a:lnTo>
                    <a:pt x="177" y="19"/>
                  </a:lnTo>
                  <a:lnTo>
                    <a:pt x="179" y="19"/>
                  </a:lnTo>
                  <a:lnTo>
                    <a:pt x="182" y="19"/>
                  </a:lnTo>
                  <a:lnTo>
                    <a:pt x="184" y="19"/>
                  </a:lnTo>
                  <a:lnTo>
                    <a:pt x="186" y="19"/>
                  </a:lnTo>
                  <a:lnTo>
                    <a:pt x="186" y="21"/>
                  </a:lnTo>
                  <a:lnTo>
                    <a:pt x="186" y="24"/>
                  </a:lnTo>
                  <a:lnTo>
                    <a:pt x="186" y="24"/>
                  </a:lnTo>
                  <a:lnTo>
                    <a:pt x="186" y="26"/>
                  </a:lnTo>
                  <a:lnTo>
                    <a:pt x="186" y="28"/>
                  </a:lnTo>
                  <a:lnTo>
                    <a:pt x="186" y="31"/>
                  </a:lnTo>
                  <a:lnTo>
                    <a:pt x="186" y="33"/>
                  </a:lnTo>
                  <a:lnTo>
                    <a:pt x="186" y="35"/>
                  </a:lnTo>
                  <a:lnTo>
                    <a:pt x="186" y="35"/>
                  </a:lnTo>
                  <a:lnTo>
                    <a:pt x="186" y="38"/>
                  </a:lnTo>
                  <a:lnTo>
                    <a:pt x="184" y="40"/>
                  </a:lnTo>
                  <a:lnTo>
                    <a:pt x="184" y="42"/>
                  </a:lnTo>
                  <a:lnTo>
                    <a:pt x="184" y="45"/>
                  </a:lnTo>
                  <a:lnTo>
                    <a:pt x="184" y="47"/>
                  </a:lnTo>
                  <a:lnTo>
                    <a:pt x="184" y="49"/>
                  </a:lnTo>
                  <a:lnTo>
                    <a:pt x="184" y="49"/>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778">
              <a:extLst>
                <a:ext uri="{FF2B5EF4-FFF2-40B4-BE49-F238E27FC236}">
                  <a16:creationId xmlns:a16="http://schemas.microsoft.com/office/drawing/2014/main" id="{CA317803-883F-4086-AC6D-C1A4A2D82F3A}"/>
                </a:ext>
              </a:extLst>
            </p:cNvPr>
            <p:cNvSpPr>
              <a:spLocks/>
            </p:cNvSpPr>
            <p:nvPr/>
          </p:nvSpPr>
          <p:spPr bwMode="auto">
            <a:xfrm>
              <a:off x="5628481" y="4467226"/>
              <a:ext cx="258763" cy="395288"/>
            </a:xfrm>
            <a:custGeom>
              <a:avLst/>
              <a:gdLst>
                <a:gd name="T0" fmla="*/ 131 w 163"/>
                <a:gd name="T1" fmla="*/ 191 h 249"/>
                <a:gd name="T2" fmla="*/ 128 w 163"/>
                <a:gd name="T3" fmla="*/ 198 h 249"/>
                <a:gd name="T4" fmla="*/ 126 w 163"/>
                <a:gd name="T5" fmla="*/ 208 h 249"/>
                <a:gd name="T6" fmla="*/ 126 w 163"/>
                <a:gd name="T7" fmla="*/ 212 h 249"/>
                <a:gd name="T8" fmla="*/ 124 w 163"/>
                <a:gd name="T9" fmla="*/ 214 h 249"/>
                <a:gd name="T10" fmla="*/ 121 w 163"/>
                <a:gd name="T11" fmla="*/ 217 h 249"/>
                <a:gd name="T12" fmla="*/ 119 w 163"/>
                <a:gd name="T13" fmla="*/ 219 h 249"/>
                <a:gd name="T14" fmla="*/ 117 w 163"/>
                <a:gd name="T15" fmla="*/ 217 h 249"/>
                <a:gd name="T16" fmla="*/ 117 w 163"/>
                <a:gd name="T17" fmla="*/ 214 h 249"/>
                <a:gd name="T18" fmla="*/ 117 w 163"/>
                <a:gd name="T19" fmla="*/ 214 h 249"/>
                <a:gd name="T20" fmla="*/ 114 w 163"/>
                <a:gd name="T21" fmla="*/ 214 h 249"/>
                <a:gd name="T22" fmla="*/ 114 w 163"/>
                <a:gd name="T23" fmla="*/ 214 h 249"/>
                <a:gd name="T24" fmla="*/ 114 w 163"/>
                <a:gd name="T25" fmla="*/ 214 h 249"/>
                <a:gd name="T26" fmla="*/ 112 w 163"/>
                <a:gd name="T27" fmla="*/ 212 h 249"/>
                <a:gd name="T28" fmla="*/ 107 w 163"/>
                <a:gd name="T29" fmla="*/ 214 h 249"/>
                <a:gd name="T30" fmla="*/ 107 w 163"/>
                <a:gd name="T31" fmla="*/ 214 h 249"/>
                <a:gd name="T32" fmla="*/ 107 w 163"/>
                <a:gd name="T33" fmla="*/ 217 h 249"/>
                <a:gd name="T34" fmla="*/ 105 w 163"/>
                <a:gd name="T35" fmla="*/ 219 h 249"/>
                <a:gd name="T36" fmla="*/ 107 w 163"/>
                <a:gd name="T37" fmla="*/ 221 h 249"/>
                <a:gd name="T38" fmla="*/ 105 w 163"/>
                <a:gd name="T39" fmla="*/ 224 h 249"/>
                <a:gd name="T40" fmla="*/ 105 w 163"/>
                <a:gd name="T41" fmla="*/ 228 h 249"/>
                <a:gd name="T42" fmla="*/ 105 w 163"/>
                <a:gd name="T43" fmla="*/ 233 h 249"/>
                <a:gd name="T44" fmla="*/ 105 w 163"/>
                <a:gd name="T45" fmla="*/ 240 h 249"/>
                <a:gd name="T46" fmla="*/ 105 w 163"/>
                <a:gd name="T47" fmla="*/ 242 h 249"/>
                <a:gd name="T48" fmla="*/ 103 w 163"/>
                <a:gd name="T49" fmla="*/ 245 h 249"/>
                <a:gd name="T50" fmla="*/ 103 w 163"/>
                <a:gd name="T51" fmla="*/ 245 h 249"/>
                <a:gd name="T52" fmla="*/ 103 w 163"/>
                <a:gd name="T53" fmla="*/ 247 h 249"/>
                <a:gd name="T54" fmla="*/ 93 w 163"/>
                <a:gd name="T55" fmla="*/ 238 h 249"/>
                <a:gd name="T56" fmla="*/ 79 w 163"/>
                <a:gd name="T57" fmla="*/ 217 h 249"/>
                <a:gd name="T58" fmla="*/ 68 w 163"/>
                <a:gd name="T59" fmla="*/ 198 h 249"/>
                <a:gd name="T60" fmla="*/ 54 w 163"/>
                <a:gd name="T61" fmla="*/ 177 h 249"/>
                <a:gd name="T62" fmla="*/ 40 w 163"/>
                <a:gd name="T63" fmla="*/ 156 h 249"/>
                <a:gd name="T64" fmla="*/ 26 w 163"/>
                <a:gd name="T65" fmla="*/ 131 h 249"/>
                <a:gd name="T66" fmla="*/ 7 w 163"/>
                <a:gd name="T67" fmla="*/ 105 h 249"/>
                <a:gd name="T68" fmla="*/ 0 w 163"/>
                <a:gd name="T69" fmla="*/ 89 h 249"/>
                <a:gd name="T70" fmla="*/ 7 w 163"/>
                <a:gd name="T71" fmla="*/ 68 h 249"/>
                <a:gd name="T72" fmla="*/ 12 w 163"/>
                <a:gd name="T73" fmla="*/ 45 h 249"/>
                <a:gd name="T74" fmla="*/ 19 w 163"/>
                <a:gd name="T75" fmla="*/ 21 h 249"/>
                <a:gd name="T76" fmla="*/ 26 w 163"/>
                <a:gd name="T77" fmla="*/ 0 h 249"/>
                <a:gd name="T78" fmla="*/ 42 w 163"/>
                <a:gd name="T79" fmla="*/ 5 h 249"/>
                <a:gd name="T80" fmla="*/ 58 w 163"/>
                <a:gd name="T81" fmla="*/ 10 h 249"/>
                <a:gd name="T82" fmla="*/ 77 w 163"/>
                <a:gd name="T83" fmla="*/ 14 h 249"/>
                <a:gd name="T84" fmla="*/ 93 w 163"/>
                <a:gd name="T85" fmla="*/ 19 h 249"/>
                <a:gd name="T86" fmla="*/ 112 w 163"/>
                <a:gd name="T87" fmla="*/ 21 h 249"/>
                <a:gd name="T88" fmla="*/ 128 w 163"/>
                <a:gd name="T89" fmla="*/ 26 h 249"/>
                <a:gd name="T90" fmla="*/ 144 w 163"/>
                <a:gd name="T91" fmla="*/ 31 h 249"/>
                <a:gd name="T92" fmla="*/ 163 w 163"/>
                <a:gd name="T93" fmla="*/ 33 h 249"/>
                <a:gd name="T94" fmla="*/ 158 w 163"/>
                <a:gd name="T95" fmla="*/ 54 h 249"/>
                <a:gd name="T96" fmla="*/ 154 w 163"/>
                <a:gd name="T97" fmla="*/ 72 h 249"/>
                <a:gd name="T98" fmla="*/ 151 w 163"/>
                <a:gd name="T99" fmla="*/ 91 h 249"/>
                <a:gd name="T100" fmla="*/ 147 w 163"/>
                <a:gd name="T101" fmla="*/ 112 h 249"/>
                <a:gd name="T102" fmla="*/ 142 w 163"/>
                <a:gd name="T103" fmla="*/ 131 h 249"/>
                <a:gd name="T104" fmla="*/ 138 w 163"/>
                <a:gd name="T105" fmla="*/ 152 h 249"/>
                <a:gd name="T106" fmla="*/ 135 w 163"/>
                <a:gd name="T107" fmla="*/ 170 h 249"/>
                <a:gd name="T108" fmla="*/ 131 w 163"/>
                <a:gd name="T109" fmla="*/ 18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249">
                  <a:moveTo>
                    <a:pt x="131" y="189"/>
                  </a:moveTo>
                  <a:lnTo>
                    <a:pt x="131" y="189"/>
                  </a:lnTo>
                  <a:lnTo>
                    <a:pt x="131" y="191"/>
                  </a:lnTo>
                  <a:lnTo>
                    <a:pt x="131" y="191"/>
                  </a:lnTo>
                  <a:lnTo>
                    <a:pt x="128" y="194"/>
                  </a:lnTo>
                  <a:lnTo>
                    <a:pt x="128" y="196"/>
                  </a:lnTo>
                  <a:lnTo>
                    <a:pt x="128" y="196"/>
                  </a:lnTo>
                  <a:lnTo>
                    <a:pt x="128" y="198"/>
                  </a:lnTo>
                  <a:lnTo>
                    <a:pt x="128" y="201"/>
                  </a:lnTo>
                  <a:lnTo>
                    <a:pt x="128" y="203"/>
                  </a:lnTo>
                  <a:lnTo>
                    <a:pt x="126" y="205"/>
                  </a:lnTo>
                  <a:lnTo>
                    <a:pt x="126" y="208"/>
                  </a:lnTo>
                  <a:lnTo>
                    <a:pt x="126" y="210"/>
                  </a:lnTo>
                  <a:lnTo>
                    <a:pt x="126" y="210"/>
                  </a:lnTo>
                  <a:lnTo>
                    <a:pt x="126" y="212"/>
                  </a:lnTo>
                  <a:lnTo>
                    <a:pt x="126" y="212"/>
                  </a:lnTo>
                  <a:lnTo>
                    <a:pt x="126" y="212"/>
                  </a:lnTo>
                  <a:lnTo>
                    <a:pt x="126" y="214"/>
                  </a:lnTo>
                  <a:lnTo>
                    <a:pt x="126" y="214"/>
                  </a:lnTo>
                  <a:lnTo>
                    <a:pt x="124" y="214"/>
                  </a:lnTo>
                  <a:lnTo>
                    <a:pt x="124" y="214"/>
                  </a:lnTo>
                  <a:lnTo>
                    <a:pt x="124" y="217"/>
                  </a:lnTo>
                  <a:lnTo>
                    <a:pt x="124" y="217"/>
                  </a:lnTo>
                  <a:lnTo>
                    <a:pt x="121" y="217"/>
                  </a:lnTo>
                  <a:lnTo>
                    <a:pt x="121" y="219"/>
                  </a:lnTo>
                  <a:lnTo>
                    <a:pt x="121" y="219"/>
                  </a:lnTo>
                  <a:lnTo>
                    <a:pt x="119" y="219"/>
                  </a:lnTo>
                  <a:lnTo>
                    <a:pt x="119" y="219"/>
                  </a:lnTo>
                  <a:lnTo>
                    <a:pt x="119" y="219"/>
                  </a:lnTo>
                  <a:lnTo>
                    <a:pt x="119" y="219"/>
                  </a:lnTo>
                  <a:lnTo>
                    <a:pt x="117" y="217"/>
                  </a:lnTo>
                  <a:lnTo>
                    <a:pt x="117" y="217"/>
                  </a:lnTo>
                  <a:lnTo>
                    <a:pt x="117" y="217"/>
                  </a:lnTo>
                  <a:lnTo>
                    <a:pt x="117" y="214"/>
                  </a:lnTo>
                  <a:lnTo>
                    <a:pt x="117" y="214"/>
                  </a:lnTo>
                  <a:lnTo>
                    <a:pt x="117" y="214"/>
                  </a:lnTo>
                  <a:lnTo>
                    <a:pt x="117" y="214"/>
                  </a:lnTo>
                  <a:lnTo>
                    <a:pt x="117" y="214"/>
                  </a:lnTo>
                  <a:lnTo>
                    <a:pt x="117" y="214"/>
                  </a:lnTo>
                  <a:lnTo>
                    <a:pt x="117" y="214"/>
                  </a:lnTo>
                  <a:lnTo>
                    <a:pt x="117" y="214"/>
                  </a:lnTo>
                  <a:lnTo>
                    <a:pt x="117" y="214"/>
                  </a:lnTo>
                  <a:lnTo>
                    <a:pt x="117" y="214"/>
                  </a:lnTo>
                  <a:lnTo>
                    <a:pt x="114" y="214"/>
                  </a:lnTo>
                  <a:lnTo>
                    <a:pt x="114" y="214"/>
                  </a:lnTo>
                  <a:lnTo>
                    <a:pt x="114" y="214"/>
                  </a:lnTo>
                  <a:lnTo>
                    <a:pt x="114" y="214"/>
                  </a:lnTo>
                  <a:lnTo>
                    <a:pt x="114" y="214"/>
                  </a:lnTo>
                  <a:lnTo>
                    <a:pt x="114" y="214"/>
                  </a:lnTo>
                  <a:lnTo>
                    <a:pt x="114" y="214"/>
                  </a:lnTo>
                  <a:lnTo>
                    <a:pt x="114" y="214"/>
                  </a:lnTo>
                  <a:lnTo>
                    <a:pt x="114" y="214"/>
                  </a:lnTo>
                  <a:lnTo>
                    <a:pt x="112" y="214"/>
                  </a:lnTo>
                  <a:lnTo>
                    <a:pt x="112" y="212"/>
                  </a:lnTo>
                  <a:lnTo>
                    <a:pt x="112" y="212"/>
                  </a:lnTo>
                  <a:lnTo>
                    <a:pt x="112" y="212"/>
                  </a:lnTo>
                  <a:lnTo>
                    <a:pt x="112" y="212"/>
                  </a:lnTo>
                  <a:lnTo>
                    <a:pt x="110" y="212"/>
                  </a:lnTo>
                  <a:lnTo>
                    <a:pt x="107" y="214"/>
                  </a:lnTo>
                  <a:lnTo>
                    <a:pt x="107" y="214"/>
                  </a:lnTo>
                  <a:lnTo>
                    <a:pt x="107" y="214"/>
                  </a:lnTo>
                  <a:lnTo>
                    <a:pt x="107" y="214"/>
                  </a:lnTo>
                  <a:lnTo>
                    <a:pt x="107" y="214"/>
                  </a:lnTo>
                  <a:lnTo>
                    <a:pt x="107" y="214"/>
                  </a:lnTo>
                  <a:lnTo>
                    <a:pt x="107" y="214"/>
                  </a:lnTo>
                  <a:lnTo>
                    <a:pt x="107" y="214"/>
                  </a:lnTo>
                  <a:lnTo>
                    <a:pt x="107" y="214"/>
                  </a:lnTo>
                  <a:lnTo>
                    <a:pt x="107" y="217"/>
                  </a:lnTo>
                  <a:lnTo>
                    <a:pt x="107" y="217"/>
                  </a:lnTo>
                  <a:lnTo>
                    <a:pt x="105" y="217"/>
                  </a:lnTo>
                  <a:lnTo>
                    <a:pt x="105" y="217"/>
                  </a:lnTo>
                  <a:lnTo>
                    <a:pt x="105" y="219"/>
                  </a:lnTo>
                  <a:lnTo>
                    <a:pt x="105" y="219"/>
                  </a:lnTo>
                  <a:lnTo>
                    <a:pt x="107" y="221"/>
                  </a:lnTo>
                  <a:lnTo>
                    <a:pt x="107" y="221"/>
                  </a:lnTo>
                  <a:lnTo>
                    <a:pt x="107" y="221"/>
                  </a:lnTo>
                  <a:lnTo>
                    <a:pt x="107" y="221"/>
                  </a:lnTo>
                  <a:lnTo>
                    <a:pt x="105" y="221"/>
                  </a:lnTo>
                  <a:lnTo>
                    <a:pt x="105" y="224"/>
                  </a:lnTo>
                  <a:lnTo>
                    <a:pt x="105" y="224"/>
                  </a:lnTo>
                  <a:lnTo>
                    <a:pt x="105" y="226"/>
                  </a:lnTo>
                  <a:lnTo>
                    <a:pt x="105" y="226"/>
                  </a:lnTo>
                  <a:lnTo>
                    <a:pt x="105" y="228"/>
                  </a:lnTo>
                  <a:lnTo>
                    <a:pt x="105" y="228"/>
                  </a:lnTo>
                  <a:lnTo>
                    <a:pt x="105" y="231"/>
                  </a:lnTo>
                  <a:lnTo>
                    <a:pt x="105" y="231"/>
                  </a:lnTo>
                  <a:lnTo>
                    <a:pt x="105" y="233"/>
                  </a:lnTo>
                  <a:lnTo>
                    <a:pt x="105" y="233"/>
                  </a:lnTo>
                  <a:lnTo>
                    <a:pt x="105" y="235"/>
                  </a:lnTo>
                  <a:lnTo>
                    <a:pt x="105" y="238"/>
                  </a:lnTo>
                  <a:lnTo>
                    <a:pt x="105" y="238"/>
                  </a:lnTo>
                  <a:lnTo>
                    <a:pt x="105" y="240"/>
                  </a:lnTo>
                  <a:lnTo>
                    <a:pt x="105" y="240"/>
                  </a:lnTo>
                  <a:lnTo>
                    <a:pt x="105" y="242"/>
                  </a:lnTo>
                  <a:lnTo>
                    <a:pt x="105" y="242"/>
                  </a:lnTo>
                  <a:lnTo>
                    <a:pt x="105" y="242"/>
                  </a:lnTo>
                  <a:lnTo>
                    <a:pt x="105" y="245"/>
                  </a:lnTo>
                  <a:lnTo>
                    <a:pt x="105" y="245"/>
                  </a:lnTo>
                  <a:lnTo>
                    <a:pt x="103" y="245"/>
                  </a:lnTo>
                  <a:lnTo>
                    <a:pt x="103" y="245"/>
                  </a:lnTo>
                  <a:lnTo>
                    <a:pt x="103" y="245"/>
                  </a:lnTo>
                  <a:lnTo>
                    <a:pt x="103" y="245"/>
                  </a:lnTo>
                  <a:lnTo>
                    <a:pt x="103" y="245"/>
                  </a:lnTo>
                  <a:lnTo>
                    <a:pt x="103" y="245"/>
                  </a:lnTo>
                  <a:lnTo>
                    <a:pt x="103" y="247"/>
                  </a:lnTo>
                  <a:lnTo>
                    <a:pt x="103" y="247"/>
                  </a:lnTo>
                  <a:lnTo>
                    <a:pt x="103" y="247"/>
                  </a:lnTo>
                  <a:lnTo>
                    <a:pt x="103" y="247"/>
                  </a:lnTo>
                  <a:lnTo>
                    <a:pt x="103" y="249"/>
                  </a:lnTo>
                  <a:lnTo>
                    <a:pt x="103" y="249"/>
                  </a:lnTo>
                  <a:lnTo>
                    <a:pt x="98" y="242"/>
                  </a:lnTo>
                  <a:lnTo>
                    <a:pt x="93" y="238"/>
                  </a:lnTo>
                  <a:lnTo>
                    <a:pt x="91" y="233"/>
                  </a:lnTo>
                  <a:lnTo>
                    <a:pt x="86" y="226"/>
                  </a:lnTo>
                  <a:lnTo>
                    <a:pt x="84" y="221"/>
                  </a:lnTo>
                  <a:lnTo>
                    <a:pt x="79" y="217"/>
                  </a:lnTo>
                  <a:lnTo>
                    <a:pt x="77" y="212"/>
                  </a:lnTo>
                  <a:lnTo>
                    <a:pt x="75" y="208"/>
                  </a:lnTo>
                  <a:lnTo>
                    <a:pt x="70" y="203"/>
                  </a:lnTo>
                  <a:lnTo>
                    <a:pt x="68" y="198"/>
                  </a:lnTo>
                  <a:lnTo>
                    <a:pt x="65" y="194"/>
                  </a:lnTo>
                  <a:lnTo>
                    <a:pt x="61" y="187"/>
                  </a:lnTo>
                  <a:lnTo>
                    <a:pt x="58" y="182"/>
                  </a:lnTo>
                  <a:lnTo>
                    <a:pt x="54" y="177"/>
                  </a:lnTo>
                  <a:lnTo>
                    <a:pt x="51" y="173"/>
                  </a:lnTo>
                  <a:lnTo>
                    <a:pt x="47" y="166"/>
                  </a:lnTo>
                  <a:lnTo>
                    <a:pt x="44" y="161"/>
                  </a:lnTo>
                  <a:lnTo>
                    <a:pt x="40" y="156"/>
                  </a:lnTo>
                  <a:lnTo>
                    <a:pt x="37" y="149"/>
                  </a:lnTo>
                  <a:lnTo>
                    <a:pt x="33" y="145"/>
                  </a:lnTo>
                  <a:lnTo>
                    <a:pt x="30" y="138"/>
                  </a:lnTo>
                  <a:lnTo>
                    <a:pt x="26" y="131"/>
                  </a:lnTo>
                  <a:lnTo>
                    <a:pt x="21" y="124"/>
                  </a:lnTo>
                  <a:lnTo>
                    <a:pt x="16" y="119"/>
                  </a:lnTo>
                  <a:lnTo>
                    <a:pt x="12" y="112"/>
                  </a:lnTo>
                  <a:lnTo>
                    <a:pt x="7" y="105"/>
                  </a:lnTo>
                  <a:lnTo>
                    <a:pt x="3" y="98"/>
                  </a:lnTo>
                  <a:lnTo>
                    <a:pt x="0" y="91"/>
                  </a:lnTo>
                  <a:lnTo>
                    <a:pt x="0" y="91"/>
                  </a:lnTo>
                  <a:lnTo>
                    <a:pt x="0" y="89"/>
                  </a:lnTo>
                  <a:lnTo>
                    <a:pt x="3" y="84"/>
                  </a:lnTo>
                  <a:lnTo>
                    <a:pt x="3" y="79"/>
                  </a:lnTo>
                  <a:lnTo>
                    <a:pt x="5" y="72"/>
                  </a:lnTo>
                  <a:lnTo>
                    <a:pt x="7" y="68"/>
                  </a:lnTo>
                  <a:lnTo>
                    <a:pt x="7" y="61"/>
                  </a:lnTo>
                  <a:lnTo>
                    <a:pt x="10" y="56"/>
                  </a:lnTo>
                  <a:lnTo>
                    <a:pt x="12" y="52"/>
                  </a:lnTo>
                  <a:lnTo>
                    <a:pt x="12" y="45"/>
                  </a:lnTo>
                  <a:lnTo>
                    <a:pt x="14" y="40"/>
                  </a:lnTo>
                  <a:lnTo>
                    <a:pt x="16" y="33"/>
                  </a:lnTo>
                  <a:lnTo>
                    <a:pt x="16" y="28"/>
                  </a:lnTo>
                  <a:lnTo>
                    <a:pt x="19" y="21"/>
                  </a:lnTo>
                  <a:lnTo>
                    <a:pt x="21" y="17"/>
                  </a:lnTo>
                  <a:lnTo>
                    <a:pt x="21" y="12"/>
                  </a:lnTo>
                  <a:lnTo>
                    <a:pt x="23" y="5"/>
                  </a:lnTo>
                  <a:lnTo>
                    <a:pt x="26" y="0"/>
                  </a:lnTo>
                  <a:lnTo>
                    <a:pt x="30" y="0"/>
                  </a:lnTo>
                  <a:lnTo>
                    <a:pt x="33" y="3"/>
                  </a:lnTo>
                  <a:lnTo>
                    <a:pt x="37" y="3"/>
                  </a:lnTo>
                  <a:lnTo>
                    <a:pt x="42" y="5"/>
                  </a:lnTo>
                  <a:lnTo>
                    <a:pt x="47" y="5"/>
                  </a:lnTo>
                  <a:lnTo>
                    <a:pt x="51" y="7"/>
                  </a:lnTo>
                  <a:lnTo>
                    <a:pt x="56" y="7"/>
                  </a:lnTo>
                  <a:lnTo>
                    <a:pt x="58" y="10"/>
                  </a:lnTo>
                  <a:lnTo>
                    <a:pt x="63" y="10"/>
                  </a:lnTo>
                  <a:lnTo>
                    <a:pt x="68" y="12"/>
                  </a:lnTo>
                  <a:lnTo>
                    <a:pt x="72" y="12"/>
                  </a:lnTo>
                  <a:lnTo>
                    <a:pt x="77" y="14"/>
                  </a:lnTo>
                  <a:lnTo>
                    <a:pt x="82" y="14"/>
                  </a:lnTo>
                  <a:lnTo>
                    <a:pt x="86" y="17"/>
                  </a:lnTo>
                  <a:lnTo>
                    <a:pt x="89" y="17"/>
                  </a:lnTo>
                  <a:lnTo>
                    <a:pt x="93" y="19"/>
                  </a:lnTo>
                  <a:lnTo>
                    <a:pt x="98" y="19"/>
                  </a:lnTo>
                  <a:lnTo>
                    <a:pt x="103" y="19"/>
                  </a:lnTo>
                  <a:lnTo>
                    <a:pt x="107" y="21"/>
                  </a:lnTo>
                  <a:lnTo>
                    <a:pt x="112" y="21"/>
                  </a:lnTo>
                  <a:lnTo>
                    <a:pt x="114" y="24"/>
                  </a:lnTo>
                  <a:lnTo>
                    <a:pt x="119" y="24"/>
                  </a:lnTo>
                  <a:lnTo>
                    <a:pt x="124" y="26"/>
                  </a:lnTo>
                  <a:lnTo>
                    <a:pt x="128" y="26"/>
                  </a:lnTo>
                  <a:lnTo>
                    <a:pt x="133" y="26"/>
                  </a:lnTo>
                  <a:lnTo>
                    <a:pt x="138" y="28"/>
                  </a:lnTo>
                  <a:lnTo>
                    <a:pt x="142" y="28"/>
                  </a:lnTo>
                  <a:lnTo>
                    <a:pt x="144" y="31"/>
                  </a:lnTo>
                  <a:lnTo>
                    <a:pt x="149" y="31"/>
                  </a:lnTo>
                  <a:lnTo>
                    <a:pt x="154" y="33"/>
                  </a:lnTo>
                  <a:lnTo>
                    <a:pt x="158" y="33"/>
                  </a:lnTo>
                  <a:lnTo>
                    <a:pt x="163" y="33"/>
                  </a:lnTo>
                  <a:lnTo>
                    <a:pt x="161" y="38"/>
                  </a:lnTo>
                  <a:lnTo>
                    <a:pt x="161" y="42"/>
                  </a:lnTo>
                  <a:lnTo>
                    <a:pt x="161" y="49"/>
                  </a:lnTo>
                  <a:lnTo>
                    <a:pt x="158" y="54"/>
                  </a:lnTo>
                  <a:lnTo>
                    <a:pt x="158" y="59"/>
                  </a:lnTo>
                  <a:lnTo>
                    <a:pt x="156" y="63"/>
                  </a:lnTo>
                  <a:lnTo>
                    <a:pt x="156" y="68"/>
                  </a:lnTo>
                  <a:lnTo>
                    <a:pt x="154" y="72"/>
                  </a:lnTo>
                  <a:lnTo>
                    <a:pt x="154" y="77"/>
                  </a:lnTo>
                  <a:lnTo>
                    <a:pt x="151" y="82"/>
                  </a:lnTo>
                  <a:lnTo>
                    <a:pt x="151" y="86"/>
                  </a:lnTo>
                  <a:lnTo>
                    <a:pt x="151" y="91"/>
                  </a:lnTo>
                  <a:lnTo>
                    <a:pt x="149" y="98"/>
                  </a:lnTo>
                  <a:lnTo>
                    <a:pt x="149" y="103"/>
                  </a:lnTo>
                  <a:lnTo>
                    <a:pt x="147" y="107"/>
                  </a:lnTo>
                  <a:lnTo>
                    <a:pt x="147" y="112"/>
                  </a:lnTo>
                  <a:lnTo>
                    <a:pt x="144" y="117"/>
                  </a:lnTo>
                  <a:lnTo>
                    <a:pt x="144" y="121"/>
                  </a:lnTo>
                  <a:lnTo>
                    <a:pt x="144" y="126"/>
                  </a:lnTo>
                  <a:lnTo>
                    <a:pt x="142" y="131"/>
                  </a:lnTo>
                  <a:lnTo>
                    <a:pt x="142" y="135"/>
                  </a:lnTo>
                  <a:lnTo>
                    <a:pt x="140" y="140"/>
                  </a:lnTo>
                  <a:lnTo>
                    <a:pt x="140" y="145"/>
                  </a:lnTo>
                  <a:lnTo>
                    <a:pt x="138" y="152"/>
                  </a:lnTo>
                  <a:lnTo>
                    <a:pt x="138" y="156"/>
                  </a:lnTo>
                  <a:lnTo>
                    <a:pt x="135" y="161"/>
                  </a:lnTo>
                  <a:lnTo>
                    <a:pt x="135" y="166"/>
                  </a:lnTo>
                  <a:lnTo>
                    <a:pt x="135" y="170"/>
                  </a:lnTo>
                  <a:lnTo>
                    <a:pt x="133" y="175"/>
                  </a:lnTo>
                  <a:lnTo>
                    <a:pt x="133" y="180"/>
                  </a:lnTo>
                  <a:lnTo>
                    <a:pt x="131" y="184"/>
                  </a:lnTo>
                  <a:lnTo>
                    <a:pt x="131" y="189"/>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779">
              <a:extLst>
                <a:ext uri="{FF2B5EF4-FFF2-40B4-BE49-F238E27FC236}">
                  <a16:creationId xmlns:a16="http://schemas.microsoft.com/office/drawing/2014/main" id="{92E41355-EBDE-44B5-AD7F-E44D27CA9E2D}"/>
                </a:ext>
              </a:extLst>
            </p:cNvPr>
            <p:cNvSpPr>
              <a:spLocks/>
            </p:cNvSpPr>
            <p:nvPr/>
          </p:nvSpPr>
          <p:spPr bwMode="auto">
            <a:xfrm>
              <a:off x="5990431" y="4803776"/>
              <a:ext cx="288925" cy="292100"/>
            </a:xfrm>
            <a:custGeom>
              <a:avLst/>
              <a:gdLst>
                <a:gd name="T0" fmla="*/ 179 w 182"/>
                <a:gd name="T1" fmla="*/ 44 h 184"/>
                <a:gd name="T2" fmla="*/ 177 w 182"/>
                <a:gd name="T3" fmla="*/ 70 h 184"/>
                <a:gd name="T4" fmla="*/ 175 w 182"/>
                <a:gd name="T5" fmla="*/ 98 h 184"/>
                <a:gd name="T6" fmla="*/ 173 w 182"/>
                <a:gd name="T7" fmla="*/ 124 h 184"/>
                <a:gd name="T8" fmla="*/ 170 w 182"/>
                <a:gd name="T9" fmla="*/ 151 h 184"/>
                <a:gd name="T10" fmla="*/ 168 w 182"/>
                <a:gd name="T11" fmla="*/ 177 h 184"/>
                <a:gd name="T12" fmla="*/ 131 w 182"/>
                <a:gd name="T13" fmla="*/ 175 h 184"/>
                <a:gd name="T14" fmla="*/ 93 w 182"/>
                <a:gd name="T15" fmla="*/ 170 h 184"/>
                <a:gd name="T16" fmla="*/ 68 w 182"/>
                <a:gd name="T17" fmla="*/ 168 h 184"/>
                <a:gd name="T18" fmla="*/ 70 w 182"/>
                <a:gd name="T19" fmla="*/ 172 h 184"/>
                <a:gd name="T20" fmla="*/ 70 w 182"/>
                <a:gd name="T21" fmla="*/ 175 h 184"/>
                <a:gd name="T22" fmla="*/ 70 w 182"/>
                <a:gd name="T23" fmla="*/ 175 h 184"/>
                <a:gd name="T24" fmla="*/ 65 w 182"/>
                <a:gd name="T25" fmla="*/ 175 h 184"/>
                <a:gd name="T26" fmla="*/ 61 w 182"/>
                <a:gd name="T27" fmla="*/ 175 h 184"/>
                <a:gd name="T28" fmla="*/ 56 w 182"/>
                <a:gd name="T29" fmla="*/ 172 h 184"/>
                <a:gd name="T30" fmla="*/ 51 w 182"/>
                <a:gd name="T31" fmla="*/ 172 h 184"/>
                <a:gd name="T32" fmla="*/ 49 w 182"/>
                <a:gd name="T33" fmla="*/ 172 h 184"/>
                <a:gd name="T34" fmla="*/ 45 w 182"/>
                <a:gd name="T35" fmla="*/ 172 h 184"/>
                <a:gd name="T36" fmla="*/ 40 w 182"/>
                <a:gd name="T37" fmla="*/ 170 h 184"/>
                <a:gd name="T38" fmla="*/ 35 w 182"/>
                <a:gd name="T39" fmla="*/ 170 h 184"/>
                <a:gd name="T40" fmla="*/ 31 w 182"/>
                <a:gd name="T41" fmla="*/ 170 h 184"/>
                <a:gd name="T42" fmla="*/ 26 w 182"/>
                <a:gd name="T43" fmla="*/ 170 h 184"/>
                <a:gd name="T44" fmla="*/ 26 w 182"/>
                <a:gd name="T45" fmla="*/ 170 h 184"/>
                <a:gd name="T46" fmla="*/ 26 w 182"/>
                <a:gd name="T47" fmla="*/ 172 h 184"/>
                <a:gd name="T48" fmla="*/ 26 w 182"/>
                <a:gd name="T49" fmla="*/ 172 h 184"/>
                <a:gd name="T50" fmla="*/ 26 w 182"/>
                <a:gd name="T51" fmla="*/ 175 h 184"/>
                <a:gd name="T52" fmla="*/ 24 w 182"/>
                <a:gd name="T53" fmla="*/ 175 h 184"/>
                <a:gd name="T54" fmla="*/ 24 w 182"/>
                <a:gd name="T55" fmla="*/ 177 h 184"/>
                <a:gd name="T56" fmla="*/ 24 w 182"/>
                <a:gd name="T57" fmla="*/ 177 h 184"/>
                <a:gd name="T58" fmla="*/ 24 w 182"/>
                <a:gd name="T59" fmla="*/ 179 h 184"/>
                <a:gd name="T60" fmla="*/ 24 w 182"/>
                <a:gd name="T61" fmla="*/ 182 h 184"/>
                <a:gd name="T62" fmla="*/ 24 w 182"/>
                <a:gd name="T63" fmla="*/ 182 h 184"/>
                <a:gd name="T64" fmla="*/ 24 w 182"/>
                <a:gd name="T65" fmla="*/ 184 h 184"/>
                <a:gd name="T66" fmla="*/ 17 w 182"/>
                <a:gd name="T67" fmla="*/ 182 h 184"/>
                <a:gd name="T68" fmla="*/ 10 w 182"/>
                <a:gd name="T69" fmla="*/ 182 h 184"/>
                <a:gd name="T70" fmla="*/ 3 w 182"/>
                <a:gd name="T71" fmla="*/ 179 h 184"/>
                <a:gd name="T72" fmla="*/ 0 w 182"/>
                <a:gd name="T73" fmla="*/ 179 h 184"/>
                <a:gd name="T74" fmla="*/ 0 w 182"/>
                <a:gd name="T75" fmla="*/ 179 h 184"/>
                <a:gd name="T76" fmla="*/ 0 w 182"/>
                <a:gd name="T77" fmla="*/ 179 h 184"/>
                <a:gd name="T78" fmla="*/ 0 w 182"/>
                <a:gd name="T79" fmla="*/ 179 h 184"/>
                <a:gd name="T80" fmla="*/ 0 w 182"/>
                <a:gd name="T81" fmla="*/ 179 h 184"/>
                <a:gd name="T82" fmla="*/ 0 w 182"/>
                <a:gd name="T83" fmla="*/ 179 h 184"/>
                <a:gd name="T84" fmla="*/ 5 w 182"/>
                <a:gd name="T85" fmla="*/ 147 h 184"/>
                <a:gd name="T86" fmla="*/ 12 w 182"/>
                <a:gd name="T87" fmla="*/ 112 h 184"/>
                <a:gd name="T88" fmla="*/ 17 w 182"/>
                <a:gd name="T89" fmla="*/ 79 h 184"/>
                <a:gd name="T90" fmla="*/ 21 w 182"/>
                <a:gd name="T91" fmla="*/ 44 h 184"/>
                <a:gd name="T92" fmla="*/ 26 w 182"/>
                <a:gd name="T93" fmla="*/ 12 h 184"/>
                <a:gd name="T94" fmla="*/ 47 w 182"/>
                <a:gd name="T95" fmla="*/ 2 h 184"/>
                <a:gd name="T96" fmla="*/ 75 w 182"/>
                <a:gd name="T97" fmla="*/ 7 h 184"/>
                <a:gd name="T98" fmla="*/ 105 w 182"/>
                <a:gd name="T99" fmla="*/ 9 h 184"/>
                <a:gd name="T100" fmla="*/ 133 w 182"/>
                <a:gd name="T101" fmla="*/ 14 h 184"/>
                <a:gd name="T102" fmla="*/ 163 w 182"/>
                <a:gd name="T103" fmla="*/ 16 h 184"/>
                <a:gd name="T104" fmla="*/ 182 w 182"/>
                <a:gd name="T105" fmla="*/ 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2" h="184">
                  <a:moveTo>
                    <a:pt x="179" y="35"/>
                  </a:moveTo>
                  <a:lnTo>
                    <a:pt x="179" y="33"/>
                  </a:lnTo>
                  <a:lnTo>
                    <a:pt x="179" y="35"/>
                  </a:lnTo>
                  <a:lnTo>
                    <a:pt x="179" y="35"/>
                  </a:lnTo>
                  <a:lnTo>
                    <a:pt x="179" y="40"/>
                  </a:lnTo>
                  <a:lnTo>
                    <a:pt x="179" y="44"/>
                  </a:lnTo>
                  <a:lnTo>
                    <a:pt x="177" y="49"/>
                  </a:lnTo>
                  <a:lnTo>
                    <a:pt x="177" y="54"/>
                  </a:lnTo>
                  <a:lnTo>
                    <a:pt x="177" y="58"/>
                  </a:lnTo>
                  <a:lnTo>
                    <a:pt x="177" y="63"/>
                  </a:lnTo>
                  <a:lnTo>
                    <a:pt x="177" y="65"/>
                  </a:lnTo>
                  <a:lnTo>
                    <a:pt x="177" y="70"/>
                  </a:lnTo>
                  <a:lnTo>
                    <a:pt x="175" y="75"/>
                  </a:lnTo>
                  <a:lnTo>
                    <a:pt x="175" y="79"/>
                  </a:lnTo>
                  <a:lnTo>
                    <a:pt x="175" y="84"/>
                  </a:lnTo>
                  <a:lnTo>
                    <a:pt x="175" y="89"/>
                  </a:lnTo>
                  <a:lnTo>
                    <a:pt x="175" y="93"/>
                  </a:lnTo>
                  <a:lnTo>
                    <a:pt x="175" y="98"/>
                  </a:lnTo>
                  <a:lnTo>
                    <a:pt x="173" y="103"/>
                  </a:lnTo>
                  <a:lnTo>
                    <a:pt x="173" y="107"/>
                  </a:lnTo>
                  <a:lnTo>
                    <a:pt x="173" y="112"/>
                  </a:lnTo>
                  <a:lnTo>
                    <a:pt x="173" y="114"/>
                  </a:lnTo>
                  <a:lnTo>
                    <a:pt x="173" y="119"/>
                  </a:lnTo>
                  <a:lnTo>
                    <a:pt x="173" y="124"/>
                  </a:lnTo>
                  <a:lnTo>
                    <a:pt x="170" y="128"/>
                  </a:lnTo>
                  <a:lnTo>
                    <a:pt x="170" y="133"/>
                  </a:lnTo>
                  <a:lnTo>
                    <a:pt x="170" y="138"/>
                  </a:lnTo>
                  <a:lnTo>
                    <a:pt x="170" y="142"/>
                  </a:lnTo>
                  <a:lnTo>
                    <a:pt x="170" y="147"/>
                  </a:lnTo>
                  <a:lnTo>
                    <a:pt x="170" y="151"/>
                  </a:lnTo>
                  <a:lnTo>
                    <a:pt x="168" y="156"/>
                  </a:lnTo>
                  <a:lnTo>
                    <a:pt x="168" y="161"/>
                  </a:lnTo>
                  <a:lnTo>
                    <a:pt x="168" y="163"/>
                  </a:lnTo>
                  <a:lnTo>
                    <a:pt x="168" y="168"/>
                  </a:lnTo>
                  <a:lnTo>
                    <a:pt x="168" y="172"/>
                  </a:lnTo>
                  <a:lnTo>
                    <a:pt x="168" y="177"/>
                  </a:lnTo>
                  <a:lnTo>
                    <a:pt x="161" y="177"/>
                  </a:lnTo>
                  <a:lnTo>
                    <a:pt x="154" y="177"/>
                  </a:lnTo>
                  <a:lnTo>
                    <a:pt x="149" y="177"/>
                  </a:lnTo>
                  <a:lnTo>
                    <a:pt x="142" y="175"/>
                  </a:lnTo>
                  <a:lnTo>
                    <a:pt x="138" y="175"/>
                  </a:lnTo>
                  <a:lnTo>
                    <a:pt x="131" y="175"/>
                  </a:lnTo>
                  <a:lnTo>
                    <a:pt x="124" y="175"/>
                  </a:lnTo>
                  <a:lnTo>
                    <a:pt x="119" y="172"/>
                  </a:lnTo>
                  <a:lnTo>
                    <a:pt x="112" y="172"/>
                  </a:lnTo>
                  <a:lnTo>
                    <a:pt x="107" y="172"/>
                  </a:lnTo>
                  <a:lnTo>
                    <a:pt x="100" y="170"/>
                  </a:lnTo>
                  <a:lnTo>
                    <a:pt x="93" y="170"/>
                  </a:lnTo>
                  <a:lnTo>
                    <a:pt x="89" y="170"/>
                  </a:lnTo>
                  <a:lnTo>
                    <a:pt x="82" y="170"/>
                  </a:lnTo>
                  <a:lnTo>
                    <a:pt x="77" y="168"/>
                  </a:lnTo>
                  <a:lnTo>
                    <a:pt x="70" y="168"/>
                  </a:lnTo>
                  <a:lnTo>
                    <a:pt x="70" y="168"/>
                  </a:lnTo>
                  <a:lnTo>
                    <a:pt x="68" y="168"/>
                  </a:lnTo>
                  <a:lnTo>
                    <a:pt x="68" y="168"/>
                  </a:lnTo>
                  <a:lnTo>
                    <a:pt x="70" y="170"/>
                  </a:lnTo>
                  <a:lnTo>
                    <a:pt x="70" y="170"/>
                  </a:lnTo>
                  <a:lnTo>
                    <a:pt x="70" y="170"/>
                  </a:lnTo>
                  <a:lnTo>
                    <a:pt x="70" y="172"/>
                  </a:lnTo>
                  <a:lnTo>
                    <a:pt x="70" y="172"/>
                  </a:lnTo>
                  <a:lnTo>
                    <a:pt x="70" y="172"/>
                  </a:lnTo>
                  <a:lnTo>
                    <a:pt x="70" y="172"/>
                  </a:lnTo>
                  <a:lnTo>
                    <a:pt x="70" y="172"/>
                  </a:lnTo>
                  <a:lnTo>
                    <a:pt x="70" y="172"/>
                  </a:lnTo>
                  <a:lnTo>
                    <a:pt x="70" y="175"/>
                  </a:lnTo>
                  <a:lnTo>
                    <a:pt x="70" y="175"/>
                  </a:lnTo>
                  <a:lnTo>
                    <a:pt x="70" y="175"/>
                  </a:lnTo>
                  <a:lnTo>
                    <a:pt x="72" y="175"/>
                  </a:lnTo>
                  <a:lnTo>
                    <a:pt x="72" y="175"/>
                  </a:lnTo>
                  <a:lnTo>
                    <a:pt x="70" y="175"/>
                  </a:lnTo>
                  <a:lnTo>
                    <a:pt x="70" y="175"/>
                  </a:lnTo>
                  <a:lnTo>
                    <a:pt x="70" y="175"/>
                  </a:lnTo>
                  <a:lnTo>
                    <a:pt x="68" y="175"/>
                  </a:lnTo>
                  <a:lnTo>
                    <a:pt x="68" y="175"/>
                  </a:lnTo>
                  <a:lnTo>
                    <a:pt x="68" y="175"/>
                  </a:lnTo>
                  <a:lnTo>
                    <a:pt x="65" y="175"/>
                  </a:lnTo>
                  <a:lnTo>
                    <a:pt x="65" y="175"/>
                  </a:lnTo>
                  <a:lnTo>
                    <a:pt x="65" y="175"/>
                  </a:lnTo>
                  <a:lnTo>
                    <a:pt x="65" y="175"/>
                  </a:lnTo>
                  <a:lnTo>
                    <a:pt x="63" y="175"/>
                  </a:lnTo>
                  <a:lnTo>
                    <a:pt x="63" y="175"/>
                  </a:lnTo>
                  <a:lnTo>
                    <a:pt x="63" y="175"/>
                  </a:lnTo>
                  <a:lnTo>
                    <a:pt x="61" y="175"/>
                  </a:lnTo>
                  <a:lnTo>
                    <a:pt x="61" y="175"/>
                  </a:lnTo>
                  <a:lnTo>
                    <a:pt x="61" y="175"/>
                  </a:lnTo>
                  <a:lnTo>
                    <a:pt x="58" y="175"/>
                  </a:lnTo>
                  <a:lnTo>
                    <a:pt x="58" y="175"/>
                  </a:lnTo>
                  <a:lnTo>
                    <a:pt x="58" y="172"/>
                  </a:lnTo>
                  <a:lnTo>
                    <a:pt x="58" y="172"/>
                  </a:lnTo>
                  <a:lnTo>
                    <a:pt x="56" y="172"/>
                  </a:lnTo>
                  <a:lnTo>
                    <a:pt x="56" y="172"/>
                  </a:lnTo>
                  <a:lnTo>
                    <a:pt x="56" y="172"/>
                  </a:lnTo>
                  <a:lnTo>
                    <a:pt x="54" y="172"/>
                  </a:lnTo>
                  <a:lnTo>
                    <a:pt x="54" y="172"/>
                  </a:lnTo>
                  <a:lnTo>
                    <a:pt x="54" y="172"/>
                  </a:lnTo>
                  <a:lnTo>
                    <a:pt x="51" y="172"/>
                  </a:lnTo>
                  <a:lnTo>
                    <a:pt x="51" y="172"/>
                  </a:lnTo>
                  <a:lnTo>
                    <a:pt x="51" y="172"/>
                  </a:lnTo>
                  <a:lnTo>
                    <a:pt x="49" y="172"/>
                  </a:lnTo>
                  <a:lnTo>
                    <a:pt x="49" y="172"/>
                  </a:lnTo>
                  <a:lnTo>
                    <a:pt x="49" y="172"/>
                  </a:lnTo>
                  <a:lnTo>
                    <a:pt x="49" y="172"/>
                  </a:lnTo>
                  <a:lnTo>
                    <a:pt x="47" y="172"/>
                  </a:lnTo>
                  <a:lnTo>
                    <a:pt x="47" y="172"/>
                  </a:lnTo>
                  <a:lnTo>
                    <a:pt x="47" y="172"/>
                  </a:lnTo>
                  <a:lnTo>
                    <a:pt x="45" y="172"/>
                  </a:lnTo>
                  <a:lnTo>
                    <a:pt x="45" y="172"/>
                  </a:lnTo>
                  <a:lnTo>
                    <a:pt x="45" y="172"/>
                  </a:lnTo>
                  <a:lnTo>
                    <a:pt x="42" y="172"/>
                  </a:lnTo>
                  <a:lnTo>
                    <a:pt x="42" y="172"/>
                  </a:lnTo>
                  <a:lnTo>
                    <a:pt x="42" y="172"/>
                  </a:lnTo>
                  <a:lnTo>
                    <a:pt x="42" y="172"/>
                  </a:lnTo>
                  <a:lnTo>
                    <a:pt x="40" y="170"/>
                  </a:lnTo>
                  <a:lnTo>
                    <a:pt x="40" y="170"/>
                  </a:lnTo>
                  <a:lnTo>
                    <a:pt x="40" y="170"/>
                  </a:lnTo>
                  <a:lnTo>
                    <a:pt x="38" y="170"/>
                  </a:lnTo>
                  <a:lnTo>
                    <a:pt x="38" y="170"/>
                  </a:lnTo>
                  <a:lnTo>
                    <a:pt x="38" y="170"/>
                  </a:lnTo>
                  <a:lnTo>
                    <a:pt x="35" y="170"/>
                  </a:lnTo>
                  <a:lnTo>
                    <a:pt x="35" y="170"/>
                  </a:lnTo>
                  <a:lnTo>
                    <a:pt x="35" y="170"/>
                  </a:lnTo>
                  <a:lnTo>
                    <a:pt x="35" y="170"/>
                  </a:lnTo>
                  <a:lnTo>
                    <a:pt x="33" y="170"/>
                  </a:lnTo>
                  <a:lnTo>
                    <a:pt x="33" y="170"/>
                  </a:lnTo>
                  <a:lnTo>
                    <a:pt x="33" y="170"/>
                  </a:lnTo>
                  <a:lnTo>
                    <a:pt x="31" y="170"/>
                  </a:lnTo>
                  <a:lnTo>
                    <a:pt x="31" y="170"/>
                  </a:lnTo>
                  <a:lnTo>
                    <a:pt x="31" y="170"/>
                  </a:lnTo>
                  <a:lnTo>
                    <a:pt x="28" y="170"/>
                  </a:lnTo>
                  <a:lnTo>
                    <a:pt x="28" y="170"/>
                  </a:lnTo>
                  <a:lnTo>
                    <a:pt x="28" y="170"/>
                  </a:lnTo>
                  <a:lnTo>
                    <a:pt x="26" y="170"/>
                  </a:lnTo>
                  <a:lnTo>
                    <a:pt x="26" y="170"/>
                  </a:lnTo>
                  <a:lnTo>
                    <a:pt x="26" y="170"/>
                  </a:lnTo>
                  <a:lnTo>
                    <a:pt x="26" y="170"/>
                  </a:lnTo>
                  <a:lnTo>
                    <a:pt x="26" y="170"/>
                  </a:lnTo>
                  <a:lnTo>
                    <a:pt x="26" y="170"/>
                  </a:lnTo>
                  <a:lnTo>
                    <a:pt x="26" y="170"/>
                  </a:lnTo>
                  <a:lnTo>
                    <a:pt x="26" y="170"/>
                  </a:lnTo>
                  <a:lnTo>
                    <a:pt x="26" y="170"/>
                  </a:lnTo>
                  <a:lnTo>
                    <a:pt x="26" y="170"/>
                  </a:lnTo>
                  <a:lnTo>
                    <a:pt x="26" y="170"/>
                  </a:lnTo>
                  <a:lnTo>
                    <a:pt x="26" y="170"/>
                  </a:lnTo>
                  <a:lnTo>
                    <a:pt x="26" y="172"/>
                  </a:lnTo>
                  <a:lnTo>
                    <a:pt x="26" y="172"/>
                  </a:lnTo>
                  <a:lnTo>
                    <a:pt x="26" y="172"/>
                  </a:lnTo>
                  <a:lnTo>
                    <a:pt x="26" y="172"/>
                  </a:lnTo>
                  <a:lnTo>
                    <a:pt x="26" y="172"/>
                  </a:lnTo>
                  <a:lnTo>
                    <a:pt x="26" y="172"/>
                  </a:lnTo>
                  <a:lnTo>
                    <a:pt x="26" y="172"/>
                  </a:lnTo>
                  <a:lnTo>
                    <a:pt x="26" y="172"/>
                  </a:lnTo>
                  <a:lnTo>
                    <a:pt x="26" y="172"/>
                  </a:lnTo>
                  <a:lnTo>
                    <a:pt x="26" y="172"/>
                  </a:lnTo>
                  <a:lnTo>
                    <a:pt x="26" y="175"/>
                  </a:lnTo>
                  <a:lnTo>
                    <a:pt x="26" y="175"/>
                  </a:lnTo>
                  <a:lnTo>
                    <a:pt x="26" y="175"/>
                  </a:lnTo>
                  <a:lnTo>
                    <a:pt x="26" y="175"/>
                  </a:lnTo>
                  <a:lnTo>
                    <a:pt x="26" y="175"/>
                  </a:lnTo>
                  <a:lnTo>
                    <a:pt x="26" y="175"/>
                  </a:lnTo>
                  <a:lnTo>
                    <a:pt x="26" y="175"/>
                  </a:lnTo>
                  <a:lnTo>
                    <a:pt x="26" y="175"/>
                  </a:lnTo>
                  <a:lnTo>
                    <a:pt x="24" y="175"/>
                  </a:lnTo>
                  <a:lnTo>
                    <a:pt x="24" y="175"/>
                  </a:lnTo>
                  <a:lnTo>
                    <a:pt x="24" y="175"/>
                  </a:lnTo>
                  <a:lnTo>
                    <a:pt x="24" y="177"/>
                  </a:lnTo>
                  <a:lnTo>
                    <a:pt x="24" y="177"/>
                  </a:lnTo>
                  <a:lnTo>
                    <a:pt x="24" y="177"/>
                  </a:lnTo>
                  <a:lnTo>
                    <a:pt x="24" y="177"/>
                  </a:lnTo>
                  <a:lnTo>
                    <a:pt x="24" y="177"/>
                  </a:lnTo>
                  <a:lnTo>
                    <a:pt x="24" y="177"/>
                  </a:lnTo>
                  <a:lnTo>
                    <a:pt x="24" y="177"/>
                  </a:lnTo>
                  <a:lnTo>
                    <a:pt x="24" y="177"/>
                  </a:lnTo>
                  <a:lnTo>
                    <a:pt x="24" y="177"/>
                  </a:lnTo>
                  <a:lnTo>
                    <a:pt x="24" y="177"/>
                  </a:lnTo>
                  <a:lnTo>
                    <a:pt x="24" y="179"/>
                  </a:lnTo>
                  <a:lnTo>
                    <a:pt x="24" y="179"/>
                  </a:lnTo>
                  <a:lnTo>
                    <a:pt x="24" y="179"/>
                  </a:lnTo>
                  <a:lnTo>
                    <a:pt x="24" y="179"/>
                  </a:lnTo>
                  <a:lnTo>
                    <a:pt x="24" y="179"/>
                  </a:lnTo>
                  <a:lnTo>
                    <a:pt x="24" y="179"/>
                  </a:lnTo>
                  <a:lnTo>
                    <a:pt x="24" y="179"/>
                  </a:lnTo>
                  <a:lnTo>
                    <a:pt x="24" y="179"/>
                  </a:lnTo>
                  <a:lnTo>
                    <a:pt x="24" y="179"/>
                  </a:lnTo>
                  <a:lnTo>
                    <a:pt x="24" y="179"/>
                  </a:lnTo>
                  <a:lnTo>
                    <a:pt x="24" y="179"/>
                  </a:lnTo>
                  <a:lnTo>
                    <a:pt x="24" y="182"/>
                  </a:lnTo>
                  <a:lnTo>
                    <a:pt x="24" y="182"/>
                  </a:lnTo>
                  <a:lnTo>
                    <a:pt x="24" y="182"/>
                  </a:lnTo>
                  <a:lnTo>
                    <a:pt x="24" y="182"/>
                  </a:lnTo>
                  <a:lnTo>
                    <a:pt x="24" y="182"/>
                  </a:lnTo>
                  <a:lnTo>
                    <a:pt x="24" y="182"/>
                  </a:lnTo>
                  <a:lnTo>
                    <a:pt x="24" y="182"/>
                  </a:lnTo>
                  <a:lnTo>
                    <a:pt x="24" y="182"/>
                  </a:lnTo>
                  <a:lnTo>
                    <a:pt x="24" y="182"/>
                  </a:lnTo>
                  <a:lnTo>
                    <a:pt x="24" y="182"/>
                  </a:lnTo>
                  <a:lnTo>
                    <a:pt x="24" y="184"/>
                  </a:lnTo>
                  <a:lnTo>
                    <a:pt x="24" y="184"/>
                  </a:lnTo>
                  <a:lnTo>
                    <a:pt x="24" y="184"/>
                  </a:lnTo>
                  <a:lnTo>
                    <a:pt x="21" y="184"/>
                  </a:lnTo>
                  <a:lnTo>
                    <a:pt x="21" y="184"/>
                  </a:lnTo>
                  <a:lnTo>
                    <a:pt x="19" y="184"/>
                  </a:lnTo>
                  <a:lnTo>
                    <a:pt x="19" y="182"/>
                  </a:lnTo>
                  <a:lnTo>
                    <a:pt x="17" y="182"/>
                  </a:lnTo>
                  <a:lnTo>
                    <a:pt x="17" y="182"/>
                  </a:lnTo>
                  <a:lnTo>
                    <a:pt x="14" y="182"/>
                  </a:lnTo>
                  <a:lnTo>
                    <a:pt x="14" y="182"/>
                  </a:lnTo>
                  <a:lnTo>
                    <a:pt x="12" y="182"/>
                  </a:lnTo>
                  <a:lnTo>
                    <a:pt x="12" y="182"/>
                  </a:lnTo>
                  <a:lnTo>
                    <a:pt x="10" y="182"/>
                  </a:lnTo>
                  <a:lnTo>
                    <a:pt x="10" y="182"/>
                  </a:lnTo>
                  <a:lnTo>
                    <a:pt x="7" y="182"/>
                  </a:lnTo>
                  <a:lnTo>
                    <a:pt x="7" y="182"/>
                  </a:lnTo>
                  <a:lnTo>
                    <a:pt x="5" y="182"/>
                  </a:lnTo>
                  <a:lnTo>
                    <a:pt x="5" y="182"/>
                  </a:lnTo>
                  <a:lnTo>
                    <a:pt x="3" y="182"/>
                  </a:lnTo>
                  <a:lnTo>
                    <a:pt x="3" y="179"/>
                  </a:lnTo>
                  <a:lnTo>
                    <a:pt x="3"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0" y="179"/>
                  </a:lnTo>
                  <a:lnTo>
                    <a:pt x="3" y="175"/>
                  </a:lnTo>
                  <a:lnTo>
                    <a:pt x="3" y="168"/>
                  </a:lnTo>
                  <a:lnTo>
                    <a:pt x="3" y="163"/>
                  </a:lnTo>
                  <a:lnTo>
                    <a:pt x="5" y="158"/>
                  </a:lnTo>
                  <a:lnTo>
                    <a:pt x="5" y="151"/>
                  </a:lnTo>
                  <a:lnTo>
                    <a:pt x="5" y="147"/>
                  </a:lnTo>
                  <a:lnTo>
                    <a:pt x="7" y="140"/>
                  </a:lnTo>
                  <a:lnTo>
                    <a:pt x="7" y="135"/>
                  </a:lnTo>
                  <a:lnTo>
                    <a:pt x="7" y="128"/>
                  </a:lnTo>
                  <a:lnTo>
                    <a:pt x="10" y="124"/>
                  </a:lnTo>
                  <a:lnTo>
                    <a:pt x="10" y="119"/>
                  </a:lnTo>
                  <a:lnTo>
                    <a:pt x="12" y="112"/>
                  </a:lnTo>
                  <a:lnTo>
                    <a:pt x="12" y="107"/>
                  </a:lnTo>
                  <a:lnTo>
                    <a:pt x="12" y="100"/>
                  </a:lnTo>
                  <a:lnTo>
                    <a:pt x="14" y="96"/>
                  </a:lnTo>
                  <a:lnTo>
                    <a:pt x="14" y="91"/>
                  </a:lnTo>
                  <a:lnTo>
                    <a:pt x="14" y="84"/>
                  </a:lnTo>
                  <a:lnTo>
                    <a:pt x="17" y="79"/>
                  </a:lnTo>
                  <a:lnTo>
                    <a:pt x="17" y="72"/>
                  </a:lnTo>
                  <a:lnTo>
                    <a:pt x="19" y="68"/>
                  </a:lnTo>
                  <a:lnTo>
                    <a:pt x="19" y="63"/>
                  </a:lnTo>
                  <a:lnTo>
                    <a:pt x="19" y="56"/>
                  </a:lnTo>
                  <a:lnTo>
                    <a:pt x="21" y="51"/>
                  </a:lnTo>
                  <a:lnTo>
                    <a:pt x="21" y="44"/>
                  </a:lnTo>
                  <a:lnTo>
                    <a:pt x="21" y="40"/>
                  </a:lnTo>
                  <a:lnTo>
                    <a:pt x="24" y="33"/>
                  </a:lnTo>
                  <a:lnTo>
                    <a:pt x="24" y="28"/>
                  </a:lnTo>
                  <a:lnTo>
                    <a:pt x="24" y="23"/>
                  </a:lnTo>
                  <a:lnTo>
                    <a:pt x="26" y="16"/>
                  </a:lnTo>
                  <a:lnTo>
                    <a:pt x="26" y="12"/>
                  </a:lnTo>
                  <a:lnTo>
                    <a:pt x="26" y="5"/>
                  </a:lnTo>
                  <a:lnTo>
                    <a:pt x="28" y="0"/>
                  </a:lnTo>
                  <a:lnTo>
                    <a:pt x="33" y="0"/>
                  </a:lnTo>
                  <a:lnTo>
                    <a:pt x="38" y="2"/>
                  </a:lnTo>
                  <a:lnTo>
                    <a:pt x="42" y="2"/>
                  </a:lnTo>
                  <a:lnTo>
                    <a:pt x="47" y="2"/>
                  </a:lnTo>
                  <a:lnTo>
                    <a:pt x="51" y="5"/>
                  </a:lnTo>
                  <a:lnTo>
                    <a:pt x="56" y="5"/>
                  </a:lnTo>
                  <a:lnTo>
                    <a:pt x="61" y="5"/>
                  </a:lnTo>
                  <a:lnTo>
                    <a:pt x="65" y="5"/>
                  </a:lnTo>
                  <a:lnTo>
                    <a:pt x="70" y="7"/>
                  </a:lnTo>
                  <a:lnTo>
                    <a:pt x="75" y="7"/>
                  </a:lnTo>
                  <a:lnTo>
                    <a:pt x="79" y="7"/>
                  </a:lnTo>
                  <a:lnTo>
                    <a:pt x="86" y="7"/>
                  </a:lnTo>
                  <a:lnTo>
                    <a:pt x="91" y="9"/>
                  </a:lnTo>
                  <a:lnTo>
                    <a:pt x="96" y="9"/>
                  </a:lnTo>
                  <a:lnTo>
                    <a:pt x="100" y="9"/>
                  </a:lnTo>
                  <a:lnTo>
                    <a:pt x="105" y="9"/>
                  </a:lnTo>
                  <a:lnTo>
                    <a:pt x="110" y="12"/>
                  </a:lnTo>
                  <a:lnTo>
                    <a:pt x="114" y="12"/>
                  </a:lnTo>
                  <a:lnTo>
                    <a:pt x="119" y="12"/>
                  </a:lnTo>
                  <a:lnTo>
                    <a:pt x="124" y="12"/>
                  </a:lnTo>
                  <a:lnTo>
                    <a:pt x="128" y="14"/>
                  </a:lnTo>
                  <a:lnTo>
                    <a:pt x="133" y="14"/>
                  </a:lnTo>
                  <a:lnTo>
                    <a:pt x="138" y="14"/>
                  </a:lnTo>
                  <a:lnTo>
                    <a:pt x="142" y="14"/>
                  </a:lnTo>
                  <a:lnTo>
                    <a:pt x="147" y="14"/>
                  </a:lnTo>
                  <a:lnTo>
                    <a:pt x="152" y="16"/>
                  </a:lnTo>
                  <a:lnTo>
                    <a:pt x="159" y="16"/>
                  </a:lnTo>
                  <a:lnTo>
                    <a:pt x="163" y="16"/>
                  </a:lnTo>
                  <a:lnTo>
                    <a:pt x="168" y="16"/>
                  </a:lnTo>
                  <a:lnTo>
                    <a:pt x="173" y="16"/>
                  </a:lnTo>
                  <a:lnTo>
                    <a:pt x="177" y="19"/>
                  </a:lnTo>
                  <a:lnTo>
                    <a:pt x="182" y="19"/>
                  </a:lnTo>
                  <a:lnTo>
                    <a:pt x="182" y="21"/>
                  </a:lnTo>
                  <a:lnTo>
                    <a:pt x="182" y="26"/>
                  </a:lnTo>
                  <a:lnTo>
                    <a:pt x="179" y="30"/>
                  </a:lnTo>
                  <a:lnTo>
                    <a:pt x="179" y="35"/>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780">
              <a:extLst>
                <a:ext uri="{FF2B5EF4-FFF2-40B4-BE49-F238E27FC236}">
                  <a16:creationId xmlns:a16="http://schemas.microsoft.com/office/drawing/2014/main" id="{9390EACE-4D86-48E2-B0F7-13369B39DCAB}"/>
                </a:ext>
              </a:extLst>
            </p:cNvPr>
            <p:cNvSpPr>
              <a:spLocks noEditPoints="1"/>
            </p:cNvSpPr>
            <p:nvPr/>
          </p:nvSpPr>
          <p:spPr bwMode="auto">
            <a:xfrm>
              <a:off x="5514181" y="4219576"/>
              <a:ext cx="325438" cy="277813"/>
            </a:xfrm>
            <a:custGeom>
              <a:avLst/>
              <a:gdLst>
                <a:gd name="T0" fmla="*/ 51 w 205"/>
                <a:gd name="T1" fmla="*/ 3 h 175"/>
                <a:gd name="T2" fmla="*/ 56 w 205"/>
                <a:gd name="T3" fmla="*/ 3 h 175"/>
                <a:gd name="T4" fmla="*/ 61 w 205"/>
                <a:gd name="T5" fmla="*/ 5 h 175"/>
                <a:gd name="T6" fmla="*/ 68 w 205"/>
                <a:gd name="T7" fmla="*/ 10 h 175"/>
                <a:gd name="T8" fmla="*/ 72 w 205"/>
                <a:gd name="T9" fmla="*/ 17 h 175"/>
                <a:gd name="T10" fmla="*/ 70 w 205"/>
                <a:gd name="T11" fmla="*/ 21 h 175"/>
                <a:gd name="T12" fmla="*/ 75 w 205"/>
                <a:gd name="T13" fmla="*/ 31 h 175"/>
                <a:gd name="T14" fmla="*/ 88 w 205"/>
                <a:gd name="T15" fmla="*/ 31 h 175"/>
                <a:gd name="T16" fmla="*/ 102 w 205"/>
                <a:gd name="T17" fmla="*/ 35 h 175"/>
                <a:gd name="T18" fmla="*/ 112 w 205"/>
                <a:gd name="T19" fmla="*/ 38 h 175"/>
                <a:gd name="T20" fmla="*/ 123 w 205"/>
                <a:gd name="T21" fmla="*/ 40 h 175"/>
                <a:gd name="T22" fmla="*/ 140 w 205"/>
                <a:gd name="T23" fmla="*/ 38 h 175"/>
                <a:gd name="T24" fmla="*/ 154 w 205"/>
                <a:gd name="T25" fmla="*/ 40 h 175"/>
                <a:gd name="T26" fmla="*/ 168 w 205"/>
                <a:gd name="T27" fmla="*/ 42 h 175"/>
                <a:gd name="T28" fmla="*/ 182 w 205"/>
                <a:gd name="T29" fmla="*/ 47 h 175"/>
                <a:gd name="T30" fmla="*/ 196 w 205"/>
                <a:gd name="T31" fmla="*/ 49 h 175"/>
                <a:gd name="T32" fmla="*/ 203 w 205"/>
                <a:gd name="T33" fmla="*/ 59 h 175"/>
                <a:gd name="T34" fmla="*/ 205 w 205"/>
                <a:gd name="T35" fmla="*/ 68 h 175"/>
                <a:gd name="T36" fmla="*/ 198 w 205"/>
                <a:gd name="T37" fmla="*/ 77 h 175"/>
                <a:gd name="T38" fmla="*/ 191 w 205"/>
                <a:gd name="T39" fmla="*/ 86 h 175"/>
                <a:gd name="T40" fmla="*/ 184 w 205"/>
                <a:gd name="T41" fmla="*/ 93 h 175"/>
                <a:gd name="T42" fmla="*/ 182 w 205"/>
                <a:gd name="T43" fmla="*/ 103 h 175"/>
                <a:gd name="T44" fmla="*/ 184 w 205"/>
                <a:gd name="T45" fmla="*/ 107 h 175"/>
                <a:gd name="T46" fmla="*/ 182 w 205"/>
                <a:gd name="T47" fmla="*/ 117 h 175"/>
                <a:gd name="T48" fmla="*/ 177 w 205"/>
                <a:gd name="T49" fmla="*/ 126 h 175"/>
                <a:gd name="T50" fmla="*/ 175 w 205"/>
                <a:gd name="T51" fmla="*/ 142 h 175"/>
                <a:gd name="T52" fmla="*/ 170 w 205"/>
                <a:gd name="T53" fmla="*/ 159 h 175"/>
                <a:gd name="T54" fmla="*/ 165 w 205"/>
                <a:gd name="T55" fmla="*/ 175 h 175"/>
                <a:gd name="T56" fmla="*/ 144 w 205"/>
                <a:gd name="T57" fmla="*/ 168 h 175"/>
                <a:gd name="T58" fmla="*/ 123 w 205"/>
                <a:gd name="T59" fmla="*/ 163 h 175"/>
                <a:gd name="T60" fmla="*/ 102 w 205"/>
                <a:gd name="T61" fmla="*/ 156 h 175"/>
                <a:gd name="T62" fmla="*/ 72 w 205"/>
                <a:gd name="T63" fmla="*/ 149 h 175"/>
                <a:gd name="T64" fmla="*/ 44 w 205"/>
                <a:gd name="T65" fmla="*/ 140 h 175"/>
                <a:gd name="T66" fmla="*/ 14 w 205"/>
                <a:gd name="T67" fmla="*/ 131 h 175"/>
                <a:gd name="T68" fmla="*/ 0 w 205"/>
                <a:gd name="T69" fmla="*/ 119 h 175"/>
                <a:gd name="T70" fmla="*/ 2 w 205"/>
                <a:gd name="T71" fmla="*/ 110 h 175"/>
                <a:gd name="T72" fmla="*/ 2 w 205"/>
                <a:gd name="T73" fmla="*/ 100 h 175"/>
                <a:gd name="T74" fmla="*/ 9 w 205"/>
                <a:gd name="T75" fmla="*/ 91 h 175"/>
                <a:gd name="T76" fmla="*/ 14 w 205"/>
                <a:gd name="T77" fmla="*/ 84 h 175"/>
                <a:gd name="T78" fmla="*/ 12 w 205"/>
                <a:gd name="T79" fmla="*/ 84 h 175"/>
                <a:gd name="T80" fmla="*/ 19 w 205"/>
                <a:gd name="T81" fmla="*/ 75 h 175"/>
                <a:gd name="T82" fmla="*/ 23 w 205"/>
                <a:gd name="T83" fmla="*/ 68 h 175"/>
                <a:gd name="T84" fmla="*/ 28 w 205"/>
                <a:gd name="T85" fmla="*/ 59 h 175"/>
                <a:gd name="T86" fmla="*/ 30 w 205"/>
                <a:gd name="T87" fmla="*/ 54 h 175"/>
                <a:gd name="T88" fmla="*/ 30 w 205"/>
                <a:gd name="T89" fmla="*/ 49 h 175"/>
                <a:gd name="T90" fmla="*/ 35 w 205"/>
                <a:gd name="T91" fmla="*/ 42 h 175"/>
                <a:gd name="T92" fmla="*/ 37 w 205"/>
                <a:gd name="T93" fmla="*/ 33 h 175"/>
                <a:gd name="T94" fmla="*/ 42 w 205"/>
                <a:gd name="T95" fmla="*/ 26 h 175"/>
                <a:gd name="T96" fmla="*/ 44 w 205"/>
                <a:gd name="T97" fmla="*/ 21 h 175"/>
                <a:gd name="T98" fmla="*/ 44 w 205"/>
                <a:gd name="T99" fmla="*/ 17 h 175"/>
                <a:gd name="T100" fmla="*/ 47 w 205"/>
                <a:gd name="T101" fmla="*/ 12 h 175"/>
                <a:gd name="T102" fmla="*/ 49 w 205"/>
                <a:gd name="T103"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175">
                  <a:moveTo>
                    <a:pt x="49" y="0"/>
                  </a:moveTo>
                  <a:lnTo>
                    <a:pt x="51" y="0"/>
                  </a:lnTo>
                  <a:lnTo>
                    <a:pt x="51" y="3"/>
                  </a:lnTo>
                  <a:lnTo>
                    <a:pt x="51" y="5"/>
                  </a:lnTo>
                  <a:lnTo>
                    <a:pt x="51" y="3"/>
                  </a:lnTo>
                  <a:lnTo>
                    <a:pt x="54" y="5"/>
                  </a:lnTo>
                  <a:lnTo>
                    <a:pt x="54" y="3"/>
                  </a:lnTo>
                  <a:lnTo>
                    <a:pt x="51" y="3"/>
                  </a:lnTo>
                  <a:lnTo>
                    <a:pt x="54" y="3"/>
                  </a:lnTo>
                  <a:lnTo>
                    <a:pt x="56" y="3"/>
                  </a:lnTo>
                  <a:lnTo>
                    <a:pt x="58" y="3"/>
                  </a:lnTo>
                  <a:lnTo>
                    <a:pt x="56" y="3"/>
                  </a:lnTo>
                  <a:lnTo>
                    <a:pt x="58" y="3"/>
                  </a:lnTo>
                  <a:lnTo>
                    <a:pt x="61" y="3"/>
                  </a:lnTo>
                  <a:lnTo>
                    <a:pt x="61" y="5"/>
                  </a:lnTo>
                  <a:lnTo>
                    <a:pt x="61" y="7"/>
                  </a:lnTo>
                  <a:lnTo>
                    <a:pt x="63" y="7"/>
                  </a:lnTo>
                  <a:lnTo>
                    <a:pt x="65" y="7"/>
                  </a:lnTo>
                  <a:lnTo>
                    <a:pt x="68" y="7"/>
                  </a:lnTo>
                  <a:lnTo>
                    <a:pt x="68" y="10"/>
                  </a:lnTo>
                  <a:lnTo>
                    <a:pt x="70" y="10"/>
                  </a:lnTo>
                  <a:lnTo>
                    <a:pt x="70" y="12"/>
                  </a:lnTo>
                  <a:lnTo>
                    <a:pt x="72" y="12"/>
                  </a:lnTo>
                  <a:lnTo>
                    <a:pt x="72" y="14"/>
                  </a:lnTo>
                  <a:lnTo>
                    <a:pt x="72" y="17"/>
                  </a:lnTo>
                  <a:lnTo>
                    <a:pt x="72" y="19"/>
                  </a:lnTo>
                  <a:lnTo>
                    <a:pt x="70" y="19"/>
                  </a:lnTo>
                  <a:lnTo>
                    <a:pt x="70" y="21"/>
                  </a:lnTo>
                  <a:lnTo>
                    <a:pt x="72" y="21"/>
                  </a:lnTo>
                  <a:lnTo>
                    <a:pt x="70" y="21"/>
                  </a:lnTo>
                  <a:lnTo>
                    <a:pt x="70" y="24"/>
                  </a:lnTo>
                  <a:lnTo>
                    <a:pt x="70" y="26"/>
                  </a:lnTo>
                  <a:lnTo>
                    <a:pt x="72" y="28"/>
                  </a:lnTo>
                  <a:lnTo>
                    <a:pt x="75" y="28"/>
                  </a:lnTo>
                  <a:lnTo>
                    <a:pt x="75" y="31"/>
                  </a:lnTo>
                  <a:lnTo>
                    <a:pt x="77" y="31"/>
                  </a:lnTo>
                  <a:lnTo>
                    <a:pt x="79" y="33"/>
                  </a:lnTo>
                  <a:lnTo>
                    <a:pt x="82" y="31"/>
                  </a:lnTo>
                  <a:lnTo>
                    <a:pt x="86" y="31"/>
                  </a:lnTo>
                  <a:lnTo>
                    <a:pt x="88" y="31"/>
                  </a:lnTo>
                  <a:lnTo>
                    <a:pt x="91" y="31"/>
                  </a:lnTo>
                  <a:lnTo>
                    <a:pt x="93" y="31"/>
                  </a:lnTo>
                  <a:lnTo>
                    <a:pt x="95" y="31"/>
                  </a:lnTo>
                  <a:lnTo>
                    <a:pt x="102" y="33"/>
                  </a:lnTo>
                  <a:lnTo>
                    <a:pt x="102" y="35"/>
                  </a:lnTo>
                  <a:lnTo>
                    <a:pt x="102" y="38"/>
                  </a:lnTo>
                  <a:lnTo>
                    <a:pt x="105" y="38"/>
                  </a:lnTo>
                  <a:lnTo>
                    <a:pt x="107" y="38"/>
                  </a:lnTo>
                  <a:lnTo>
                    <a:pt x="109" y="38"/>
                  </a:lnTo>
                  <a:lnTo>
                    <a:pt x="112" y="38"/>
                  </a:lnTo>
                  <a:lnTo>
                    <a:pt x="114" y="38"/>
                  </a:lnTo>
                  <a:lnTo>
                    <a:pt x="116" y="38"/>
                  </a:lnTo>
                  <a:lnTo>
                    <a:pt x="119" y="40"/>
                  </a:lnTo>
                  <a:lnTo>
                    <a:pt x="121" y="40"/>
                  </a:lnTo>
                  <a:lnTo>
                    <a:pt x="123" y="40"/>
                  </a:lnTo>
                  <a:lnTo>
                    <a:pt x="126" y="40"/>
                  </a:lnTo>
                  <a:lnTo>
                    <a:pt x="128" y="38"/>
                  </a:lnTo>
                  <a:lnTo>
                    <a:pt x="133" y="38"/>
                  </a:lnTo>
                  <a:lnTo>
                    <a:pt x="137" y="40"/>
                  </a:lnTo>
                  <a:lnTo>
                    <a:pt x="140" y="38"/>
                  </a:lnTo>
                  <a:lnTo>
                    <a:pt x="142" y="38"/>
                  </a:lnTo>
                  <a:lnTo>
                    <a:pt x="144" y="38"/>
                  </a:lnTo>
                  <a:lnTo>
                    <a:pt x="147" y="38"/>
                  </a:lnTo>
                  <a:lnTo>
                    <a:pt x="151" y="40"/>
                  </a:lnTo>
                  <a:lnTo>
                    <a:pt x="154" y="40"/>
                  </a:lnTo>
                  <a:lnTo>
                    <a:pt x="158" y="40"/>
                  </a:lnTo>
                  <a:lnTo>
                    <a:pt x="161" y="40"/>
                  </a:lnTo>
                  <a:lnTo>
                    <a:pt x="163" y="42"/>
                  </a:lnTo>
                  <a:lnTo>
                    <a:pt x="165" y="42"/>
                  </a:lnTo>
                  <a:lnTo>
                    <a:pt x="168" y="42"/>
                  </a:lnTo>
                  <a:lnTo>
                    <a:pt x="172" y="45"/>
                  </a:lnTo>
                  <a:lnTo>
                    <a:pt x="175" y="45"/>
                  </a:lnTo>
                  <a:lnTo>
                    <a:pt x="177" y="45"/>
                  </a:lnTo>
                  <a:lnTo>
                    <a:pt x="179" y="45"/>
                  </a:lnTo>
                  <a:lnTo>
                    <a:pt x="182" y="47"/>
                  </a:lnTo>
                  <a:lnTo>
                    <a:pt x="186" y="47"/>
                  </a:lnTo>
                  <a:lnTo>
                    <a:pt x="189" y="47"/>
                  </a:lnTo>
                  <a:lnTo>
                    <a:pt x="191" y="49"/>
                  </a:lnTo>
                  <a:lnTo>
                    <a:pt x="193" y="49"/>
                  </a:lnTo>
                  <a:lnTo>
                    <a:pt x="196" y="49"/>
                  </a:lnTo>
                  <a:lnTo>
                    <a:pt x="200" y="52"/>
                  </a:lnTo>
                  <a:lnTo>
                    <a:pt x="200" y="54"/>
                  </a:lnTo>
                  <a:lnTo>
                    <a:pt x="200" y="56"/>
                  </a:lnTo>
                  <a:lnTo>
                    <a:pt x="203" y="56"/>
                  </a:lnTo>
                  <a:lnTo>
                    <a:pt x="203" y="59"/>
                  </a:lnTo>
                  <a:lnTo>
                    <a:pt x="205" y="59"/>
                  </a:lnTo>
                  <a:lnTo>
                    <a:pt x="205" y="61"/>
                  </a:lnTo>
                  <a:lnTo>
                    <a:pt x="205" y="63"/>
                  </a:lnTo>
                  <a:lnTo>
                    <a:pt x="205" y="66"/>
                  </a:lnTo>
                  <a:lnTo>
                    <a:pt x="205" y="68"/>
                  </a:lnTo>
                  <a:lnTo>
                    <a:pt x="203" y="68"/>
                  </a:lnTo>
                  <a:lnTo>
                    <a:pt x="200" y="70"/>
                  </a:lnTo>
                  <a:lnTo>
                    <a:pt x="200" y="73"/>
                  </a:lnTo>
                  <a:lnTo>
                    <a:pt x="198" y="75"/>
                  </a:lnTo>
                  <a:lnTo>
                    <a:pt x="198" y="77"/>
                  </a:lnTo>
                  <a:lnTo>
                    <a:pt x="196" y="77"/>
                  </a:lnTo>
                  <a:lnTo>
                    <a:pt x="193" y="82"/>
                  </a:lnTo>
                  <a:lnTo>
                    <a:pt x="193" y="84"/>
                  </a:lnTo>
                  <a:lnTo>
                    <a:pt x="191" y="84"/>
                  </a:lnTo>
                  <a:lnTo>
                    <a:pt x="191" y="86"/>
                  </a:lnTo>
                  <a:lnTo>
                    <a:pt x="189" y="86"/>
                  </a:lnTo>
                  <a:lnTo>
                    <a:pt x="189" y="89"/>
                  </a:lnTo>
                  <a:lnTo>
                    <a:pt x="186" y="89"/>
                  </a:lnTo>
                  <a:lnTo>
                    <a:pt x="184" y="91"/>
                  </a:lnTo>
                  <a:lnTo>
                    <a:pt x="184" y="93"/>
                  </a:lnTo>
                  <a:lnTo>
                    <a:pt x="182" y="96"/>
                  </a:lnTo>
                  <a:lnTo>
                    <a:pt x="179" y="98"/>
                  </a:lnTo>
                  <a:lnTo>
                    <a:pt x="179" y="100"/>
                  </a:lnTo>
                  <a:lnTo>
                    <a:pt x="179" y="103"/>
                  </a:lnTo>
                  <a:lnTo>
                    <a:pt x="182" y="103"/>
                  </a:lnTo>
                  <a:lnTo>
                    <a:pt x="184" y="103"/>
                  </a:lnTo>
                  <a:lnTo>
                    <a:pt x="184" y="105"/>
                  </a:lnTo>
                  <a:lnTo>
                    <a:pt x="184" y="107"/>
                  </a:lnTo>
                  <a:lnTo>
                    <a:pt x="186" y="107"/>
                  </a:lnTo>
                  <a:lnTo>
                    <a:pt x="184" y="107"/>
                  </a:lnTo>
                  <a:lnTo>
                    <a:pt x="184" y="110"/>
                  </a:lnTo>
                  <a:lnTo>
                    <a:pt x="184" y="112"/>
                  </a:lnTo>
                  <a:lnTo>
                    <a:pt x="182" y="112"/>
                  </a:lnTo>
                  <a:lnTo>
                    <a:pt x="182" y="114"/>
                  </a:lnTo>
                  <a:lnTo>
                    <a:pt x="182" y="117"/>
                  </a:lnTo>
                  <a:lnTo>
                    <a:pt x="179" y="117"/>
                  </a:lnTo>
                  <a:lnTo>
                    <a:pt x="179" y="119"/>
                  </a:lnTo>
                  <a:lnTo>
                    <a:pt x="179" y="121"/>
                  </a:lnTo>
                  <a:lnTo>
                    <a:pt x="179" y="124"/>
                  </a:lnTo>
                  <a:lnTo>
                    <a:pt x="177" y="126"/>
                  </a:lnTo>
                  <a:lnTo>
                    <a:pt x="177" y="128"/>
                  </a:lnTo>
                  <a:lnTo>
                    <a:pt x="177" y="133"/>
                  </a:lnTo>
                  <a:lnTo>
                    <a:pt x="175" y="135"/>
                  </a:lnTo>
                  <a:lnTo>
                    <a:pt x="175" y="138"/>
                  </a:lnTo>
                  <a:lnTo>
                    <a:pt x="175" y="142"/>
                  </a:lnTo>
                  <a:lnTo>
                    <a:pt x="172" y="145"/>
                  </a:lnTo>
                  <a:lnTo>
                    <a:pt x="172" y="149"/>
                  </a:lnTo>
                  <a:lnTo>
                    <a:pt x="172" y="152"/>
                  </a:lnTo>
                  <a:lnTo>
                    <a:pt x="170" y="154"/>
                  </a:lnTo>
                  <a:lnTo>
                    <a:pt x="170" y="159"/>
                  </a:lnTo>
                  <a:lnTo>
                    <a:pt x="170" y="161"/>
                  </a:lnTo>
                  <a:lnTo>
                    <a:pt x="168" y="163"/>
                  </a:lnTo>
                  <a:lnTo>
                    <a:pt x="168" y="168"/>
                  </a:lnTo>
                  <a:lnTo>
                    <a:pt x="168" y="170"/>
                  </a:lnTo>
                  <a:lnTo>
                    <a:pt x="165" y="175"/>
                  </a:lnTo>
                  <a:lnTo>
                    <a:pt x="161" y="173"/>
                  </a:lnTo>
                  <a:lnTo>
                    <a:pt x="158" y="173"/>
                  </a:lnTo>
                  <a:lnTo>
                    <a:pt x="154" y="170"/>
                  </a:lnTo>
                  <a:lnTo>
                    <a:pt x="149" y="170"/>
                  </a:lnTo>
                  <a:lnTo>
                    <a:pt x="144" y="168"/>
                  </a:lnTo>
                  <a:lnTo>
                    <a:pt x="140" y="168"/>
                  </a:lnTo>
                  <a:lnTo>
                    <a:pt x="135" y="166"/>
                  </a:lnTo>
                  <a:lnTo>
                    <a:pt x="130" y="166"/>
                  </a:lnTo>
                  <a:lnTo>
                    <a:pt x="128" y="163"/>
                  </a:lnTo>
                  <a:lnTo>
                    <a:pt x="123" y="163"/>
                  </a:lnTo>
                  <a:lnTo>
                    <a:pt x="119" y="161"/>
                  </a:lnTo>
                  <a:lnTo>
                    <a:pt x="114" y="161"/>
                  </a:lnTo>
                  <a:lnTo>
                    <a:pt x="109" y="159"/>
                  </a:lnTo>
                  <a:lnTo>
                    <a:pt x="105" y="159"/>
                  </a:lnTo>
                  <a:lnTo>
                    <a:pt x="102" y="156"/>
                  </a:lnTo>
                  <a:lnTo>
                    <a:pt x="98" y="156"/>
                  </a:lnTo>
                  <a:lnTo>
                    <a:pt x="91" y="154"/>
                  </a:lnTo>
                  <a:lnTo>
                    <a:pt x="86" y="152"/>
                  </a:lnTo>
                  <a:lnTo>
                    <a:pt x="79" y="152"/>
                  </a:lnTo>
                  <a:lnTo>
                    <a:pt x="72" y="149"/>
                  </a:lnTo>
                  <a:lnTo>
                    <a:pt x="68" y="147"/>
                  </a:lnTo>
                  <a:lnTo>
                    <a:pt x="61" y="145"/>
                  </a:lnTo>
                  <a:lnTo>
                    <a:pt x="56" y="145"/>
                  </a:lnTo>
                  <a:lnTo>
                    <a:pt x="49" y="142"/>
                  </a:lnTo>
                  <a:lnTo>
                    <a:pt x="44" y="140"/>
                  </a:lnTo>
                  <a:lnTo>
                    <a:pt x="37" y="138"/>
                  </a:lnTo>
                  <a:lnTo>
                    <a:pt x="33" y="135"/>
                  </a:lnTo>
                  <a:lnTo>
                    <a:pt x="26" y="135"/>
                  </a:lnTo>
                  <a:lnTo>
                    <a:pt x="21" y="133"/>
                  </a:lnTo>
                  <a:lnTo>
                    <a:pt x="14" y="131"/>
                  </a:lnTo>
                  <a:lnTo>
                    <a:pt x="7" y="128"/>
                  </a:lnTo>
                  <a:lnTo>
                    <a:pt x="2" y="126"/>
                  </a:lnTo>
                  <a:lnTo>
                    <a:pt x="0" y="124"/>
                  </a:lnTo>
                  <a:lnTo>
                    <a:pt x="0" y="121"/>
                  </a:lnTo>
                  <a:lnTo>
                    <a:pt x="0" y="119"/>
                  </a:lnTo>
                  <a:lnTo>
                    <a:pt x="0" y="117"/>
                  </a:lnTo>
                  <a:lnTo>
                    <a:pt x="0" y="114"/>
                  </a:lnTo>
                  <a:lnTo>
                    <a:pt x="0" y="112"/>
                  </a:lnTo>
                  <a:lnTo>
                    <a:pt x="2" y="112"/>
                  </a:lnTo>
                  <a:lnTo>
                    <a:pt x="2" y="110"/>
                  </a:lnTo>
                  <a:lnTo>
                    <a:pt x="2" y="107"/>
                  </a:lnTo>
                  <a:lnTo>
                    <a:pt x="5" y="105"/>
                  </a:lnTo>
                  <a:lnTo>
                    <a:pt x="2" y="105"/>
                  </a:lnTo>
                  <a:lnTo>
                    <a:pt x="2" y="103"/>
                  </a:lnTo>
                  <a:lnTo>
                    <a:pt x="2" y="100"/>
                  </a:lnTo>
                  <a:lnTo>
                    <a:pt x="2" y="98"/>
                  </a:lnTo>
                  <a:lnTo>
                    <a:pt x="5" y="96"/>
                  </a:lnTo>
                  <a:lnTo>
                    <a:pt x="7" y="93"/>
                  </a:lnTo>
                  <a:lnTo>
                    <a:pt x="7" y="91"/>
                  </a:lnTo>
                  <a:lnTo>
                    <a:pt x="9" y="91"/>
                  </a:lnTo>
                  <a:lnTo>
                    <a:pt x="12" y="86"/>
                  </a:lnTo>
                  <a:lnTo>
                    <a:pt x="12" y="84"/>
                  </a:lnTo>
                  <a:lnTo>
                    <a:pt x="12" y="86"/>
                  </a:lnTo>
                  <a:lnTo>
                    <a:pt x="14" y="86"/>
                  </a:lnTo>
                  <a:lnTo>
                    <a:pt x="14" y="84"/>
                  </a:lnTo>
                  <a:lnTo>
                    <a:pt x="16" y="84"/>
                  </a:lnTo>
                  <a:lnTo>
                    <a:pt x="16" y="82"/>
                  </a:lnTo>
                  <a:lnTo>
                    <a:pt x="14" y="82"/>
                  </a:lnTo>
                  <a:lnTo>
                    <a:pt x="14" y="84"/>
                  </a:lnTo>
                  <a:lnTo>
                    <a:pt x="12" y="84"/>
                  </a:lnTo>
                  <a:lnTo>
                    <a:pt x="14" y="82"/>
                  </a:lnTo>
                  <a:lnTo>
                    <a:pt x="16" y="80"/>
                  </a:lnTo>
                  <a:lnTo>
                    <a:pt x="16" y="77"/>
                  </a:lnTo>
                  <a:lnTo>
                    <a:pt x="19" y="77"/>
                  </a:lnTo>
                  <a:lnTo>
                    <a:pt x="19" y="75"/>
                  </a:lnTo>
                  <a:lnTo>
                    <a:pt x="21" y="75"/>
                  </a:lnTo>
                  <a:lnTo>
                    <a:pt x="19" y="75"/>
                  </a:lnTo>
                  <a:lnTo>
                    <a:pt x="21" y="73"/>
                  </a:lnTo>
                  <a:lnTo>
                    <a:pt x="21" y="70"/>
                  </a:lnTo>
                  <a:lnTo>
                    <a:pt x="23" y="68"/>
                  </a:lnTo>
                  <a:lnTo>
                    <a:pt x="23" y="66"/>
                  </a:lnTo>
                  <a:lnTo>
                    <a:pt x="26" y="63"/>
                  </a:lnTo>
                  <a:lnTo>
                    <a:pt x="26" y="61"/>
                  </a:lnTo>
                  <a:lnTo>
                    <a:pt x="26" y="59"/>
                  </a:lnTo>
                  <a:lnTo>
                    <a:pt x="28" y="59"/>
                  </a:lnTo>
                  <a:lnTo>
                    <a:pt x="28" y="56"/>
                  </a:lnTo>
                  <a:lnTo>
                    <a:pt x="28" y="54"/>
                  </a:lnTo>
                  <a:lnTo>
                    <a:pt x="30" y="54"/>
                  </a:lnTo>
                  <a:lnTo>
                    <a:pt x="28" y="54"/>
                  </a:lnTo>
                  <a:lnTo>
                    <a:pt x="30" y="54"/>
                  </a:lnTo>
                  <a:lnTo>
                    <a:pt x="30" y="52"/>
                  </a:lnTo>
                  <a:lnTo>
                    <a:pt x="30" y="49"/>
                  </a:lnTo>
                  <a:lnTo>
                    <a:pt x="33" y="49"/>
                  </a:lnTo>
                  <a:lnTo>
                    <a:pt x="33" y="47"/>
                  </a:lnTo>
                  <a:lnTo>
                    <a:pt x="30" y="49"/>
                  </a:lnTo>
                  <a:lnTo>
                    <a:pt x="30" y="47"/>
                  </a:lnTo>
                  <a:lnTo>
                    <a:pt x="33" y="47"/>
                  </a:lnTo>
                  <a:lnTo>
                    <a:pt x="33" y="45"/>
                  </a:lnTo>
                  <a:lnTo>
                    <a:pt x="33" y="42"/>
                  </a:lnTo>
                  <a:lnTo>
                    <a:pt x="35" y="42"/>
                  </a:lnTo>
                  <a:lnTo>
                    <a:pt x="35" y="40"/>
                  </a:lnTo>
                  <a:lnTo>
                    <a:pt x="35" y="38"/>
                  </a:lnTo>
                  <a:lnTo>
                    <a:pt x="37" y="38"/>
                  </a:lnTo>
                  <a:lnTo>
                    <a:pt x="37" y="35"/>
                  </a:lnTo>
                  <a:lnTo>
                    <a:pt x="37" y="33"/>
                  </a:lnTo>
                  <a:lnTo>
                    <a:pt x="40" y="33"/>
                  </a:lnTo>
                  <a:lnTo>
                    <a:pt x="40" y="31"/>
                  </a:lnTo>
                  <a:lnTo>
                    <a:pt x="40" y="28"/>
                  </a:lnTo>
                  <a:lnTo>
                    <a:pt x="40" y="26"/>
                  </a:lnTo>
                  <a:lnTo>
                    <a:pt x="42" y="26"/>
                  </a:lnTo>
                  <a:lnTo>
                    <a:pt x="42" y="24"/>
                  </a:lnTo>
                  <a:lnTo>
                    <a:pt x="42" y="26"/>
                  </a:lnTo>
                  <a:lnTo>
                    <a:pt x="42" y="24"/>
                  </a:lnTo>
                  <a:lnTo>
                    <a:pt x="42" y="21"/>
                  </a:lnTo>
                  <a:lnTo>
                    <a:pt x="44" y="21"/>
                  </a:lnTo>
                  <a:lnTo>
                    <a:pt x="42" y="21"/>
                  </a:lnTo>
                  <a:lnTo>
                    <a:pt x="44" y="24"/>
                  </a:lnTo>
                  <a:lnTo>
                    <a:pt x="44" y="21"/>
                  </a:lnTo>
                  <a:lnTo>
                    <a:pt x="44" y="19"/>
                  </a:lnTo>
                  <a:lnTo>
                    <a:pt x="44" y="17"/>
                  </a:lnTo>
                  <a:lnTo>
                    <a:pt x="47" y="17"/>
                  </a:lnTo>
                  <a:lnTo>
                    <a:pt x="44" y="17"/>
                  </a:lnTo>
                  <a:lnTo>
                    <a:pt x="44" y="14"/>
                  </a:lnTo>
                  <a:lnTo>
                    <a:pt x="44" y="12"/>
                  </a:lnTo>
                  <a:lnTo>
                    <a:pt x="47" y="12"/>
                  </a:lnTo>
                  <a:lnTo>
                    <a:pt x="47" y="10"/>
                  </a:lnTo>
                  <a:lnTo>
                    <a:pt x="47" y="7"/>
                  </a:lnTo>
                  <a:lnTo>
                    <a:pt x="49" y="7"/>
                  </a:lnTo>
                  <a:lnTo>
                    <a:pt x="49" y="5"/>
                  </a:lnTo>
                  <a:lnTo>
                    <a:pt x="49" y="3"/>
                  </a:lnTo>
                  <a:lnTo>
                    <a:pt x="49" y="0"/>
                  </a:lnTo>
                  <a:close/>
                  <a:moveTo>
                    <a:pt x="61" y="5"/>
                  </a:moveTo>
                  <a:lnTo>
                    <a:pt x="61" y="3"/>
                  </a:lnTo>
                  <a:lnTo>
                    <a:pt x="61" y="5"/>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781">
              <a:extLst>
                <a:ext uri="{FF2B5EF4-FFF2-40B4-BE49-F238E27FC236}">
                  <a16:creationId xmlns:a16="http://schemas.microsoft.com/office/drawing/2014/main" id="{13FC389D-4DAD-4F5E-A88B-F2349745874F}"/>
                </a:ext>
              </a:extLst>
            </p:cNvPr>
            <p:cNvSpPr>
              <a:spLocks/>
            </p:cNvSpPr>
            <p:nvPr/>
          </p:nvSpPr>
          <p:spPr bwMode="auto">
            <a:xfrm>
              <a:off x="5836444" y="4519613"/>
              <a:ext cx="228600" cy="284163"/>
            </a:xfrm>
            <a:custGeom>
              <a:avLst/>
              <a:gdLst>
                <a:gd name="T0" fmla="*/ 102 w 144"/>
                <a:gd name="T1" fmla="*/ 19 h 179"/>
                <a:gd name="T2" fmla="*/ 100 w 144"/>
                <a:gd name="T3" fmla="*/ 23 h 179"/>
                <a:gd name="T4" fmla="*/ 100 w 144"/>
                <a:gd name="T5" fmla="*/ 30 h 179"/>
                <a:gd name="T6" fmla="*/ 97 w 144"/>
                <a:gd name="T7" fmla="*/ 35 h 179"/>
                <a:gd name="T8" fmla="*/ 97 w 144"/>
                <a:gd name="T9" fmla="*/ 42 h 179"/>
                <a:gd name="T10" fmla="*/ 97 w 144"/>
                <a:gd name="T11" fmla="*/ 46 h 179"/>
                <a:gd name="T12" fmla="*/ 97 w 144"/>
                <a:gd name="T13" fmla="*/ 46 h 179"/>
                <a:gd name="T14" fmla="*/ 97 w 144"/>
                <a:gd name="T15" fmla="*/ 46 h 179"/>
                <a:gd name="T16" fmla="*/ 104 w 144"/>
                <a:gd name="T17" fmla="*/ 46 h 179"/>
                <a:gd name="T18" fmla="*/ 114 w 144"/>
                <a:gd name="T19" fmla="*/ 49 h 179"/>
                <a:gd name="T20" fmla="*/ 123 w 144"/>
                <a:gd name="T21" fmla="*/ 49 h 179"/>
                <a:gd name="T22" fmla="*/ 132 w 144"/>
                <a:gd name="T23" fmla="*/ 51 h 179"/>
                <a:gd name="T24" fmla="*/ 142 w 144"/>
                <a:gd name="T25" fmla="*/ 53 h 179"/>
                <a:gd name="T26" fmla="*/ 144 w 144"/>
                <a:gd name="T27" fmla="*/ 60 h 179"/>
                <a:gd name="T28" fmla="*/ 142 w 144"/>
                <a:gd name="T29" fmla="*/ 72 h 179"/>
                <a:gd name="T30" fmla="*/ 139 w 144"/>
                <a:gd name="T31" fmla="*/ 84 h 179"/>
                <a:gd name="T32" fmla="*/ 137 w 144"/>
                <a:gd name="T33" fmla="*/ 98 h 179"/>
                <a:gd name="T34" fmla="*/ 135 w 144"/>
                <a:gd name="T35" fmla="*/ 109 h 179"/>
                <a:gd name="T36" fmla="*/ 135 w 144"/>
                <a:gd name="T37" fmla="*/ 121 h 179"/>
                <a:gd name="T38" fmla="*/ 132 w 144"/>
                <a:gd name="T39" fmla="*/ 133 h 179"/>
                <a:gd name="T40" fmla="*/ 130 w 144"/>
                <a:gd name="T41" fmla="*/ 144 h 179"/>
                <a:gd name="T42" fmla="*/ 128 w 144"/>
                <a:gd name="T43" fmla="*/ 156 h 179"/>
                <a:gd name="T44" fmla="*/ 128 w 144"/>
                <a:gd name="T45" fmla="*/ 168 h 179"/>
                <a:gd name="T46" fmla="*/ 125 w 144"/>
                <a:gd name="T47" fmla="*/ 179 h 179"/>
                <a:gd name="T48" fmla="*/ 114 w 144"/>
                <a:gd name="T49" fmla="*/ 177 h 179"/>
                <a:gd name="T50" fmla="*/ 102 w 144"/>
                <a:gd name="T51" fmla="*/ 175 h 179"/>
                <a:gd name="T52" fmla="*/ 90 w 144"/>
                <a:gd name="T53" fmla="*/ 175 h 179"/>
                <a:gd name="T54" fmla="*/ 79 w 144"/>
                <a:gd name="T55" fmla="*/ 172 h 179"/>
                <a:gd name="T56" fmla="*/ 65 w 144"/>
                <a:gd name="T57" fmla="*/ 170 h 179"/>
                <a:gd name="T58" fmla="*/ 53 w 144"/>
                <a:gd name="T59" fmla="*/ 168 h 179"/>
                <a:gd name="T60" fmla="*/ 41 w 144"/>
                <a:gd name="T61" fmla="*/ 165 h 179"/>
                <a:gd name="T62" fmla="*/ 30 w 144"/>
                <a:gd name="T63" fmla="*/ 163 h 179"/>
                <a:gd name="T64" fmla="*/ 18 w 144"/>
                <a:gd name="T65" fmla="*/ 161 h 179"/>
                <a:gd name="T66" fmla="*/ 7 w 144"/>
                <a:gd name="T67" fmla="*/ 158 h 179"/>
                <a:gd name="T68" fmla="*/ 0 w 144"/>
                <a:gd name="T69" fmla="*/ 151 h 179"/>
                <a:gd name="T70" fmla="*/ 4 w 144"/>
                <a:gd name="T71" fmla="*/ 137 h 179"/>
                <a:gd name="T72" fmla="*/ 7 w 144"/>
                <a:gd name="T73" fmla="*/ 123 h 179"/>
                <a:gd name="T74" fmla="*/ 9 w 144"/>
                <a:gd name="T75" fmla="*/ 107 h 179"/>
                <a:gd name="T76" fmla="*/ 13 w 144"/>
                <a:gd name="T77" fmla="*/ 93 h 179"/>
                <a:gd name="T78" fmla="*/ 16 w 144"/>
                <a:gd name="T79" fmla="*/ 79 h 179"/>
                <a:gd name="T80" fmla="*/ 18 w 144"/>
                <a:gd name="T81" fmla="*/ 65 h 179"/>
                <a:gd name="T82" fmla="*/ 20 w 144"/>
                <a:gd name="T83" fmla="*/ 49 h 179"/>
                <a:gd name="T84" fmla="*/ 25 w 144"/>
                <a:gd name="T85" fmla="*/ 35 h 179"/>
                <a:gd name="T86" fmla="*/ 27 w 144"/>
                <a:gd name="T87" fmla="*/ 21 h 179"/>
                <a:gd name="T88" fmla="*/ 30 w 144"/>
                <a:gd name="T89" fmla="*/ 5 h 179"/>
                <a:gd name="T90" fmla="*/ 41 w 144"/>
                <a:gd name="T91" fmla="*/ 2 h 179"/>
                <a:gd name="T92" fmla="*/ 53 w 144"/>
                <a:gd name="T93" fmla="*/ 5 h 179"/>
                <a:gd name="T94" fmla="*/ 67 w 144"/>
                <a:gd name="T95" fmla="*/ 7 h 179"/>
                <a:gd name="T96" fmla="*/ 79 w 144"/>
                <a:gd name="T97" fmla="*/ 9 h 179"/>
                <a:gd name="T98" fmla="*/ 93 w 144"/>
                <a:gd name="T99" fmla="*/ 1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179">
                  <a:moveTo>
                    <a:pt x="102" y="14"/>
                  </a:moveTo>
                  <a:lnTo>
                    <a:pt x="102" y="16"/>
                  </a:lnTo>
                  <a:lnTo>
                    <a:pt x="102" y="19"/>
                  </a:lnTo>
                  <a:lnTo>
                    <a:pt x="100" y="21"/>
                  </a:lnTo>
                  <a:lnTo>
                    <a:pt x="100" y="21"/>
                  </a:lnTo>
                  <a:lnTo>
                    <a:pt x="100" y="23"/>
                  </a:lnTo>
                  <a:lnTo>
                    <a:pt x="100" y="26"/>
                  </a:lnTo>
                  <a:lnTo>
                    <a:pt x="100" y="28"/>
                  </a:lnTo>
                  <a:lnTo>
                    <a:pt x="100" y="30"/>
                  </a:lnTo>
                  <a:lnTo>
                    <a:pt x="100" y="33"/>
                  </a:lnTo>
                  <a:lnTo>
                    <a:pt x="97" y="33"/>
                  </a:lnTo>
                  <a:lnTo>
                    <a:pt x="97" y="35"/>
                  </a:lnTo>
                  <a:lnTo>
                    <a:pt x="97" y="37"/>
                  </a:lnTo>
                  <a:lnTo>
                    <a:pt x="97" y="39"/>
                  </a:lnTo>
                  <a:lnTo>
                    <a:pt x="97" y="42"/>
                  </a:lnTo>
                  <a:lnTo>
                    <a:pt x="97" y="44"/>
                  </a:lnTo>
                  <a:lnTo>
                    <a:pt x="97" y="46"/>
                  </a:lnTo>
                  <a:lnTo>
                    <a:pt x="97" y="46"/>
                  </a:lnTo>
                  <a:lnTo>
                    <a:pt x="97" y="46"/>
                  </a:lnTo>
                  <a:lnTo>
                    <a:pt x="97" y="46"/>
                  </a:lnTo>
                  <a:lnTo>
                    <a:pt x="97" y="46"/>
                  </a:lnTo>
                  <a:lnTo>
                    <a:pt x="97" y="46"/>
                  </a:lnTo>
                  <a:lnTo>
                    <a:pt x="97" y="46"/>
                  </a:lnTo>
                  <a:lnTo>
                    <a:pt x="97" y="46"/>
                  </a:lnTo>
                  <a:lnTo>
                    <a:pt x="100" y="46"/>
                  </a:lnTo>
                  <a:lnTo>
                    <a:pt x="102" y="46"/>
                  </a:lnTo>
                  <a:lnTo>
                    <a:pt x="104" y="46"/>
                  </a:lnTo>
                  <a:lnTo>
                    <a:pt x="109" y="46"/>
                  </a:lnTo>
                  <a:lnTo>
                    <a:pt x="111" y="49"/>
                  </a:lnTo>
                  <a:lnTo>
                    <a:pt x="114" y="49"/>
                  </a:lnTo>
                  <a:lnTo>
                    <a:pt x="116" y="49"/>
                  </a:lnTo>
                  <a:lnTo>
                    <a:pt x="121" y="49"/>
                  </a:lnTo>
                  <a:lnTo>
                    <a:pt x="123" y="49"/>
                  </a:lnTo>
                  <a:lnTo>
                    <a:pt x="125" y="51"/>
                  </a:lnTo>
                  <a:lnTo>
                    <a:pt x="130" y="51"/>
                  </a:lnTo>
                  <a:lnTo>
                    <a:pt x="132" y="51"/>
                  </a:lnTo>
                  <a:lnTo>
                    <a:pt x="135" y="51"/>
                  </a:lnTo>
                  <a:lnTo>
                    <a:pt x="137" y="51"/>
                  </a:lnTo>
                  <a:lnTo>
                    <a:pt x="142" y="53"/>
                  </a:lnTo>
                  <a:lnTo>
                    <a:pt x="144" y="53"/>
                  </a:lnTo>
                  <a:lnTo>
                    <a:pt x="144" y="58"/>
                  </a:lnTo>
                  <a:lnTo>
                    <a:pt x="144" y="60"/>
                  </a:lnTo>
                  <a:lnTo>
                    <a:pt x="142" y="65"/>
                  </a:lnTo>
                  <a:lnTo>
                    <a:pt x="142" y="70"/>
                  </a:lnTo>
                  <a:lnTo>
                    <a:pt x="142" y="72"/>
                  </a:lnTo>
                  <a:lnTo>
                    <a:pt x="139" y="77"/>
                  </a:lnTo>
                  <a:lnTo>
                    <a:pt x="139" y="81"/>
                  </a:lnTo>
                  <a:lnTo>
                    <a:pt x="139" y="84"/>
                  </a:lnTo>
                  <a:lnTo>
                    <a:pt x="139" y="88"/>
                  </a:lnTo>
                  <a:lnTo>
                    <a:pt x="137" y="93"/>
                  </a:lnTo>
                  <a:lnTo>
                    <a:pt x="137" y="98"/>
                  </a:lnTo>
                  <a:lnTo>
                    <a:pt x="137" y="100"/>
                  </a:lnTo>
                  <a:lnTo>
                    <a:pt x="137" y="105"/>
                  </a:lnTo>
                  <a:lnTo>
                    <a:pt x="135" y="109"/>
                  </a:lnTo>
                  <a:lnTo>
                    <a:pt x="135" y="112"/>
                  </a:lnTo>
                  <a:lnTo>
                    <a:pt x="135" y="116"/>
                  </a:lnTo>
                  <a:lnTo>
                    <a:pt x="135" y="121"/>
                  </a:lnTo>
                  <a:lnTo>
                    <a:pt x="132" y="123"/>
                  </a:lnTo>
                  <a:lnTo>
                    <a:pt x="132" y="128"/>
                  </a:lnTo>
                  <a:lnTo>
                    <a:pt x="132" y="133"/>
                  </a:lnTo>
                  <a:lnTo>
                    <a:pt x="132" y="135"/>
                  </a:lnTo>
                  <a:lnTo>
                    <a:pt x="130" y="140"/>
                  </a:lnTo>
                  <a:lnTo>
                    <a:pt x="130" y="144"/>
                  </a:lnTo>
                  <a:lnTo>
                    <a:pt x="130" y="149"/>
                  </a:lnTo>
                  <a:lnTo>
                    <a:pt x="130" y="151"/>
                  </a:lnTo>
                  <a:lnTo>
                    <a:pt x="128" y="156"/>
                  </a:lnTo>
                  <a:lnTo>
                    <a:pt x="128" y="161"/>
                  </a:lnTo>
                  <a:lnTo>
                    <a:pt x="128" y="163"/>
                  </a:lnTo>
                  <a:lnTo>
                    <a:pt x="128" y="168"/>
                  </a:lnTo>
                  <a:lnTo>
                    <a:pt x="125" y="172"/>
                  </a:lnTo>
                  <a:lnTo>
                    <a:pt x="125" y="175"/>
                  </a:lnTo>
                  <a:lnTo>
                    <a:pt x="125" y="179"/>
                  </a:lnTo>
                  <a:lnTo>
                    <a:pt x="121" y="179"/>
                  </a:lnTo>
                  <a:lnTo>
                    <a:pt x="116" y="179"/>
                  </a:lnTo>
                  <a:lnTo>
                    <a:pt x="114" y="177"/>
                  </a:lnTo>
                  <a:lnTo>
                    <a:pt x="109" y="177"/>
                  </a:lnTo>
                  <a:lnTo>
                    <a:pt x="104" y="177"/>
                  </a:lnTo>
                  <a:lnTo>
                    <a:pt x="102" y="175"/>
                  </a:lnTo>
                  <a:lnTo>
                    <a:pt x="97" y="175"/>
                  </a:lnTo>
                  <a:lnTo>
                    <a:pt x="93" y="175"/>
                  </a:lnTo>
                  <a:lnTo>
                    <a:pt x="90" y="175"/>
                  </a:lnTo>
                  <a:lnTo>
                    <a:pt x="86" y="172"/>
                  </a:lnTo>
                  <a:lnTo>
                    <a:pt x="81" y="172"/>
                  </a:lnTo>
                  <a:lnTo>
                    <a:pt x="79" y="172"/>
                  </a:lnTo>
                  <a:lnTo>
                    <a:pt x="74" y="170"/>
                  </a:lnTo>
                  <a:lnTo>
                    <a:pt x="69" y="170"/>
                  </a:lnTo>
                  <a:lnTo>
                    <a:pt x="65" y="170"/>
                  </a:lnTo>
                  <a:lnTo>
                    <a:pt x="62" y="170"/>
                  </a:lnTo>
                  <a:lnTo>
                    <a:pt x="58" y="168"/>
                  </a:lnTo>
                  <a:lnTo>
                    <a:pt x="53" y="168"/>
                  </a:lnTo>
                  <a:lnTo>
                    <a:pt x="51" y="168"/>
                  </a:lnTo>
                  <a:lnTo>
                    <a:pt x="46" y="165"/>
                  </a:lnTo>
                  <a:lnTo>
                    <a:pt x="41" y="165"/>
                  </a:lnTo>
                  <a:lnTo>
                    <a:pt x="39" y="165"/>
                  </a:lnTo>
                  <a:lnTo>
                    <a:pt x="34" y="163"/>
                  </a:lnTo>
                  <a:lnTo>
                    <a:pt x="30" y="163"/>
                  </a:lnTo>
                  <a:lnTo>
                    <a:pt x="27" y="163"/>
                  </a:lnTo>
                  <a:lnTo>
                    <a:pt x="23" y="161"/>
                  </a:lnTo>
                  <a:lnTo>
                    <a:pt x="18" y="161"/>
                  </a:lnTo>
                  <a:lnTo>
                    <a:pt x="16" y="161"/>
                  </a:lnTo>
                  <a:lnTo>
                    <a:pt x="11" y="158"/>
                  </a:lnTo>
                  <a:lnTo>
                    <a:pt x="7" y="158"/>
                  </a:lnTo>
                  <a:lnTo>
                    <a:pt x="2" y="158"/>
                  </a:lnTo>
                  <a:lnTo>
                    <a:pt x="0" y="156"/>
                  </a:lnTo>
                  <a:lnTo>
                    <a:pt x="0" y="151"/>
                  </a:lnTo>
                  <a:lnTo>
                    <a:pt x="2" y="147"/>
                  </a:lnTo>
                  <a:lnTo>
                    <a:pt x="2" y="142"/>
                  </a:lnTo>
                  <a:lnTo>
                    <a:pt x="4" y="137"/>
                  </a:lnTo>
                  <a:lnTo>
                    <a:pt x="4" y="133"/>
                  </a:lnTo>
                  <a:lnTo>
                    <a:pt x="4" y="128"/>
                  </a:lnTo>
                  <a:lnTo>
                    <a:pt x="7" y="123"/>
                  </a:lnTo>
                  <a:lnTo>
                    <a:pt x="7" y="119"/>
                  </a:lnTo>
                  <a:lnTo>
                    <a:pt x="9" y="112"/>
                  </a:lnTo>
                  <a:lnTo>
                    <a:pt x="9" y="107"/>
                  </a:lnTo>
                  <a:lnTo>
                    <a:pt x="11" y="102"/>
                  </a:lnTo>
                  <a:lnTo>
                    <a:pt x="11" y="98"/>
                  </a:lnTo>
                  <a:lnTo>
                    <a:pt x="13" y="93"/>
                  </a:lnTo>
                  <a:lnTo>
                    <a:pt x="13" y="88"/>
                  </a:lnTo>
                  <a:lnTo>
                    <a:pt x="13" y="84"/>
                  </a:lnTo>
                  <a:lnTo>
                    <a:pt x="16" y="79"/>
                  </a:lnTo>
                  <a:lnTo>
                    <a:pt x="16" y="74"/>
                  </a:lnTo>
                  <a:lnTo>
                    <a:pt x="18" y="70"/>
                  </a:lnTo>
                  <a:lnTo>
                    <a:pt x="18" y="65"/>
                  </a:lnTo>
                  <a:lnTo>
                    <a:pt x="20" y="58"/>
                  </a:lnTo>
                  <a:lnTo>
                    <a:pt x="20" y="53"/>
                  </a:lnTo>
                  <a:lnTo>
                    <a:pt x="20" y="49"/>
                  </a:lnTo>
                  <a:lnTo>
                    <a:pt x="23" y="44"/>
                  </a:lnTo>
                  <a:lnTo>
                    <a:pt x="23" y="39"/>
                  </a:lnTo>
                  <a:lnTo>
                    <a:pt x="25" y="35"/>
                  </a:lnTo>
                  <a:lnTo>
                    <a:pt x="25" y="30"/>
                  </a:lnTo>
                  <a:lnTo>
                    <a:pt x="27" y="26"/>
                  </a:lnTo>
                  <a:lnTo>
                    <a:pt x="27" y="21"/>
                  </a:lnTo>
                  <a:lnTo>
                    <a:pt x="30" y="16"/>
                  </a:lnTo>
                  <a:lnTo>
                    <a:pt x="30" y="9"/>
                  </a:lnTo>
                  <a:lnTo>
                    <a:pt x="30" y="5"/>
                  </a:lnTo>
                  <a:lnTo>
                    <a:pt x="32" y="0"/>
                  </a:lnTo>
                  <a:lnTo>
                    <a:pt x="37" y="2"/>
                  </a:lnTo>
                  <a:lnTo>
                    <a:pt x="41" y="2"/>
                  </a:lnTo>
                  <a:lnTo>
                    <a:pt x="44" y="2"/>
                  </a:lnTo>
                  <a:lnTo>
                    <a:pt x="48" y="5"/>
                  </a:lnTo>
                  <a:lnTo>
                    <a:pt x="53" y="5"/>
                  </a:lnTo>
                  <a:lnTo>
                    <a:pt x="58" y="7"/>
                  </a:lnTo>
                  <a:lnTo>
                    <a:pt x="62" y="7"/>
                  </a:lnTo>
                  <a:lnTo>
                    <a:pt x="67" y="7"/>
                  </a:lnTo>
                  <a:lnTo>
                    <a:pt x="72" y="9"/>
                  </a:lnTo>
                  <a:lnTo>
                    <a:pt x="76" y="9"/>
                  </a:lnTo>
                  <a:lnTo>
                    <a:pt x="79" y="9"/>
                  </a:lnTo>
                  <a:lnTo>
                    <a:pt x="83" y="12"/>
                  </a:lnTo>
                  <a:lnTo>
                    <a:pt x="88" y="12"/>
                  </a:lnTo>
                  <a:lnTo>
                    <a:pt x="93" y="12"/>
                  </a:lnTo>
                  <a:lnTo>
                    <a:pt x="97" y="14"/>
                  </a:lnTo>
                  <a:lnTo>
                    <a:pt x="102" y="1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782">
              <a:extLst>
                <a:ext uri="{FF2B5EF4-FFF2-40B4-BE49-F238E27FC236}">
                  <a16:creationId xmlns:a16="http://schemas.microsoft.com/office/drawing/2014/main" id="{78AE6222-52A9-402F-97E2-A03B76F65D82}"/>
                </a:ext>
              </a:extLst>
            </p:cNvPr>
            <p:cNvSpPr>
              <a:spLocks/>
            </p:cNvSpPr>
            <p:nvPr/>
          </p:nvSpPr>
          <p:spPr bwMode="auto">
            <a:xfrm>
              <a:off x="5990431" y="4394201"/>
              <a:ext cx="280988" cy="231775"/>
            </a:xfrm>
            <a:custGeom>
              <a:avLst/>
              <a:gdLst>
                <a:gd name="T0" fmla="*/ 170 w 177"/>
                <a:gd name="T1" fmla="*/ 95 h 146"/>
                <a:gd name="T2" fmla="*/ 170 w 177"/>
                <a:gd name="T3" fmla="*/ 112 h 146"/>
                <a:gd name="T4" fmla="*/ 168 w 177"/>
                <a:gd name="T5" fmla="*/ 128 h 146"/>
                <a:gd name="T6" fmla="*/ 168 w 177"/>
                <a:gd name="T7" fmla="*/ 142 h 146"/>
                <a:gd name="T8" fmla="*/ 156 w 177"/>
                <a:gd name="T9" fmla="*/ 146 h 146"/>
                <a:gd name="T10" fmla="*/ 140 w 177"/>
                <a:gd name="T11" fmla="*/ 144 h 146"/>
                <a:gd name="T12" fmla="*/ 126 w 177"/>
                <a:gd name="T13" fmla="*/ 142 h 146"/>
                <a:gd name="T14" fmla="*/ 110 w 177"/>
                <a:gd name="T15" fmla="*/ 142 h 146"/>
                <a:gd name="T16" fmla="*/ 96 w 177"/>
                <a:gd name="T17" fmla="*/ 139 h 146"/>
                <a:gd name="T18" fmla="*/ 82 w 177"/>
                <a:gd name="T19" fmla="*/ 137 h 146"/>
                <a:gd name="T20" fmla="*/ 65 w 177"/>
                <a:gd name="T21" fmla="*/ 135 h 146"/>
                <a:gd name="T22" fmla="*/ 51 w 177"/>
                <a:gd name="T23" fmla="*/ 132 h 146"/>
                <a:gd name="T24" fmla="*/ 38 w 177"/>
                <a:gd name="T25" fmla="*/ 130 h 146"/>
                <a:gd name="T26" fmla="*/ 26 w 177"/>
                <a:gd name="T27" fmla="*/ 128 h 146"/>
                <a:gd name="T28" fmla="*/ 14 w 177"/>
                <a:gd name="T29" fmla="*/ 128 h 146"/>
                <a:gd name="T30" fmla="*/ 3 w 177"/>
                <a:gd name="T31" fmla="*/ 125 h 146"/>
                <a:gd name="T32" fmla="*/ 0 w 177"/>
                <a:gd name="T33" fmla="*/ 125 h 146"/>
                <a:gd name="T34" fmla="*/ 0 w 177"/>
                <a:gd name="T35" fmla="*/ 125 h 146"/>
                <a:gd name="T36" fmla="*/ 0 w 177"/>
                <a:gd name="T37" fmla="*/ 116 h 146"/>
                <a:gd name="T38" fmla="*/ 3 w 177"/>
                <a:gd name="T39" fmla="*/ 109 h 146"/>
                <a:gd name="T40" fmla="*/ 3 w 177"/>
                <a:gd name="T41" fmla="*/ 100 h 146"/>
                <a:gd name="T42" fmla="*/ 5 w 177"/>
                <a:gd name="T43" fmla="*/ 93 h 146"/>
                <a:gd name="T44" fmla="*/ 7 w 177"/>
                <a:gd name="T45" fmla="*/ 74 h 146"/>
                <a:gd name="T46" fmla="*/ 12 w 177"/>
                <a:gd name="T47" fmla="*/ 53 h 146"/>
                <a:gd name="T48" fmla="*/ 14 w 177"/>
                <a:gd name="T49" fmla="*/ 35 h 146"/>
                <a:gd name="T50" fmla="*/ 19 w 177"/>
                <a:gd name="T51" fmla="*/ 14 h 146"/>
                <a:gd name="T52" fmla="*/ 19 w 177"/>
                <a:gd name="T53" fmla="*/ 11 h 146"/>
                <a:gd name="T54" fmla="*/ 19 w 177"/>
                <a:gd name="T55" fmla="*/ 7 h 146"/>
                <a:gd name="T56" fmla="*/ 21 w 177"/>
                <a:gd name="T57" fmla="*/ 2 h 146"/>
                <a:gd name="T58" fmla="*/ 21 w 177"/>
                <a:gd name="T59" fmla="*/ 0 h 146"/>
                <a:gd name="T60" fmla="*/ 26 w 177"/>
                <a:gd name="T61" fmla="*/ 0 h 146"/>
                <a:gd name="T62" fmla="*/ 38 w 177"/>
                <a:gd name="T63" fmla="*/ 2 h 146"/>
                <a:gd name="T64" fmla="*/ 47 w 177"/>
                <a:gd name="T65" fmla="*/ 2 h 146"/>
                <a:gd name="T66" fmla="*/ 56 w 177"/>
                <a:gd name="T67" fmla="*/ 4 h 146"/>
                <a:gd name="T68" fmla="*/ 65 w 177"/>
                <a:gd name="T69" fmla="*/ 7 h 146"/>
                <a:gd name="T70" fmla="*/ 75 w 177"/>
                <a:gd name="T71" fmla="*/ 7 h 146"/>
                <a:gd name="T72" fmla="*/ 86 w 177"/>
                <a:gd name="T73" fmla="*/ 9 h 146"/>
                <a:gd name="T74" fmla="*/ 96 w 177"/>
                <a:gd name="T75" fmla="*/ 9 h 146"/>
                <a:gd name="T76" fmla="*/ 105 w 177"/>
                <a:gd name="T77" fmla="*/ 11 h 146"/>
                <a:gd name="T78" fmla="*/ 114 w 177"/>
                <a:gd name="T79" fmla="*/ 14 h 146"/>
                <a:gd name="T80" fmla="*/ 124 w 177"/>
                <a:gd name="T81" fmla="*/ 14 h 146"/>
                <a:gd name="T82" fmla="*/ 135 w 177"/>
                <a:gd name="T83" fmla="*/ 16 h 146"/>
                <a:gd name="T84" fmla="*/ 145 w 177"/>
                <a:gd name="T85" fmla="*/ 16 h 146"/>
                <a:gd name="T86" fmla="*/ 154 w 177"/>
                <a:gd name="T87" fmla="*/ 18 h 146"/>
                <a:gd name="T88" fmla="*/ 163 w 177"/>
                <a:gd name="T89" fmla="*/ 18 h 146"/>
                <a:gd name="T90" fmla="*/ 175 w 177"/>
                <a:gd name="T91" fmla="*/ 18 h 146"/>
                <a:gd name="T92" fmla="*/ 177 w 177"/>
                <a:gd name="T93" fmla="*/ 28 h 146"/>
                <a:gd name="T94" fmla="*/ 177 w 177"/>
                <a:gd name="T95" fmla="*/ 44 h 146"/>
                <a:gd name="T96" fmla="*/ 175 w 177"/>
                <a:gd name="T97" fmla="*/ 60 h 146"/>
                <a:gd name="T98" fmla="*/ 173 w 177"/>
                <a:gd name="T99" fmla="*/ 7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146">
                  <a:moveTo>
                    <a:pt x="173" y="84"/>
                  </a:moveTo>
                  <a:lnTo>
                    <a:pt x="173" y="88"/>
                  </a:lnTo>
                  <a:lnTo>
                    <a:pt x="173" y="91"/>
                  </a:lnTo>
                  <a:lnTo>
                    <a:pt x="170" y="95"/>
                  </a:lnTo>
                  <a:lnTo>
                    <a:pt x="170" y="100"/>
                  </a:lnTo>
                  <a:lnTo>
                    <a:pt x="170" y="102"/>
                  </a:lnTo>
                  <a:lnTo>
                    <a:pt x="170" y="107"/>
                  </a:lnTo>
                  <a:lnTo>
                    <a:pt x="170" y="112"/>
                  </a:lnTo>
                  <a:lnTo>
                    <a:pt x="170" y="116"/>
                  </a:lnTo>
                  <a:lnTo>
                    <a:pt x="170" y="118"/>
                  </a:lnTo>
                  <a:lnTo>
                    <a:pt x="168" y="123"/>
                  </a:lnTo>
                  <a:lnTo>
                    <a:pt x="168" y="128"/>
                  </a:lnTo>
                  <a:lnTo>
                    <a:pt x="168" y="130"/>
                  </a:lnTo>
                  <a:lnTo>
                    <a:pt x="168" y="135"/>
                  </a:lnTo>
                  <a:lnTo>
                    <a:pt x="168" y="139"/>
                  </a:lnTo>
                  <a:lnTo>
                    <a:pt x="168" y="142"/>
                  </a:lnTo>
                  <a:lnTo>
                    <a:pt x="166" y="146"/>
                  </a:lnTo>
                  <a:lnTo>
                    <a:pt x="163" y="146"/>
                  </a:lnTo>
                  <a:lnTo>
                    <a:pt x="161" y="146"/>
                  </a:lnTo>
                  <a:lnTo>
                    <a:pt x="156" y="146"/>
                  </a:lnTo>
                  <a:lnTo>
                    <a:pt x="152" y="146"/>
                  </a:lnTo>
                  <a:lnTo>
                    <a:pt x="149" y="144"/>
                  </a:lnTo>
                  <a:lnTo>
                    <a:pt x="145" y="144"/>
                  </a:lnTo>
                  <a:lnTo>
                    <a:pt x="140" y="144"/>
                  </a:lnTo>
                  <a:lnTo>
                    <a:pt x="138" y="144"/>
                  </a:lnTo>
                  <a:lnTo>
                    <a:pt x="133" y="144"/>
                  </a:lnTo>
                  <a:lnTo>
                    <a:pt x="131" y="144"/>
                  </a:lnTo>
                  <a:lnTo>
                    <a:pt x="126" y="142"/>
                  </a:lnTo>
                  <a:lnTo>
                    <a:pt x="121" y="142"/>
                  </a:lnTo>
                  <a:lnTo>
                    <a:pt x="119" y="142"/>
                  </a:lnTo>
                  <a:lnTo>
                    <a:pt x="114" y="142"/>
                  </a:lnTo>
                  <a:lnTo>
                    <a:pt x="110" y="142"/>
                  </a:lnTo>
                  <a:lnTo>
                    <a:pt x="107" y="139"/>
                  </a:lnTo>
                  <a:lnTo>
                    <a:pt x="103" y="139"/>
                  </a:lnTo>
                  <a:lnTo>
                    <a:pt x="100" y="139"/>
                  </a:lnTo>
                  <a:lnTo>
                    <a:pt x="96" y="139"/>
                  </a:lnTo>
                  <a:lnTo>
                    <a:pt x="91" y="139"/>
                  </a:lnTo>
                  <a:lnTo>
                    <a:pt x="89" y="137"/>
                  </a:lnTo>
                  <a:lnTo>
                    <a:pt x="84" y="137"/>
                  </a:lnTo>
                  <a:lnTo>
                    <a:pt x="82" y="137"/>
                  </a:lnTo>
                  <a:lnTo>
                    <a:pt x="77" y="137"/>
                  </a:lnTo>
                  <a:lnTo>
                    <a:pt x="72" y="137"/>
                  </a:lnTo>
                  <a:lnTo>
                    <a:pt x="70" y="135"/>
                  </a:lnTo>
                  <a:lnTo>
                    <a:pt x="65" y="135"/>
                  </a:lnTo>
                  <a:lnTo>
                    <a:pt x="61" y="135"/>
                  </a:lnTo>
                  <a:lnTo>
                    <a:pt x="58" y="135"/>
                  </a:lnTo>
                  <a:lnTo>
                    <a:pt x="54" y="132"/>
                  </a:lnTo>
                  <a:lnTo>
                    <a:pt x="51" y="132"/>
                  </a:lnTo>
                  <a:lnTo>
                    <a:pt x="47" y="132"/>
                  </a:lnTo>
                  <a:lnTo>
                    <a:pt x="45" y="132"/>
                  </a:lnTo>
                  <a:lnTo>
                    <a:pt x="40" y="130"/>
                  </a:lnTo>
                  <a:lnTo>
                    <a:pt x="38" y="130"/>
                  </a:lnTo>
                  <a:lnTo>
                    <a:pt x="35" y="130"/>
                  </a:lnTo>
                  <a:lnTo>
                    <a:pt x="33" y="130"/>
                  </a:lnTo>
                  <a:lnTo>
                    <a:pt x="28" y="130"/>
                  </a:lnTo>
                  <a:lnTo>
                    <a:pt x="26" y="128"/>
                  </a:lnTo>
                  <a:lnTo>
                    <a:pt x="24" y="128"/>
                  </a:lnTo>
                  <a:lnTo>
                    <a:pt x="19" y="128"/>
                  </a:lnTo>
                  <a:lnTo>
                    <a:pt x="17" y="128"/>
                  </a:lnTo>
                  <a:lnTo>
                    <a:pt x="14" y="128"/>
                  </a:lnTo>
                  <a:lnTo>
                    <a:pt x="12" y="125"/>
                  </a:lnTo>
                  <a:lnTo>
                    <a:pt x="7" y="125"/>
                  </a:lnTo>
                  <a:lnTo>
                    <a:pt x="5" y="125"/>
                  </a:lnTo>
                  <a:lnTo>
                    <a:pt x="3" y="125"/>
                  </a:lnTo>
                  <a:lnTo>
                    <a:pt x="0" y="125"/>
                  </a:lnTo>
                  <a:lnTo>
                    <a:pt x="0" y="125"/>
                  </a:lnTo>
                  <a:lnTo>
                    <a:pt x="0" y="125"/>
                  </a:lnTo>
                  <a:lnTo>
                    <a:pt x="0" y="125"/>
                  </a:lnTo>
                  <a:lnTo>
                    <a:pt x="0" y="125"/>
                  </a:lnTo>
                  <a:lnTo>
                    <a:pt x="0" y="125"/>
                  </a:lnTo>
                  <a:lnTo>
                    <a:pt x="0" y="125"/>
                  </a:lnTo>
                  <a:lnTo>
                    <a:pt x="0" y="125"/>
                  </a:lnTo>
                  <a:lnTo>
                    <a:pt x="0" y="123"/>
                  </a:lnTo>
                  <a:lnTo>
                    <a:pt x="0" y="121"/>
                  </a:lnTo>
                  <a:lnTo>
                    <a:pt x="0" y="118"/>
                  </a:lnTo>
                  <a:lnTo>
                    <a:pt x="0" y="116"/>
                  </a:lnTo>
                  <a:lnTo>
                    <a:pt x="0" y="114"/>
                  </a:lnTo>
                  <a:lnTo>
                    <a:pt x="0" y="112"/>
                  </a:lnTo>
                  <a:lnTo>
                    <a:pt x="3" y="112"/>
                  </a:lnTo>
                  <a:lnTo>
                    <a:pt x="3" y="109"/>
                  </a:lnTo>
                  <a:lnTo>
                    <a:pt x="3" y="107"/>
                  </a:lnTo>
                  <a:lnTo>
                    <a:pt x="3" y="105"/>
                  </a:lnTo>
                  <a:lnTo>
                    <a:pt x="3" y="102"/>
                  </a:lnTo>
                  <a:lnTo>
                    <a:pt x="3" y="100"/>
                  </a:lnTo>
                  <a:lnTo>
                    <a:pt x="3" y="100"/>
                  </a:lnTo>
                  <a:lnTo>
                    <a:pt x="5" y="98"/>
                  </a:lnTo>
                  <a:lnTo>
                    <a:pt x="5" y="95"/>
                  </a:lnTo>
                  <a:lnTo>
                    <a:pt x="5" y="93"/>
                  </a:lnTo>
                  <a:lnTo>
                    <a:pt x="5" y="88"/>
                  </a:lnTo>
                  <a:lnTo>
                    <a:pt x="7" y="84"/>
                  </a:lnTo>
                  <a:lnTo>
                    <a:pt x="7" y="79"/>
                  </a:lnTo>
                  <a:lnTo>
                    <a:pt x="7" y="74"/>
                  </a:lnTo>
                  <a:lnTo>
                    <a:pt x="10" y="70"/>
                  </a:lnTo>
                  <a:lnTo>
                    <a:pt x="10" y="63"/>
                  </a:lnTo>
                  <a:lnTo>
                    <a:pt x="10" y="58"/>
                  </a:lnTo>
                  <a:lnTo>
                    <a:pt x="12" y="53"/>
                  </a:lnTo>
                  <a:lnTo>
                    <a:pt x="12" y="49"/>
                  </a:lnTo>
                  <a:lnTo>
                    <a:pt x="14" y="44"/>
                  </a:lnTo>
                  <a:lnTo>
                    <a:pt x="14" y="39"/>
                  </a:lnTo>
                  <a:lnTo>
                    <a:pt x="14" y="35"/>
                  </a:lnTo>
                  <a:lnTo>
                    <a:pt x="17" y="30"/>
                  </a:lnTo>
                  <a:lnTo>
                    <a:pt x="17" y="25"/>
                  </a:lnTo>
                  <a:lnTo>
                    <a:pt x="17" y="18"/>
                  </a:lnTo>
                  <a:lnTo>
                    <a:pt x="19" y="14"/>
                  </a:lnTo>
                  <a:lnTo>
                    <a:pt x="19" y="14"/>
                  </a:lnTo>
                  <a:lnTo>
                    <a:pt x="19" y="14"/>
                  </a:lnTo>
                  <a:lnTo>
                    <a:pt x="19" y="11"/>
                  </a:lnTo>
                  <a:lnTo>
                    <a:pt x="19" y="11"/>
                  </a:lnTo>
                  <a:lnTo>
                    <a:pt x="19" y="9"/>
                  </a:lnTo>
                  <a:lnTo>
                    <a:pt x="19" y="9"/>
                  </a:lnTo>
                  <a:lnTo>
                    <a:pt x="19" y="7"/>
                  </a:lnTo>
                  <a:lnTo>
                    <a:pt x="19" y="7"/>
                  </a:lnTo>
                  <a:lnTo>
                    <a:pt x="19" y="7"/>
                  </a:lnTo>
                  <a:lnTo>
                    <a:pt x="19" y="4"/>
                  </a:lnTo>
                  <a:lnTo>
                    <a:pt x="21" y="4"/>
                  </a:lnTo>
                  <a:lnTo>
                    <a:pt x="21" y="2"/>
                  </a:lnTo>
                  <a:lnTo>
                    <a:pt x="21" y="2"/>
                  </a:lnTo>
                  <a:lnTo>
                    <a:pt x="21" y="2"/>
                  </a:lnTo>
                  <a:lnTo>
                    <a:pt x="21" y="0"/>
                  </a:lnTo>
                  <a:lnTo>
                    <a:pt x="21" y="0"/>
                  </a:lnTo>
                  <a:lnTo>
                    <a:pt x="21" y="0"/>
                  </a:lnTo>
                  <a:lnTo>
                    <a:pt x="21" y="0"/>
                  </a:lnTo>
                  <a:lnTo>
                    <a:pt x="24" y="0"/>
                  </a:lnTo>
                  <a:lnTo>
                    <a:pt x="26" y="0"/>
                  </a:lnTo>
                  <a:lnTo>
                    <a:pt x="31" y="0"/>
                  </a:lnTo>
                  <a:lnTo>
                    <a:pt x="33" y="0"/>
                  </a:lnTo>
                  <a:lnTo>
                    <a:pt x="35" y="2"/>
                  </a:lnTo>
                  <a:lnTo>
                    <a:pt x="38" y="2"/>
                  </a:lnTo>
                  <a:lnTo>
                    <a:pt x="40" y="2"/>
                  </a:lnTo>
                  <a:lnTo>
                    <a:pt x="42" y="2"/>
                  </a:lnTo>
                  <a:lnTo>
                    <a:pt x="45" y="2"/>
                  </a:lnTo>
                  <a:lnTo>
                    <a:pt x="47" y="2"/>
                  </a:lnTo>
                  <a:lnTo>
                    <a:pt x="49" y="4"/>
                  </a:lnTo>
                  <a:lnTo>
                    <a:pt x="51" y="4"/>
                  </a:lnTo>
                  <a:lnTo>
                    <a:pt x="54" y="4"/>
                  </a:lnTo>
                  <a:lnTo>
                    <a:pt x="56" y="4"/>
                  </a:lnTo>
                  <a:lnTo>
                    <a:pt x="58" y="4"/>
                  </a:lnTo>
                  <a:lnTo>
                    <a:pt x="61" y="4"/>
                  </a:lnTo>
                  <a:lnTo>
                    <a:pt x="63" y="7"/>
                  </a:lnTo>
                  <a:lnTo>
                    <a:pt x="65" y="7"/>
                  </a:lnTo>
                  <a:lnTo>
                    <a:pt x="68" y="7"/>
                  </a:lnTo>
                  <a:lnTo>
                    <a:pt x="70" y="7"/>
                  </a:lnTo>
                  <a:lnTo>
                    <a:pt x="72" y="7"/>
                  </a:lnTo>
                  <a:lnTo>
                    <a:pt x="75" y="7"/>
                  </a:lnTo>
                  <a:lnTo>
                    <a:pt x="77" y="7"/>
                  </a:lnTo>
                  <a:lnTo>
                    <a:pt x="82" y="9"/>
                  </a:lnTo>
                  <a:lnTo>
                    <a:pt x="84" y="9"/>
                  </a:lnTo>
                  <a:lnTo>
                    <a:pt x="86" y="9"/>
                  </a:lnTo>
                  <a:lnTo>
                    <a:pt x="89" y="9"/>
                  </a:lnTo>
                  <a:lnTo>
                    <a:pt x="91" y="9"/>
                  </a:lnTo>
                  <a:lnTo>
                    <a:pt x="93" y="9"/>
                  </a:lnTo>
                  <a:lnTo>
                    <a:pt x="96" y="9"/>
                  </a:lnTo>
                  <a:lnTo>
                    <a:pt x="98" y="11"/>
                  </a:lnTo>
                  <a:lnTo>
                    <a:pt x="100" y="11"/>
                  </a:lnTo>
                  <a:lnTo>
                    <a:pt x="103" y="11"/>
                  </a:lnTo>
                  <a:lnTo>
                    <a:pt x="105" y="11"/>
                  </a:lnTo>
                  <a:lnTo>
                    <a:pt x="107" y="11"/>
                  </a:lnTo>
                  <a:lnTo>
                    <a:pt x="110" y="11"/>
                  </a:lnTo>
                  <a:lnTo>
                    <a:pt x="112" y="11"/>
                  </a:lnTo>
                  <a:lnTo>
                    <a:pt x="114" y="14"/>
                  </a:lnTo>
                  <a:lnTo>
                    <a:pt x="117" y="14"/>
                  </a:lnTo>
                  <a:lnTo>
                    <a:pt x="119" y="14"/>
                  </a:lnTo>
                  <a:lnTo>
                    <a:pt x="121" y="14"/>
                  </a:lnTo>
                  <a:lnTo>
                    <a:pt x="124" y="14"/>
                  </a:lnTo>
                  <a:lnTo>
                    <a:pt x="126" y="14"/>
                  </a:lnTo>
                  <a:lnTo>
                    <a:pt x="131" y="14"/>
                  </a:lnTo>
                  <a:lnTo>
                    <a:pt x="133" y="14"/>
                  </a:lnTo>
                  <a:lnTo>
                    <a:pt x="135" y="16"/>
                  </a:lnTo>
                  <a:lnTo>
                    <a:pt x="138" y="16"/>
                  </a:lnTo>
                  <a:lnTo>
                    <a:pt x="140" y="16"/>
                  </a:lnTo>
                  <a:lnTo>
                    <a:pt x="142" y="16"/>
                  </a:lnTo>
                  <a:lnTo>
                    <a:pt x="145" y="16"/>
                  </a:lnTo>
                  <a:lnTo>
                    <a:pt x="147" y="16"/>
                  </a:lnTo>
                  <a:lnTo>
                    <a:pt x="149" y="16"/>
                  </a:lnTo>
                  <a:lnTo>
                    <a:pt x="152" y="16"/>
                  </a:lnTo>
                  <a:lnTo>
                    <a:pt x="154" y="18"/>
                  </a:lnTo>
                  <a:lnTo>
                    <a:pt x="156" y="18"/>
                  </a:lnTo>
                  <a:lnTo>
                    <a:pt x="159" y="18"/>
                  </a:lnTo>
                  <a:lnTo>
                    <a:pt x="161" y="18"/>
                  </a:lnTo>
                  <a:lnTo>
                    <a:pt x="163" y="18"/>
                  </a:lnTo>
                  <a:lnTo>
                    <a:pt x="166" y="18"/>
                  </a:lnTo>
                  <a:lnTo>
                    <a:pt x="168" y="18"/>
                  </a:lnTo>
                  <a:lnTo>
                    <a:pt x="170" y="18"/>
                  </a:lnTo>
                  <a:lnTo>
                    <a:pt x="175" y="18"/>
                  </a:lnTo>
                  <a:lnTo>
                    <a:pt x="177" y="18"/>
                  </a:lnTo>
                  <a:lnTo>
                    <a:pt x="177" y="21"/>
                  </a:lnTo>
                  <a:lnTo>
                    <a:pt x="177" y="23"/>
                  </a:lnTo>
                  <a:lnTo>
                    <a:pt x="177" y="28"/>
                  </a:lnTo>
                  <a:lnTo>
                    <a:pt x="177" y="32"/>
                  </a:lnTo>
                  <a:lnTo>
                    <a:pt x="177" y="35"/>
                  </a:lnTo>
                  <a:lnTo>
                    <a:pt x="177" y="39"/>
                  </a:lnTo>
                  <a:lnTo>
                    <a:pt x="177" y="44"/>
                  </a:lnTo>
                  <a:lnTo>
                    <a:pt x="175" y="49"/>
                  </a:lnTo>
                  <a:lnTo>
                    <a:pt x="175" y="51"/>
                  </a:lnTo>
                  <a:lnTo>
                    <a:pt x="175" y="56"/>
                  </a:lnTo>
                  <a:lnTo>
                    <a:pt x="175" y="60"/>
                  </a:lnTo>
                  <a:lnTo>
                    <a:pt x="175" y="63"/>
                  </a:lnTo>
                  <a:lnTo>
                    <a:pt x="175" y="67"/>
                  </a:lnTo>
                  <a:lnTo>
                    <a:pt x="173" y="72"/>
                  </a:lnTo>
                  <a:lnTo>
                    <a:pt x="173" y="74"/>
                  </a:lnTo>
                  <a:lnTo>
                    <a:pt x="173" y="79"/>
                  </a:lnTo>
                  <a:lnTo>
                    <a:pt x="173" y="8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783">
              <a:extLst>
                <a:ext uri="{FF2B5EF4-FFF2-40B4-BE49-F238E27FC236}">
                  <a16:creationId xmlns:a16="http://schemas.microsoft.com/office/drawing/2014/main" id="{518A4869-41B2-4A14-B43E-E88C58FA7111}"/>
                </a:ext>
              </a:extLst>
            </p:cNvPr>
            <p:cNvSpPr>
              <a:spLocks/>
            </p:cNvSpPr>
            <p:nvPr/>
          </p:nvSpPr>
          <p:spPr bwMode="auto">
            <a:xfrm>
              <a:off x="6619081" y="4859338"/>
              <a:ext cx="203200" cy="184150"/>
            </a:xfrm>
            <a:custGeom>
              <a:avLst/>
              <a:gdLst>
                <a:gd name="T0" fmla="*/ 128 w 128"/>
                <a:gd name="T1" fmla="*/ 19 h 116"/>
                <a:gd name="T2" fmla="*/ 126 w 128"/>
                <a:gd name="T3" fmla="*/ 21 h 116"/>
                <a:gd name="T4" fmla="*/ 123 w 128"/>
                <a:gd name="T5" fmla="*/ 26 h 116"/>
                <a:gd name="T6" fmla="*/ 123 w 128"/>
                <a:gd name="T7" fmla="*/ 28 h 116"/>
                <a:gd name="T8" fmla="*/ 123 w 128"/>
                <a:gd name="T9" fmla="*/ 33 h 116"/>
                <a:gd name="T10" fmla="*/ 121 w 128"/>
                <a:gd name="T11" fmla="*/ 35 h 116"/>
                <a:gd name="T12" fmla="*/ 119 w 128"/>
                <a:gd name="T13" fmla="*/ 40 h 116"/>
                <a:gd name="T14" fmla="*/ 119 w 128"/>
                <a:gd name="T15" fmla="*/ 44 h 116"/>
                <a:gd name="T16" fmla="*/ 116 w 128"/>
                <a:gd name="T17" fmla="*/ 47 h 116"/>
                <a:gd name="T18" fmla="*/ 114 w 128"/>
                <a:gd name="T19" fmla="*/ 49 h 116"/>
                <a:gd name="T20" fmla="*/ 112 w 128"/>
                <a:gd name="T21" fmla="*/ 56 h 116"/>
                <a:gd name="T22" fmla="*/ 109 w 128"/>
                <a:gd name="T23" fmla="*/ 58 h 116"/>
                <a:gd name="T24" fmla="*/ 107 w 128"/>
                <a:gd name="T25" fmla="*/ 61 h 116"/>
                <a:gd name="T26" fmla="*/ 107 w 128"/>
                <a:gd name="T27" fmla="*/ 70 h 116"/>
                <a:gd name="T28" fmla="*/ 105 w 128"/>
                <a:gd name="T29" fmla="*/ 70 h 116"/>
                <a:gd name="T30" fmla="*/ 105 w 128"/>
                <a:gd name="T31" fmla="*/ 72 h 116"/>
                <a:gd name="T32" fmla="*/ 102 w 128"/>
                <a:gd name="T33" fmla="*/ 72 h 116"/>
                <a:gd name="T34" fmla="*/ 100 w 128"/>
                <a:gd name="T35" fmla="*/ 77 h 116"/>
                <a:gd name="T36" fmla="*/ 100 w 128"/>
                <a:gd name="T37" fmla="*/ 82 h 116"/>
                <a:gd name="T38" fmla="*/ 95 w 128"/>
                <a:gd name="T39" fmla="*/ 82 h 116"/>
                <a:gd name="T40" fmla="*/ 98 w 128"/>
                <a:gd name="T41" fmla="*/ 84 h 116"/>
                <a:gd name="T42" fmla="*/ 98 w 128"/>
                <a:gd name="T43" fmla="*/ 89 h 116"/>
                <a:gd name="T44" fmla="*/ 95 w 128"/>
                <a:gd name="T45" fmla="*/ 91 h 116"/>
                <a:gd name="T46" fmla="*/ 93 w 128"/>
                <a:gd name="T47" fmla="*/ 93 h 116"/>
                <a:gd name="T48" fmla="*/ 93 w 128"/>
                <a:gd name="T49" fmla="*/ 96 h 116"/>
                <a:gd name="T50" fmla="*/ 93 w 128"/>
                <a:gd name="T51" fmla="*/ 98 h 116"/>
                <a:gd name="T52" fmla="*/ 95 w 128"/>
                <a:gd name="T53" fmla="*/ 103 h 116"/>
                <a:gd name="T54" fmla="*/ 95 w 128"/>
                <a:gd name="T55" fmla="*/ 105 h 116"/>
                <a:gd name="T56" fmla="*/ 98 w 128"/>
                <a:gd name="T57" fmla="*/ 110 h 116"/>
                <a:gd name="T58" fmla="*/ 91 w 128"/>
                <a:gd name="T59" fmla="*/ 114 h 116"/>
                <a:gd name="T60" fmla="*/ 60 w 128"/>
                <a:gd name="T61" fmla="*/ 116 h 116"/>
                <a:gd name="T62" fmla="*/ 33 w 128"/>
                <a:gd name="T63" fmla="*/ 116 h 116"/>
                <a:gd name="T64" fmla="*/ 16 w 128"/>
                <a:gd name="T65" fmla="*/ 105 h 116"/>
                <a:gd name="T66" fmla="*/ 16 w 128"/>
                <a:gd name="T67" fmla="*/ 100 h 116"/>
                <a:gd name="T68" fmla="*/ 12 w 128"/>
                <a:gd name="T69" fmla="*/ 100 h 116"/>
                <a:gd name="T70" fmla="*/ 9 w 128"/>
                <a:gd name="T71" fmla="*/ 100 h 116"/>
                <a:gd name="T72" fmla="*/ 7 w 128"/>
                <a:gd name="T73" fmla="*/ 98 h 116"/>
                <a:gd name="T74" fmla="*/ 5 w 128"/>
                <a:gd name="T75" fmla="*/ 98 h 116"/>
                <a:gd name="T76" fmla="*/ 5 w 128"/>
                <a:gd name="T77" fmla="*/ 56 h 116"/>
                <a:gd name="T78" fmla="*/ 2 w 128"/>
                <a:gd name="T79" fmla="*/ 23 h 116"/>
                <a:gd name="T80" fmla="*/ 14 w 128"/>
                <a:gd name="T81" fmla="*/ 5 h 116"/>
                <a:gd name="T82" fmla="*/ 56 w 128"/>
                <a:gd name="T83" fmla="*/ 5 h 116"/>
                <a:gd name="T84" fmla="*/ 93 w 128"/>
                <a:gd name="T85" fmla="*/ 2 h 116"/>
                <a:gd name="T86" fmla="*/ 114 w 128"/>
                <a:gd name="T87" fmla="*/ 2 h 116"/>
                <a:gd name="T88" fmla="*/ 116 w 128"/>
                <a:gd name="T89" fmla="*/ 2 h 116"/>
                <a:gd name="T90" fmla="*/ 116 w 128"/>
                <a:gd name="T91" fmla="*/ 5 h 116"/>
                <a:gd name="T92" fmla="*/ 119 w 128"/>
                <a:gd name="T93" fmla="*/ 5 h 116"/>
                <a:gd name="T94" fmla="*/ 119 w 128"/>
                <a:gd name="T95" fmla="*/ 7 h 116"/>
                <a:gd name="T96" fmla="*/ 119 w 128"/>
                <a:gd name="T97" fmla="*/ 7 h 116"/>
                <a:gd name="T98" fmla="*/ 116 w 128"/>
                <a:gd name="T99" fmla="*/ 9 h 116"/>
                <a:gd name="T100" fmla="*/ 116 w 128"/>
                <a:gd name="T101" fmla="*/ 9 h 116"/>
                <a:gd name="T102" fmla="*/ 114 w 128"/>
                <a:gd name="T103" fmla="*/ 12 h 116"/>
                <a:gd name="T104" fmla="*/ 114 w 128"/>
                <a:gd name="T105" fmla="*/ 12 h 116"/>
                <a:gd name="T106" fmla="*/ 112 w 128"/>
                <a:gd name="T107" fmla="*/ 14 h 116"/>
                <a:gd name="T108" fmla="*/ 112 w 128"/>
                <a:gd name="T109" fmla="*/ 14 h 116"/>
                <a:gd name="T110" fmla="*/ 112 w 128"/>
                <a:gd name="T111" fmla="*/ 19 h 116"/>
                <a:gd name="T112" fmla="*/ 128 w 128"/>
                <a:gd name="T113" fmla="*/ 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16">
                  <a:moveTo>
                    <a:pt x="128" y="16"/>
                  </a:moveTo>
                  <a:lnTo>
                    <a:pt x="128" y="16"/>
                  </a:lnTo>
                  <a:lnTo>
                    <a:pt x="128" y="16"/>
                  </a:lnTo>
                  <a:lnTo>
                    <a:pt x="128" y="19"/>
                  </a:lnTo>
                  <a:lnTo>
                    <a:pt x="128" y="19"/>
                  </a:lnTo>
                  <a:lnTo>
                    <a:pt x="128" y="19"/>
                  </a:lnTo>
                  <a:lnTo>
                    <a:pt x="128" y="19"/>
                  </a:lnTo>
                  <a:lnTo>
                    <a:pt x="128" y="19"/>
                  </a:lnTo>
                  <a:lnTo>
                    <a:pt x="128" y="19"/>
                  </a:lnTo>
                  <a:lnTo>
                    <a:pt x="126" y="19"/>
                  </a:lnTo>
                  <a:lnTo>
                    <a:pt x="126" y="19"/>
                  </a:lnTo>
                  <a:lnTo>
                    <a:pt x="126" y="21"/>
                  </a:lnTo>
                  <a:lnTo>
                    <a:pt x="128" y="21"/>
                  </a:lnTo>
                  <a:lnTo>
                    <a:pt x="128" y="21"/>
                  </a:lnTo>
                  <a:lnTo>
                    <a:pt x="128" y="21"/>
                  </a:lnTo>
                  <a:lnTo>
                    <a:pt x="126" y="23"/>
                  </a:lnTo>
                  <a:lnTo>
                    <a:pt x="123" y="26"/>
                  </a:lnTo>
                  <a:lnTo>
                    <a:pt x="123" y="26"/>
                  </a:lnTo>
                  <a:lnTo>
                    <a:pt x="123" y="26"/>
                  </a:lnTo>
                  <a:lnTo>
                    <a:pt x="123" y="28"/>
                  </a:lnTo>
                  <a:lnTo>
                    <a:pt x="123" y="28"/>
                  </a:lnTo>
                  <a:lnTo>
                    <a:pt x="123" y="28"/>
                  </a:lnTo>
                  <a:lnTo>
                    <a:pt x="123" y="28"/>
                  </a:lnTo>
                  <a:lnTo>
                    <a:pt x="123" y="28"/>
                  </a:lnTo>
                  <a:lnTo>
                    <a:pt x="123" y="30"/>
                  </a:lnTo>
                  <a:lnTo>
                    <a:pt x="123" y="30"/>
                  </a:lnTo>
                  <a:lnTo>
                    <a:pt x="123" y="30"/>
                  </a:lnTo>
                  <a:lnTo>
                    <a:pt x="123" y="30"/>
                  </a:lnTo>
                  <a:lnTo>
                    <a:pt x="123" y="33"/>
                  </a:lnTo>
                  <a:lnTo>
                    <a:pt x="123" y="33"/>
                  </a:lnTo>
                  <a:lnTo>
                    <a:pt x="121" y="33"/>
                  </a:lnTo>
                  <a:lnTo>
                    <a:pt x="121" y="33"/>
                  </a:lnTo>
                  <a:lnTo>
                    <a:pt x="121" y="33"/>
                  </a:lnTo>
                  <a:lnTo>
                    <a:pt x="121" y="33"/>
                  </a:lnTo>
                  <a:lnTo>
                    <a:pt x="121" y="33"/>
                  </a:lnTo>
                  <a:lnTo>
                    <a:pt x="121" y="35"/>
                  </a:lnTo>
                  <a:lnTo>
                    <a:pt x="121" y="35"/>
                  </a:lnTo>
                  <a:lnTo>
                    <a:pt x="121" y="35"/>
                  </a:lnTo>
                  <a:lnTo>
                    <a:pt x="119" y="37"/>
                  </a:lnTo>
                  <a:lnTo>
                    <a:pt x="119" y="37"/>
                  </a:lnTo>
                  <a:lnTo>
                    <a:pt x="119" y="37"/>
                  </a:lnTo>
                  <a:lnTo>
                    <a:pt x="119" y="40"/>
                  </a:lnTo>
                  <a:lnTo>
                    <a:pt x="119" y="40"/>
                  </a:lnTo>
                  <a:lnTo>
                    <a:pt x="119" y="42"/>
                  </a:lnTo>
                  <a:lnTo>
                    <a:pt x="121" y="42"/>
                  </a:lnTo>
                  <a:lnTo>
                    <a:pt x="121" y="44"/>
                  </a:lnTo>
                  <a:lnTo>
                    <a:pt x="119" y="44"/>
                  </a:lnTo>
                  <a:lnTo>
                    <a:pt x="119" y="44"/>
                  </a:lnTo>
                  <a:lnTo>
                    <a:pt x="119" y="44"/>
                  </a:lnTo>
                  <a:lnTo>
                    <a:pt x="119" y="44"/>
                  </a:lnTo>
                  <a:lnTo>
                    <a:pt x="116" y="44"/>
                  </a:lnTo>
                  <a:lnTo>
                    <a:pt x="116" y="47"/>
                  </a:lnTo>
                  <a:lnTo>
                    <a:pt x="116" y="47"/>
                  </a:lnTo>
                  <a:lnTo>
                    <a:pt x="116" y="47"/>
                  </a:lnTo>
                  <a:lnTo>
                    <a:pt x="116" y="47"/>
                  </a:lnTo>
                  <a:lnTo>
                    <a:pt x="116" y="49"/>
                  </a:lnTo>
                  <a:lnTo>
                    <a:pt x="114" y="49"/>
                  </a:lnTo>
                  <a:lnTo>
                    <a:pt x="114" y="49"/>
                  </a:lnTo>
                  <a:lnTo>
                    <a:pt x="114" y="49"/>
                  </a:lnTo>
                  <a:lnTo>
                    <a:pt x="114" y="49"/>
                  </a:lnTo>
                  <a:lnTo>
                    <a:pt x="114" y="49"/>
                  </a:lnTo>
                  <a:lnTo>
                    <a:pt x="116" y="51"/>
                  </a:lnTo>
                  <a:lnTo>
                    <a:pt x="116" y="51"/>
                  </a:lnTo>
                  <a:lnTo>
                    <a:pt x="114" y="54"/>
                  </a:lnTo>
                  <a:lnTo>
                    <a:pt x="114" y="54"/>
                  </a:lnTo>
                  <a:lnTo>
                    <a:pt x="112" y="56"/>
                  </a:lnTo>
                  <a:lnTo>
                    <a:pt x="109" y="56"/>
                  </a:lnTo>
                  <a:lnTo>
                    <a:pt x="112" y="56"/>
                  </a:lnTo>
                  <a:lnTo>
                    <a:pt x="112" y="56"/>
                  </a:lnTo>
                  <a:lnTo>
                    <a:pt x="112" y="58"/>
                  </a:lnTo>
                  <a:lnTo>
                    <a:pt x="112" y="58"/>
                  </a:lnTo>
                  <a:lnTo>
                    <a:pt x="109" y="58"/>
                  </a:lnTo>
                  <a:lnTo>
                    <a:pt x="109" y="58"/>
                  </a:lnTo>
                  <a:lnTo>
                    <a:pt x="109" y="58"/>
                  </a:lnTo>
                  <a:lnTo>
                    <a:pt x="109" y="58"/>
                  </a:lnTo>
                  <a:lnTo>
                    <a:pt x="109" y="58"/>
                  </a:lnTo>
                  <a:lnTo>
                    <a:pt x="107" y="58"/>
                  </a:lnTo>
                  <a:lnTo>
                    <a:pt x="107" y="61"/>
                  </a:lnTo>
                  <a:lnTo>
                    <a:pt x="107" y="61"/>
                  </a:lnTo>
                  <a:lnTo>
                    <a:pt x="109" y="63"/>
                  </a:lnTo>
                  <a:lnTo>
                    <a:pt x="107" y="65"/>
                  </a:lnTo>
                  <a:lnTo>
                    <a:pt x="109" y="68"/>
                  </a:lnTo>
                  <a:lnTo>
                    <a:pt x="107" y="68"/>
                  </a:lnTo>
                  <a:lnTo>
                    <a:pt x="107" y="70"/>
                  </a:lnTo>
                  <a:lnTo>
                    <a:pt x="107" y="70"/>
                  </a:lnTo>
                  <a:lnTo>
                    <a:pt x="105" y="70"/>
                  </a:lnTo>
                  <a:lnTo>
                    <a:pt x="105" y="70"/>
                  </a:lnTo>
                  <a:lnTo>
                    <a:pt x="105" y="70"/>
                  </a:lnTo>
                  <a:lnTo>
                    <a:pt x="105" y="70"/>
                  </a:lnTo>
                  <a:lnTo>
                    <a:pt x="105" y="70"/>
                  </a:lnTo>
                  <a:lnTo>
                    <a:pt x="105" y="70"/>
                  </a:lnTo>
                  <a:lnTo>
                    <a:pt x="105" y="70"/>
                  </a:lnTo>
                  <a:lnTo>
                    <a:pt x="105" y="70"/>
                  </a:lnTo>
                  <a:lnTo>
                    <a:pt x="105" y="72"/>
                  </a:lnTo>
                  <a:lnTo>
                    <a:pt x="105" y="72"/>
                  </a:lnTo>
                  <a:lnTo>
                    <a:pt x="105" y="72"/>
                  </a:lnTo>
                  <a:lnTo>
                    <a:pt x="105" y="72"/>
                  </a:lnTo>
                  <a:lnTo>
                    <a:pt x="105" y="72"/>
                  </a:lnTo>
                  <a:lnTo>
                    <a:pt x="102" y="72"/>
                  </a:lnTo>
                  <a:lnTo>
                    <a:pt x="102" y="72"/>
                  </a:lnTo>
                  <a:lnTo>
                    <a:pt x="102" y="72"/>
                  </a:lnTo>
                  <a:lnTo>
                    <a:pt x="102" y="72"/>
                  </a:lnTo>
                  <a:lnTo>
                    <a:pt x="102" y="72"/>
                  </a:lnTo>
                  <a:lnTo>
                    <a:pt x="102" y="72"/>
                  </a:lnTo>
                  <a:lnTo>
                    <a:pt x="102" y="75"/>
                  </a:lnTo>
                  <a:lnTo>
                    <a:pt x="100" y="77"/>
                  </a:lnTo>
                  <a:lnTo>
                    <a:pt x="100" y="77"/>
                  </a:lnTo>
                  <a:lnTo>
                    <a:pt x="100" y="77"/>
                  </a:lnTo>
                  <a:lnTo>
                    <a:pt x="100" y="77"/>
                  </a:lnTo>
                  <a:lnTo>
                    <a:pt x="100" y="79"/>
                  </a:lnTo>
                  <a:lnTo>
                    <a:pt x="100" y="79"/>
                  </a:lnTo>
                  <a:lnTo>
                    <a:pt x="100" y="79"/>
                  </a:lnTo>
                  <a:lnTo>
                    <a:pt x="100" y="82"/>
                  </a:lnTo>
                  <a:lnTo>
                    <a:pt x="100" y="82"/>
                  </a:lnTo>
                  <a:lnTo>
                    <a:pt x="100" y="82"/>
                  </a:lnTo>
                  <a:lnTo>
                    <a:pt x="100" y="82"/>
                  </a:lnTo>
                  <a:lnTo>
                    <a:pt x="98" y="82"/>
                  </a:lnTo>
                  <a:lnTo>
                    <a:pt x="98" y="82"/>
                  </a:lnTo>
                  <a:lnTo>
                    <a:pt x="98" y="82"/>
                  </a:lnTo>
                  <a:lnTo>
                    <a:pt x="95" y="82"/>
                  </a:lnTo>
                  <a:lnTo>
                    <a:pt x="95" y="84"/>
                  </a:lnTo>
                  <a:lnTo>
                    <a:pt x="95" y="84"/>
                  </a:lnTo>
                  <a:lnTo>
                    <a:pt x="95" y="84"/>
                  </a:lnTo>
                  <a:lnTo>
                    <a:pt x="95" y="84"/>
                  </a:lnTo>
                  <a:lnTo>
                    <a:pt x="98" y="84"/>
                  </a:lnTo>
                  <a:lnTo>
                    <a:pt x="98" y="84"/>
                  </a:lnTo>
                  <a:lnTo>
                    <a:pt x="98" y="86"/>
                  </a:lnTo>
                  <a:lnTo>
                    <a:pt x="95" y="86"/>
                  </a:lnTo>
                  <a:lnTo>
                    <a:pt x="98" y="86"/>
                  </a:lnTo>
                  <a:lnTo>
                    <a:pt x="98" y="89"/>
                  </a:lnTo>
                  <a:lnTo>
                    <a:pt x="98" y="89"/>
                  </a:lnTo>
                  <a:lnTo>
                    <a:pt x="98" y="89"/>
                  </a:lnTo>
                  <a:lnTo>
                    <a:pt x="98" y="89"/>
                  </a:lnTo>
                  <a:lnTo>
                    <a:pt x="95" y="89"/>
                  </a:lnTo>
                  <a:lnTo>
                    <a:pt x="95" y="89"/>
                  </a:lnTo>
                  <a:lnTo>
                    <a:pt x="95" y="89"/>
                  </a:lnTo>
                  <a:lnTo>
                    <a:pt x="95" y="91"/>
                  </a:lnTo>
                  <a:lnTo>
                    <a:pt x="95" y="91"/>
                  </a:lnTo>
                  <a:lnTo>
                    <a:pt x="95" y="91"/>
                  </a:lnTo>
                  <a:lnTo>
                    <a:pt x="93" y="91"/>
                  </a:lnTo>
                  <a:lnTo>
                    <a:pt x="93" y="93"/>
                  </a:lnTo>
                  <a:lnTo>
                    <a:pt x="93" y="93"/>
                  </a:lnTo>
                  <a:lnTo>
                    <a:pt x="93" y="93"/>
                  </a:lnTo>
                  <a:lnTo>
                    <a:pt x="93" y="93"/>
                  </a:lnTo>
                  <a:lnTo>
                    <a:pt x="95" y="93"/>
                  </a:lnTo>
                  <a:lnTo>
                    <a:pt x="95" y="93"/>
                  </a:lnTo>
                  <a:lnTo>
                    <a:pt x="95" y="96"/>
                  </a:lnTo>
                  <a:lnTo>
                    <a:pt x="95" y="96"/>
                  </a:lnTo>
                  <a:lnTo>
                    <a:pt x="93" y="96"/>
                  </a:lnTo>
                  <a:lnTo>
                    <a:pt x="93" y="96"/>
                  </a:lnTo>
                  <a:lnTo>
                    <a:pt x="93" y="96"/>
                  </a:lnTo>
                  <a:lnTo>
                    <a:pt x="93" y="96"/>
                  </a:lnTo>
                  <a:lnTo>
                    <a:pt x="93" y="98"/>
                  </a:lnTo>
                  <a:lnTo>
                    <a:pt x="93" y="98"/>
                  </a:lnTo>
                  <a:lnTo>
                    <a:pt x="93" y="98"/>
                  </a:lnTo>
                  <a:lnTo>
                    <a:pt x="93" y="98"/>
                  </a:lnTo>
                  <a:lnTo>
                    <a:pt x="95" y="98"/>
                  </a:lnTo>
                  <a:lnTo>
                    <a:pt x="95" y="100"/>
                  </a:lnTo>
                  <a:lnTo>
                    <a:pt x="95" y="100"/>
                  </a:lnTo>
                  <a:lnTo>
                    <a:pt x="95" y="100"/>
                  </a:lnTo>
                  <a:lnTo>
                    <a:pt x="95" y="103"/>
                  </a:lnTo>
                  <a:lnTo>
                    <a:pt x="95" y="103"/>
                  </a:lnTo>
                  <a:lnTo>
                    <a:pt x="95" y="105"/>
                  </a:lnTo>
                  <a:lnTo>
                    <a:pt x="95" y="105"/>
                  </a:lnTo>
                  <a:lnTo>
                    <a:pt x="95" y="105"/>
                  </a:lnTo>
                  <a:lnTo>
                    <a:pt x="95" y="105"/>
                  </a:lnTo>
                  <a:lnTo>
                    <a:pt x="95" y="105"/>
                  </a:lnTo>
                  <a:lnTo>
                    <a:pt x="95" y="105"/>
                  </a:lnTo>
                  <a:lnTo>
                    <a:pt x="95" y="105"/>
                  </a:lnTo>
                  <a:lnTo>
                    <a:pt x="98" y="107"/>
                  </a:lnTo>
                  <a:lnTo>
                    <a:pt x="98" y="110"/>
                  </a:lnTo>
                  <a:lnTo>
                    <a:pt x="98" y="110"/>
                  </a:lnTo>
                  <a:lnTo>
                    <a:pt x="98" y="110"/>
                  </a:lnTo>
                  <a:lnTo>
                    <a:pt x="98" y="110"/>
                  </a:lnTo>
                  <a:lnTo>
                    <a:pt x="95" y="110"/>
                  </a:lnTo>
                  <a:lnTo>
                    <a:pt x="95" y="110"/>
                  </a:lnTo>
                  <a:lnTo>
                    <a:pt x="95" y="112"/>
                  </a:lnTo>
                  <a:lnTo>
                    <a:pt x="95" y="114"/>
                  </a:lnTo>
                  <a:lnTo>
                    <a:pt x="95" y="114"/>
                  </a:lnTo>
                  <a:lnTo>
                    <a:pt x="91" y="114"/>
                  </a:lnTo>
                  <a:lnTo>
                    <a:pt x="86" y="114"/>
                  </a:lnTo>
                  <a:lnTo>
                    <a:pt x="81" y="114"/>
                  </a:lnTo>
                  <a:lnTo>
                    <a:pt x="77" y="114"/>
                  </a:lnTo>
                  <a:lnTo>
                    <a:pt x="70" y="116"/>
                  </a:lnTo>
                  <a:lnTo>
                    <a:pt x="65" y="116"/>
                  </a:lnTo>
                  <a:lnTo>
                    <a:pt x="60" y="116"/>
                  </a:lnTo>
                  <a:lnTo>
                    <a:pt x="56" y="116"/>
                  </a:lnTo>
                  <a:lnTo>
                    <a:pt x="51" y="116"/>
                  </a:lnTo>
                  <a:lnTo>
                    <a:pt x="46" y="116"/>
                  </a:lnTo>
                  <a:lnTo>
                    <a:pt x="42" y="116"/>
                  </a:lnTo>
                  <a:lnTo>
                    <a:pt x="37" y="116"/>
                  </a:lnTo>
                  <a:lnTo>
                    <a:pt x="33" y="116"/>
                  </a:lnTo>
                  <a:lnTo>
                    <a:pt x="28" y="116"/>
                  </a:lnTo>
                  <a:lnTo>
                    <a:pt x="23" y="116"/>
                  </a:lnTo>
                  <a:lnTo>
                    <a:pt x="19" y="116"/>
                  </a:lnTo>
                  <a:lnTo>
                    <a:pt x="19" y="114"/>
                  </a:lnTo>
                  <a:lnTo>
                    <a:pt x="16" y="110"/>
                  </a:lnTo>
                  <a:lnTo>
                    <a:pt x="16" y="105"/>
                  </a:lnTo>
                  <a:lnTo>
                    <a:pt x="16" y="103"/>
                  </a:lnTo>
                  <a:lnTo>
                    <a:pt x="16" y="100"/>
                  </a:lnTo>
                  <a:lnTo>
                    <a:pt x="16" y="100"/>
                  </a:lnTo>
                  <a:lnTo>
                    <a:pt x="16" y="100"/>
                  </a:lnTo>
                  <a:lnTo>
                    <a:pt x="16" y="100"/>
                  </a:lnTo>
                  <a:lnTo>
                    <a:pt x="16" y="100"/>
                  </a:lnTo>
                  <a:lnTo>
                    <a:pt x="16" y="100"/>
                  </a:lnTo>
                  <a:lnTo>
                    <a:pt x="14" y="100"/>
                  </a:lnTo>
                  <a:lnTo>
                    <a:pt x="14" y="100"/>
                  </a:lnTo>
                  <a:lnTo>
                    <a:pt x="14" y="98"/>
                  </a:lnTo>
                  <a:lnTo>
                    <a:pt x="12" y="98"/>
                  </a:lnTo>
                  <a:lnTo>
                    <a:pt x="12" y="100"/>
                  </a:lnTo>
                  <a:lnTo>
                    <a:pt x="12" y="100"/>
                  </a:lnTo>
                  <a:lnTo>
                    <a:pt x="12" y="98"/>
                  </a:lnTo>
                  <a:lnTo>
                    <a:pt x="9" y="98"/>
                  </a:lnTo>
                  <a:lnTo>
                    <a:pt x="9" y="100"/>
                  </a:lnTo>
                  <a:lnTo>
                    <a:pt x="9" y="100"/>
                  </a:lnTo>
                  <a:lnTo>
                    <a:pt x="9" y="100"/>
                  </a:lnTo>
                  <a:lnTo>
                    <a:pt x="9" y="100"/>
                  </a:lnTo>
                  <a:lnTo>
                    <a:pt x="9" y="100"/>
                  </a:lnTo>
                  <a:lnTo>
                    <a:pt x="7" y="100"/>
                  </a:lnTo>
                  <a:lnTo>
                    <a:pt x="7" y="100"/>
                  </a:lnTo>
                  <a:lnTo>
                    <a:pt x="7" y="100"/>
                  </a:lnTo>
                  <a:lnTo>
                    <a:pt x="7" y="98"/>
                  </a:lnTo>
                  <a:lnTo>
                    <a:pt x="7" y="100"/>
                  </a:lnTo>
                  <a:lnTo>
                    <a:pt x="7" y="98"/>
                  </a:lnTo>
                  <a:lnTo>
                    <a:pt x="7" y="98"/>
                  </a:lnTo>
                  <a:lnTo>
                    <a:pt x="7" y="98"/>
                  </a:lnTo>
                  <a:lnTo>
                    <a:pt x="5" y="98"/>
                  </a:lnTo>
                  <a:lnTo>
                    <a:pt x="5" y="98"/>
                  </a:lnTo>
                  <a:lnTo>
                    <a:pt x="5" y="91"/>
                  </a:lnTo>
                  <a:lnTo>
                    <a:pt x="5" y="84"/>
                  </a:lnTo>
                  <a:lnTo>
                    <a:pt x="5" y="77"/>
                  </a:lnTo>
                  <a:lnTo>
                    <a:pt x="5" y="70"/>
                  </a:lnTo>
                  <a:lnTo>
                    <a:pt x="5" y="63"/>
                  </a:lnTo>
                  <a:lnTo>
                    <a:pt x="5" y="56"/>
                  </a:lnTo>
                  <a:lnTo>
                    <a:pt x="5" y="49"/>
                  </a:lnTo>
                  <a:lnTo>
                    <a:pt x="5" y="42"/>
                  </a:lnTo>
                  <a:lnTo>
                    <a:pt x="5" y="37"/>
                  </a:lnTo>
                  <a:lnTo>
                    <a:pt x="5" y="33"/>
                  </a:lnTo>
                  <a:lnTo>
                    <a:pt x="5" y="28"/>
                  </a:lnTo>
                  <a:lnTo>
                    <a:pt x="2" y="23"/>
                  </a:lnTo>
                  <a:lnTo>
                    <a:pt x="2" y="19"/>
                  </a:lnTo>
                  <a:lnTo>
                    <a:pt x="2" y="14"/>
                  </a:lnTo>
                  <a:lnTo>
                    <a:pt x="0" y="9"/>
                  </a:lnTo>
                  <a:lnTo>
                    <a:pt x="0" y="7"/>
                  </a:lnTo>
                  <a:lnTo>
                    <a:pt x="7" y="5"/>
                  </a:lnTo>
                  <a:lnTo>
                    <a:pt x="14" y="5"/>
                  </a:lnTo>
                  <a:lnTo>
                    <a:pt x="21" y="5"/>
                  </a:lnTo>
                  <a:lnTo>
                    <a:pt x="28" y="5"/>
                  </a:lnTo>
                  <a:lnTo>
                    <a:pt x="35" y="5"/>
                  </a:lnTo>
                  <a:lnTo>
                    <a:pt x="42" y="5"/>
                  </a:lnTo>
                  <a:lnTo>
                    <a:pt x="49" y="5"/>
                  </a:lnTo>
                  <a:lnTo>
                    <a:pt x="56" y="5"/>
                  </a:lnTo>
                  <a:lnTo>
                    <a:pt x="63" y="5"/>
                  </a:lnTo>
                  <a:lnTo>
                    <a:pt x="70" y="5"/>
                  </a:lnTo>
                  <a:lnTo>
                    <a:pt x="79" y="2"/>
                  </a:lnTo>
                  <a:lnTo>
                    <a:pt x="79" y="2"/>
                  </a:lnTo>
                  <a:lnTo>
                    <a:pt x="86" y="2"/>
                  </a:lnTo>
                  <a:lnTo>
                    <a:pt x="93" y="2"/>
                  </a:lnTo>
                  <a:lnTo>
                    <a:pt x="100" y="2"/>
                  </a:lnTo>
                  <a:lnTo>
                    <a:pt x="107" y="2"/>
                  </a:lnTo>
                  <a:lnTo>
                    <a:pt x="114" y="2"/>
                  </a:lnTo>
                  <a:lnTo>
                    <a:pt x="114" y="0"/>
                  </a:lnTo>
                  <a:lnTo>
                    <a:pt x="114" y="2"/>
                  </a:lnTo>
                  <a:lnTo>
                    <a:pt x="114" y="2"/>
                  </a:lnTo>
                  <a:lnTo>
                    <a:pt x="116" y="2"/>
                  </a:lnTo>
                  <a:lnTo>
                    <a:pt x="116" y="2"/>
                  </a:lnTo>
                  <a:lnTo>
                    <a:pt x="116" y="2"/>
                  </a:lnTo>
                  <a:lnTo>
                    <a:pt x="116" y="2"/>
                  </a:lnTo>
                  <a:lnTo>
                    <a:pt x="116" y="2"/>
                  </a:lnTo>
                  <a:lnTo>
                    <a:pt x="116" y="2"/>
                  </a:lnTo>
                  <a:lnTo>
                    <a:pt x="116" y="2"/>
                  </a:lnTo>
                  <a:lnTo>
                    <a:pt x="116" y="2"/>
                  </a:lnTo>
                  <a:lnTo>
                    <a:pt x="116" y="2"/>
                  </a:lnTo>
                  <a:lnTo>
                    <a:pt x="116" y="2"/>
                  </a:lnTo>
                  <a:lnTo>
                    <a:pt x="116" y="5"/>
                  </a:lnTo>
                  <a:lnTo>
                    <a:pt x="116" y="5"/>
                  </a:lnTo>
                  <a:lnTo>
                    <a:pt x="116" y="5"/>
                  </a:lnTo>
                  <a:lnTo>
                    <a:pt x="116" y="5"/>
                  </a:lnTo>
                  <a:lnTo>
                    <a:pt x="116" y="5"/>
                  </a:lnTo>
                  <a:lnTo>
                    <a:pt x="119" y="5"/>
                  </a:lnTo>
                  <a:lnTo>
                    <a:pt x="119" y="5"/>
                  </a:lnTo>
                  <a:lnTo>
                    <a:pt x="119" y="5"/>
                  </a:lnTo>
                  <a:lnTo>
                    <a:pt x="119" y="5"/>
                  </a:lnTo>
                  <a:lnTo>
                    <a:pt x="119" y="5"/>
                  </a:lnTo>
                  <a:lnTo>
                    <a:pt x="119" y="5"/>
                  </a:lnTo>
                  <a:lnTo>
                    <a:pt x="119" y="5"/>
                  </a:lnTo>
                  <a:lnTo>
                    <a:pt x="119" y="7"/>
                  </a:lnTo>
                  <a:lnTo>
                    <a:pt x="119" y="7"/>
                  </a:lnTo>
                  <a:lnTo>
                    <a:pt x="119" y="7"/>
                  </a:lnTo>
                  <a:lnTo>
                    <a:pt x="119" y="7"/>
                  </a:lnTo>
                  <a:lnTo>
                    <a:pt x="119" y="7"/>
                  </a:lnTo>
                  <a:lnTo>
                    <a:pt x="119" y="7"/>
                  </a:lnTo>
                  <a:lnTo>
                    <a:pt x="119" y="7"/>
                  </a:lnTo>
                  <a:lnTo>
                    <a:pt x="119" y="7"/>
                  </a:lnTo>
                  <a:lnTo>
                    <a:pt x="119" y="9"/>
                  </a:lnTo>
                  <a:lnTo>
                    <a:pt x="119" y="9"/>
                  </a:lnTo>
                  <a:lnTo>
                    <a:pt x="116" y="9"/>
                  </a:lnTo>
                  <a:lnTo>
                    <a:pt x="116" y="9"/>
                  </a:lnTo>
                  <a:lnTo>
                    <a:pt x="116" y="9"/>
                  </a:lnTo>
                  <a:lnTo>
                    <a:pt x="116" y="9"/>
                  </a:lnTo>
                  <a:lnTo>
                    <a:pt x="116" y="9"/>
                  </a:lnTo>
                  <a:lnTo>
                    <a:pt x="116" y="9"/>
                  </a:lnTo>
                  <a:lnTo>
                    <a:pt x="116" y="9"/>
                  </a:lnTo>
                  <a:lnTo>
                    <a:pt x="116" y="9"/>
                  </a:lnTo>
                  <a:lnTo>
                    <a:pt x="116" y="9"/>
                  </a:lnTo>
                  <a:lnTo>
                    <a:pt x="116" y="9"/>
                  </a:lnTo>
                  <a:lnTo>
                    <a:pt x="116" y="12"/>
                  </a:lnTo>
                  <a:lnTo>
                    <a:pt x="114" y="12"/>
                  </a:lnTo>
                  <a:lnTo>
                    <a:pt x="114" y="12"/>
                  </a:lnTo>
                  <a:lnTo>
                    <a:pt x="114" y="12"/>
                  </a:lnTo>
                  <a:lnTo>
                    <a:pt x="114" y="12"/>
                  </a:lnTo>
                  <a:lnTo>
                    <a:pt x="114" y="12"/>
                  </a:lnTo>
                  <a:lnTo>
                    <a:pt x="114" y="12"/>
                  </a:lnTo>
                  <a:lnTo>
                    <a:pt x="114" y="12"/>
                  </a:lnTo>
                  <a:lnTo>
                    <a:pt x="114" y="12"/>
                  </a:lnTo>
                  <a:lnTo>
                    <a:pt x="114" y="12"/>
                  </a:lnTo>
                  <a:lnTo>
                    <a:pt x="114" y="12"/>
                  </a:lnTo>
                  <a:lnTo>
                    <a:pt x="114" y="12"/>
                  </a:lnTo>
                  <a:lnTo>
                    <a:pt x="114" y="14"/>
                  </a:lnTo>
                  <a:lnTo>
                    <a:pt x="114" y="14"/>
                  </a:lnTo>
                  <a:lnTo>
                    <a:pt x="114" y="14"/>
                  </a:lnTo>
                  <a:lnTo>
                    <a:pt x="114" y="14"/>
                  </a:lnTo>
                  <a:lnTo>
                    <a:pt x="114" y="14"/>
                  </a:lnTo>
                  <a:lnTo>
                    <a:pt x="112" y="14"/>
                  </a:lnTo>
                  <a:lnTo>
                    <a:pt x="112" y="14"/>
                  </a:lnTo>
                  <a:lnTo>
                    <a:pt x="112" y="14"/>
                  </a:lnTo>
                  <a:lnTo>
                    <a:pt x="112" y="14"/>
                  </a:lnTo>
                  <a:lnTo>
                    <a:pt x="112" y="14"/>
                  </a:lnTo>
                  <a:lnTo>
                    <a:pt x="112" y="14"/>
                  </a:lnTo>
                  <a:lnTo>
                    <a:pt x="112" y="14"/>
                  </a:lnTo>
                  <a:lnTo>
                    <a:pt x="112" y="16"/>
                  </a:lnTo>
                  <a:lnTo>
                    <a:pt x="109" y="16"/>
                  </a:lnTo>
                  <a:lnTo>
                    <a:pt x="109" y="19"/>
                  </a:lnTo>
                  <a:lnTo>
                    <a:pt x="109" y="19"/>
                  </a:lnTo>
                  <a:lnTo>
                    <a:pt x="109" y="19"/>
                  </a:lnTo>
                  <a:lnTo>
                    <a:pt x="112" y="19"/>
                  </a:lnTo>
                  <a:lnTo>
                    <a:pt x="112" y="19"/>
                  </a:lnTo>
                  <a:lnTo>
                    <a:pt x="116" y="16"/>
                  </a:lnTo>
                  <a:lnTo>
                    <a:pt x="121" y="16"/>
                  </a:lnTo>
                  <a:lnTo>
                    <a:pt x="123" y="16"/>
                  </a:lnTo>
                  <a:lnTo>
                    <a:pt x="128" y="16"/>
                  </a:lnTo>
                  <a:lnTo>
                    <a:pt x="128" y="16"/>
                  </a:lnTo>
                  <a:lnTo>
                    <a:pt x="128" y="16"/>
                  </a:lnTo>
                  <a:lnTo>
                    <a:pt x="128" y="16"/>
                  </a:lnTo>
                  <a:lnTo>
                    <a:pt x="128" y="16"/>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784">
              <a:extLst>
                <a:ext uri="{FF2B5EF4-FFF2-40B4-BE49-F238E27FC236}">
                  <a16:creationId xmlns:a16="http://schemas.microsoft.com/office/drawing/2014/main" id="{40EA89D3-D526-4A5D-9239-B4A0B8E317B1}"/>
                </a:ext>
              </a:extLst>
            </p:cNvPr>
            <p:cNvSpPr>
              <a:spLocks/>
            </p:cNvSpPr>
            <p:nvPr/>
          </p:nvSpPr>
          <p:spPr bwMode="auto">
            <a:xfrm>
              <a:off x="6538119" y="4508501"/>
              <a:ext cx="247650" cy="158750"/>
            </a:xfrm>
            <a:custGeom>
              <a:avLst/>
              <a:gdLst>
                <a:gd name="T0" fmla="*/ 144 w 156"/>
                <a:gd name="T1" fmla="*/ 35 h 100"/>
                <a:gd name="T2" fmla="*/ 149 w 156"/>
                <a:gd name="T3" fmla="*/ 37 h 100"/>
                <a:gd name="T4" fmla="*/ 151 w 156"/>
                <a:gd name="T5" fmla="*/ 42 h 100"/>
                <a:gd name="T6" fmla="*/ 156 w 156"/>
                <a:gd name="T7" fmla="*/ 46 h 100"/>
                <a:gd name="T8" fmla="*/ 153 w 156"/>
                <a:gd name="T9" fmla="*/ 51 h 100"/>
                <a:gd name="T10" fmla="*/ 151 w 156"/>
                <a:gd name="T11" fmla="*/ 56 h 100"/>
                <a:gd name="T12" fmla="*/ 149 w 156"/>
                <a:gd name="T13" fmla="*/ 60 h 100"/>
                <a:gd name="T14" fmla="*/ 144 w 156"/>
                <a:gd name="T15" fmla="*/ 63 h 100"/>
                <a:gd name="T16" fmla="*/ 135 w 156"/>
                <a:gd name="T17" fmla="*/ 67 h 100"/>
                <a:gd name="T18" fmla="*/ 132 w 156"/>
                <a:gd name="T19" fmla="*/ 72 h 100"/>
                <a:gd name="T20" fmla="*/ 137 w 156"/>
                <a:gd name="T21" fmla="*/ 77 h 100"/>
                <a:gd name="T22" fmla="*/ 135 w 156"/>
                <a:gd name="T23" fmla="*/ 84 h 100"/>
                <a:gd name="T24" fmla="*/ 135 w 156"/>
                <a:gd name="T25" fmla="*/ 91 h 100"/>
                <a:gd name="T26" fmla="*/ 130 w 156"/>
                <a:gd name="T27" fmla="*/ 93 h 100"/>
                <a:gd name="T28" fmla="*/ 128 w 156"/>
                <a:gd name="T29" fmla="*/ 98 h 100"/>
                <a:gd name="T30" fmla="*/ 123 w 156"/>
                <a:gd name="T31" fmla="*/ 98 h 100"/>
                <a:gd name="T32" fmla="*/ 118 w 156"/>
                <a:gd name="T33" fmla="*/ 93 h 100"/>
                <a:gd name="T34" fmla="*/ 111 w 156"/>
                <a:gd name="T35" fmla="*/ 93 h 100"/>
                <a:gd name="T36" fmla="*/ 104 w 156"/>
                <a:gd name="T37" fmla="*/ 95 h 100"/>
                <a:gd name="T38" fmla="*/ 95 w 156"/>
                <a:gd name="T39" fmla="*/ 95 h 100"/>
                <a:gd name="T40" fmla="*/ 84 w 156"/>
                <a:gd name="T41" fmla="*/ 95 h 100"/>
                <a:gd name="T42" fmla="*/ 74 w 156"/>
                <a:gd name="T43" fmla="*/ 95 h 100"/>
                <a:gd name="T44" fmla="*/ 67 w 156"/>
                <a:gd name="T45" fmla="*/ 98 h 100"/>
                <a:gd name="T46" fmla="*/ 58 w 156"/>
                <a:gd name="T47" fmla="*/ 98 h 100"/>
                <a:gd name="T48" fmla="*/ 51 w 156"/>
                <a:gd name="T49" fmla="*/ 98 h 100"/>
                <a:gd name="T50" fmla="*/ 42 w 156"/>
                <a:gd name="T51" fmla="*/ 98 h 100"/>
                <a:gd name="T52" fmla="*/ 35 w 156"/>
                <a:gd name="T53" fmla="*/ 98 h 100"/>
                <a:gd name="T54" fmla="*/ 25 w 156"/>
                <a:gd name="T55" fmla="*/ 98 h 100"/>
                <a:gd name="T56" fmla="*/ 21 w 156"/>
                <a:gd name="T57" fmla="*/ 93 h 100"/>
                <a:gd name="T58" fmla="*/ 21 w 156"/>
                <a:gd name="T59" fmla="*/ 91 h 100"/>
                <a:gd name="T60" fmla="*/ 21 w 156"/>
                <a:gd name="T61" fmla="*/ 88 h 100"/>
                <a:gd name="T62" fmla="*/ 21 w 156"/>
                <a:gd name="T63" fmla="*/ 84 h 100"/>
                <a:gd name="T64" fmla="*/ 18 w 156"/>
                <a:gd name="T65" fmla="*/ 79 h 100"/>
                <a:gd name="T66" fmla="*/ 16 w 156"/>
                <a:gd name="T67" fmla="*/ 72 h 100"/>
                <a:gd name="T68" fmla="*/ 16 w 156"/>
                <a:gd name="T69" fmla="*/ 70 h 100"/>
                <a:gd name="T70" fmla="*/ 14 w 156"/>
                <a:gd name="T71" fmla="*/ 67 h 100"/>
                <a:gd name="T72" fmla="*/ 14 w 156"/>
                <a:gd name="T73" fmla="*/ 60 h 100"/>
                <a:gd name="T74" fmla="*/ 11 w 156"/>
                <a:gd name="T75" fmla="*/ 53 h 100"/>
                <a:gd name="T76" fmla="*/ 9 w 156"/>
                <a:gd name="T77" fmla="*/ 49 h 100"/>
                <a:gd name="T78" fmla="*/ 7 w 156"/>
                <a:gd name="T79" fmla="*/ 44 h 100"/>
                <a:gd name="T80" fmla="*/ 7 w 156"/>
                <a:gd name="T81" fmla="*/ 37 h 100"/>
                <a:gd name="T82" fmla="*/ 4 w 156"/>
                <a:gd name="T83" fmla="*/ 33 h 100"/>
                <a:gd name="T84" fmla="*/ 4 w 156"/>
                <a:gd name="T85" fmla="*/ 30 h 100"/>
                <a:gd name="T86" fmla="*/ 0 w 156"/>
                <a:gd name="T87" fmla="*/ 28 h 100"/>
                <a:gd name="T88" fmla="*/ 4 w 156"/>
                <a:gd name="T89" fmla="*/ 21 h 100"/>
                <a:gd name="T90" fmla="*/ 4 w 156"/>
                <a:gd name="T91" fmla="*/ 14 h 100"/>
                <a:gd name="T92" fmla="*/ 2 w 156"/>
                <a:gd name="T93" fmla="*/ 9 h 100"/>
                <a:gd name="T94" fmla="*/ 4 w 156"/>
                <a:gd name="T95" fmla="*/ 5 h 100"/>
                <a:gd name="T96" fmla="*/ 28 w 156"/>
                <a:gd name="T97" fmla="*/ 5 h 100"/>
                <a:gd name="T98" fmla="*/ 51 w 156"/>
                <a:gd name="T99" fmla="*/ 5 h 100"/>
                <a:gd name="T100" fmla="*/ 74 w 156"/>
                <a:gd name="T101" fmla="*/ 2 h 100"/>
                <a:gd name="T102" fmla="*/ 88 w 156"/>
                <a:gd name="T103" fmla="*/ 2 h 100"/>
                <a:gd name="T104" fmla="*/ 111 w 156"/>
                <a:gd name="T105" fmla="*/ 2 h 100"/>
                <a:gd name="T106" fmla="*/ 125 w 156"/>
                <a:gd name="T107" fmla="*/ 2 h 100"/>
                <a:gd name="T108" fmla="*/ 130 w 156"/>
                <a:gd name="T109" fmla="*/ 9 h 100"/>
                <a:gd name="T110" fmla="*/ 130 w 156"/>
                <a:gd name="T111" fmla="*/ 16 h 100"/>
                <a:gd name="T112" fmla="*/ 130 w 156"/>
                <a:gd name="T113" fmla="*/ 23 h 100"/>
                <a:gd name="T114" fmla="*/ 137 w 156"/>
                <a:gd name="T115" fmla="*/ 26 h 100"/>
                <a:gd name="T116" fmla="*/ 142 w 156"/>
                <a:gd name="T117" fmla="*/ 3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100">
                  <a:moveTo>
                    <a:pt x="142" y="33"/>
                  </a:moveTo>
                  <a:lnTo>
                    <a:pt x="144" y="33"/>
                  </a:lnTo>
                  <a:lnTo>
                    <a:pt x="144" y="35"/>
                  </a:lnTo>
                  <a:lnTo>
                    <a:pt x="146" y="35"/>
                  </a:lnTo>
                  <a:lnTo>
                    <a:pt x="146" y="37"/>
                  </a:lnTo>
                  <a:lnTo>
                    <a:pt x="149" y="37"/>
                  </a:lnTo>
                  <a:lnTo>
                    <a:pt x="149" y="40"/>
                  </a:lnTo>
                  <a:lnTo>
                    <a:pt x="149" y="42"/>
                  </a:lnTo>
                  <a:lnTo>
                    <a:pt x="151" y="42"/>
                  </a:lnTo>
                  <a:lnTo>
                    <a:pt x="153" y="42"/>
                  </a:lnTo>
                  <a:lnTo>
                    <a:pt x="153" y="44"/>
                  </a:lnTo>
                  <a:lnTo>
                    <a:pt x="156" y="46"/>
                  </a:lnTo>
                  <a:lnTo>
                    <a:pt x="156" y="49"/>
                  </a:lnTo>
                  <a:lnTo>
                    <a:pt x="153" y="49"/>
                  </a:lnTo>
                  <a:lnTo>
                    <a:pt x="153" y="51"/>
                  </a:lnTo>
                  <a:lnTo>
                    <a:pt x="153" y="53"/>
                  </a:lnTo>
                  <a:lnTo>
                    <a:pt x="151" y="53"/>
                  </a:lnTo>
                  <a:lnTo>
                    <a:pt x="151" y="56"/>
                  </a:lnTo>
                  <a:lnTo>
                    <a:pt x="151" y="58"/>
                  </a:lnTo>
                  <a:lnTo>
                    <a:pt x="151" y="60"/>
                  </a:lnTo>
                  <a:lnTo>
                    <a:pt x="149" y="60"/>
                  </a:lnTo>
                  <a:lnTo>
                    <a:pt x="149" y="63"/>
                  </a:lnTo>
                  <a:lnTo>
                    <a:pt x="146" y="63"/>
                  </a:lnTo>
                  <a:lnTo>
                    <a:pt x="144" y="63"/>
                  </a:lnTo>
                  <a:lnTo>
                    <a:pt x="144" y="65"/>
                  </a:lnTo>
                  <a:lnTo>
                    <a:pt x="142" y="65"/>
                  </a:lnTo>
                  <a:lnTo>
                    <a:pt x="135" y="67"/>
                  </a:lnTo>
                  <a:lnTo>
                    <a:pt x="135" y="70"/>
                  </a:lnTo>
                  <a:lnTo>
                    <a:pt x="132" y="70"/>
                  </a:lnTo>
                  <a:lnTo>
                    <a:pt x="132" y="72"/>
                  </a:lnTo>
                  <a:lnTo>
                    <a:pt x="135" y="74"/>
                  </a:lnTo>
                  <a:lnTo>
                    <a:pt x="137" y="74"/>
                  </a:lnTo>
                  <a:lnTo>
                    <a:pt x="137" y="77"/>
                  </a:lnTo>
                  <a:lnTo>
                    <a:pt x="137" y="79"/>
                  </a:lnTo>
                  <a:lnTo>
                    <a:pt x="137" y="81"/>
                  </a:lnTo>
                  <a:lnTo>
                    <a:pt x="135" y="84"/>
                  </a:lnTo>
                  <a:lnTo>
                    <a:pt x="135" y="86"/>
                  </a:lnTo>
                  <a:lnTo>
                    <a:pt x="135" y="88"/>
                  </a:lnTo>
                  <a:lnTo>
                    <a:pt x="135" y="91"/>
                  </a:lnTo>
                  <a:lnTo>
                    <a:pt x="132" y="91"/>
                  </a:lnTo>
                  <a:lnTo>
                    <a:pt x="132" y="93"/>
                  </a:lnTo>
                  <a:lnTo>
                    <a:pt x="130" y="93"/>
                  </a:lnTo>
                  <a:lnTo>
                    <a:pt x="128" y="93"/>
                  </a:lnTo>
                  <a:lnTo>
                    <a:pt x="128" y="95"/>
                  </a:lnTo>
                  <a:lnTo>
                    <a:pt x="128" y="98"/>
                  </a:lnTo>
                  <a:lnTo>
                    <a:pt x="128" y="100"/>
                  </a:lnTo>
                  <a:lnTo>
                    <a:pt x="125" y="100"/>
                  </a:lnTo>
                  <a:lnTo>
                    <a:pt x="123" y="98"/>
                  </a:lnTo>
                  <a:lnTo>
                    <a:pt x="121" y="95"/>
                  </a:lnTo>
                  <a:lnTo>
                    <a:pt x="121" y="93"/>
                  </a:lnTo>
                  <a:lnTo>
                    <a:pt x="118" y="93"/>
                  </a:lnTo>
                  <a:lnTo>
                    <a:pt x="116" y="93"/>
                  </a:lnTo>
                  <a:lnTo>
                    <a:pt x="114" y="93"/>
                  </a:lnTo>
                  <a:lnTo>
                    <a:pt x="111" y="93"/>
                  </a:lnTo>
                  <a:lnTo>
                    <a:pt x="109" y="95"/>
                  </a:lnTo>
                  <a:lnTo>
                    <a:pt x="107" y="95"/>
                  </a:lnTo>
                  <a:lnTo>
                    <a:pt x="104" y="95"/>
                  </a:lnTo>
                  <a:lnTo>
                    <a:pt x="102" y="95"/>
                  </a:lnTo>
                  <a:lnTo>
                    <a:pt x="100" y="95"/>
                  </a:lnTo>
                  <a:lnTo>
                    <a:pt x="95" y="95"/>
                  </a:lnTo>
                  <a:lnTo>
                    <a:pt x="90" y="95"/>
                  </a:lnTo>
                  <a:lnTo>
                    <a:pt x="86" y="95"/>
                  </a:lnTo>
                  <a:lnTo>
                    <a:pt x="84" y="95"/>
                  </a:lnTo>
                  <a:lnTo>
                    <a:pt x="81" y="95"/>
                  </a:lnTo>
                  <a:lnTo>
                    <a:pt x="77" y="95"/>
                  </a:lnTo>
                  <a:lnTo>
                    <a:pt x="74" y="95"/>
                  </a:lnTo>
                  <a:lnTo>
                    <a:pt x="72" y="95"/>
                  </a:lnTo>
                  <a:lnTo>
                    <a:pt x="70" y="95"/>
                  </a:lnTo>
                  <a:lnTo>
                    <a:pt x="67" y="98"/>
                  </a:lnTo>
                  <a:lnTo>
                    <a:pt x="65" y="98"/>
                  </a:lnTo>
                  <a:lnTo>
                    <a:pt x="60" y="98"/>
                  </a:lnTo>
                  <a:lnTo>
                    <a:pt x="58" y="98"/>
                  </a:lnTo>
                  <a:lnTo>
                    <a:pt x="56" y="98"/>
                  </a:lnTo>
                  <a:lnTo>
                    <a:pt x="53" y="98"/>
                  </a:lnTo>
                  <a:lnTo>
                    <a:pt x="51" y="98"/>
                  </a:lnTo>
                  <a:lnTo>
                    <a:pt x="46" y="98"/>
                  </a:lnTo>
                  <a:lnTo>
                    <a:pt x="44" y="98"/>
                  </a:lnTo>
                  <a:lnTo>
                    <a:pt x="42" y="98"/>
                  </a:lnTo>
                  <a:lnTo>
                    <a:pt x="39" y="98"/>
                  </a:lnTo>
                  <a:lnTo>
                    <a:pt x="37" y="98"/>
                  </a:lnTo>
                  <a:lnTo>
                    <a:pt x="35" y="98"/>
                  </a:lnTo>
                  <a:lnTo>
                    <a:pt x="30" y="98"/>
                  </a:lnTo>
                  <a:lnTo>
                    <a:pt x="28" y="98"/>
                  </a:lnTo>
                  <a:lnTo>
                    <a:pt x="25" y="98"/>
                  </a:lnTo>
                  <a:lnTo>
                    <a:pt x="23" y="95"/>
                  </a:lnTo>
                  <a:lnTo>
                    <a:pt x="21" y="95"/>
                  </a:lnTo>
                  <a:lnTo>
                    <a:pt x="21" y="93"/>
                  </a:lnTo>
                  <a:lnTo>
                    <a:pt x="18" y="93"/>
                  </a:lnTo>
                  <a:lnTo>
                    <a:pt x="18" y="91"/>
                  </a:lnTo>
                  <a:lnTo>
                    <a:pt x="21" y="91"/>
                  </a:lnTo>
                  <a:lnTo>
                    <a:pt x="18" y="91"/>
                  </a:lnTo>
                  <a:lnTo>
                    <a:pt x="18" y="88"/>
                  </a:lnTo>
                  <a:lnTo>
                    <a:pt x="21" y="88"/>
                  </a:lnTo>
                  <a:lnTo>
                    <a:pt x="21" y="86"/>
                  </a:lnTo>
                  <a:lnTo>
                    <a:pt x="18" y="86"/>
                  </a:lnTo>
                  <a:lnTo>
                    <a:pt x="21" y="84"/>
                  </a:lnTo>
                  <a:lnTo>
                    <a:pt x="18" y="84"/>
                  </a:lnTo>
                  <a:lnTo>
                    <a:pt x="18" y="81"/>
                  </a:lnTo>
                  <a:lnTo>
                    <a:pt x="18" y="79"/>
                  </a:lnTo>
                  <a:lnTo>
                    <a:pt x="18" y="77"/>
                  </a:lnTo>
                  <a:lnTo>
                    <a:pt x="18" y="74"/>
                  </a:lnTo>
                  <a:lnTo>
                    <a:pt x="16" y="72"/>
                  </a:lnTo>
                  <a:lnTo>
                    <a:pt x="16" y="70"/>
                  </a:lnTo>
                  <a:lnTo>
                    <a:pt x="18" y="70"/>
                  </a:lnTo>
                  <a:lnTo>
                    <a:pt x="16" y="70"/>
                  </a:lnTo>
                  <a:lnTo>
                    <a:pt x="16" y="67"/>
                  </a:lnTo>
                  <a:lnTo>
                    <a:pt x="16" y="65"/>
                  </a:lnTo>
                  <a:lnTo>
                    <a:pt x="14" y="67"/>
                  </a:lnTo>
                  <a:lnTo>
                    <a:pt x="14" y="65"/>
                  </a:lnTo>
                  <a:lnTo>
                    <a:pt x="14" y="63"/>
                  </a:lnTo>
                  <a:lnTo>
                    <a:pt x="14" y="60"/>
                  </a:lnTo>
                  <a:lnTo>
                    <a:pt x="14" y="58"/>
                  </a:lnTo>
                  <a:lnTo>
                    <a:pt x="11" y="56"/>
                  </a:lnTo>
                  <a:lnTo>
                    <a:pt x="11" y="53"/>
                  </a:lnTo>
                  <a:lnTo>
                    <a:pt x="11" y="51"/>
                  </a:lnTo>
                  <a:lnTo>
                    <a:pt x="9" y="51"/>
                  </a:lnTo>
                  <a:lnTo>
                    <a:pt x="9" y="49"/>
                  </a:lnTo>
                  <a:lnTo>
                    <a:pt x="9" y="46"/>
                  </a:lnTo>
                  <a:lnTo>
                    <a:pt x="7" y="46"/>
                  </a:lnTo>
                  <a:lnTo>
                    <a:pt x="7" y="44"/>
                  </a:lnTo>
                  <a:lnTo>
                    <a:pt x="7" y="42"/>
                  </a:lnTo>
                  <a:lnTo>
                    <a:pt x="7" y="40"/>
                  </a:lnTo>
                  <a:lnTo>
                    <a:pt x="7" y="37"/>
                  </a:lnTo>
                  <a:lnTo>
                    <a:pt x="7" y="35"/>
                  </a:lnTo>
                  <a:lnTo>
                    <a:pt x="4" y="35"/>
                  </a:lnTo>
                  <a:lnTo>
                    <a:pt x="4" y="33"/>
                  </a:lnTo>
                  <a:lnTo>
                    <a:pt x="2" y="33"/>
                  </a:lnTo>
                  <a:lnTo>
                    <a:pt x="2" y="30"/>
                  </a:lnTo>
                  <a:lnTo>
                    <a:pt x="4" y="30"/>
                  </a:lnTo>
                  <a:lnTo>
                    <a:pt x="2" y="30"/>
                  </a:lnTo>
                  <a:lnTo>
                    <a:pt x="2" y="28"/>
                  </a:lnTo>
                  <a:lnTo>
                    <a:pt x="0" y="28"/>
                  </a:lnTo>
                  <a:lnTo>
                    <a:pt x="2" y="26"/>
                  </a:lnTo>
                  <a:lnTo>
                    <a:pt x="2" y="23"/>
                  </a:lnTo>
                  <a:lnTo>
                    <a:pt x="4" y="21"/>
                  </a:lnTo>
                  <a:lnTo>
                    <a:pt x="4" y="19"/>
                  </a:lnTo>
                  <a:lnTo>
                    <a:pt x="4" y="16"/>
                  </a:lnTo>
                  <a:lnTo>
                    <a:pt x="4" y="14"/>
                  </a:lnTo>
                  <a:lnTo>
                    <a:pt x="2" y="14"/>
                  </a:lnTo>
                  <a:lnTo>
                    <a:pt x="2" y="12"/>
                  </a:lnTo>
                  <a:lnTo>
                    <a:pt x="2" y="9"/>
                  </a:lnTo>
                  <a:lnTo>
                    <a:pt x="2" y="7"/>
                  </a:lnTo>
                  <a:lnTo>
                    <a:pt x="2" y="5"/>
                  </a:lnTo>
                  <a:lnTo>
                    <a:pt x="4" y="5"/>
                  </a:lnTo>
                  <a:lnTo>
                    <a:pt x="14" y="5"/>
                  </a:lnTo>
                  <a:lnTo>
                    <a:pt x="21" y="5"/>
                  </a:lnTo>
                  <a:lnTo>
                    <a:pt x="28" y="5"/>
                  </a:lnTo>
                  <a:lnTo>
                    <a:pt x="35" y="5"/>
                  </a:lnTo>
                  <a:lnTo>
                    <a:pt x="44" y="5"/>
                  </a:lnTo>
                  <a:lnTo>
                    <a:pt x="51" y="5"/>
                  </a:lnTo>
                  <a:lnTo>
                    <a:pt x="58" y="5"/>
                  </a:lnTo>
                  <a:lnTo>
                    <a:pt x="65" y="2"/>
                  </a:lnTo>
                  <a:lnTo>
                    <a:pt x="74" y="2"/>
                  </a:lnTo>
                  <a:lnTo>
                    <a:pt x="81" y="2"/>
                  </a:lnTo>
                  <a:lnTo>
                    <a:pt x="84" y="2"/>
                  </a:lnTo>
                  <a:lnTo>
                    <a:pt x="88" y="2"/>
                  </a:lnTo>
                  <a:lnTo>
                    <a:pt x="95" y="2"/>
                  </a:lnTo>
                  <a:lnTo>
                    <a:pt x="102" y="2"/>
                  </a:lnTo>
                  <a:lnTo>
                    <a:pt x="111" y="2"/>
                  </a:lnTo>
                  <a:lnTo>
                    <a:pt x="118" y="2"/>
                  </a:lnTo>
                  <a:lnTo>
                    <a:pt x="125" y="0"/>
                  </a:lnTo>
                  <a:lnTo>
                    <a:pt x="125" y="2"/>
                  </a:lnTo>
                  <a:lnTo>
                    <a:pt x="128" y="5"/>
                  </a:lnTo>
                  <a:lnTo>
                    <a:pt x="130" y="7"/>
                  </a:lnTo>
                  <a:lnTo>
                    <a:pt x="130" y="9"/>
                  </a:lnTo>
                  <a:lnTo>
                    <a:pt x="128" y="12"/>
                  </a:lnTo>
                  <a:lnTo>
                    <a:pt x="128" y="14"/>
                  </a:lnTo>
                  <a:lnTo>
                    <a:pt x="130" y="16"/>
                  </a:lnTo>
                  <a:lnTo>
                    <a:pt x="130" y="19"/>
                  </a:lnTo>
                  <a:lnTo>
                    <a:pt x="130" y="21"/>
                  </a:lnTo>
                  <a:lnTo>
                    <a:pt x="130" y="23"/>
                  </a:lnTo>
                  <a:lnTo>
                    <a:pt x="132" y="26"/>
                  </a:lnTo>
                  <a:lnTo>
                    <a:pt x="135" y="26"/>
                  </a:lnTo>
                  <a:lnTo>
                    <a:pt x="137" y="26"/>
                  </a:lnTo>
                  <a:lnTo>
                    <a:pt x="139" y="28"/>
                  </a:lnTo>
                  <a:lnTo>
                    <a:pt x="142" y="28"/>
                  </a:lnTo>
                  <a:lnTo>
                    <a:pt x="142" y="30"/>
                  </a:lnTo>
                  <a:lnTo>
                    <a:pt x="142" y="3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785">
              <a:extLst>
                <a:ext uri="{FF2B5EF4-FFF2-40B4-BE49-F238E27FC236}">
                  <a16:creationId xmlns:a16="http://schemas.microsoft.com/office/drawing/2014/main" id="{06E5FD86-CF62-4B06-A623-52832CF505B9}"/>
                </a:ext>
              </a:extLst>
            </p:cNvPr>
            <p:cNvSpPr>
              <a:spLocks/>
            </p:cNvSpPr>
            <p:nvPr/>
          </p:nvSpPr>
          <p:spPr bwMode="auto">
            <a:xfrm>
              <a:off x="6315869" y="4681538"/>
              <a:ext cx="303213" cy="163513"/>
            </a:xfrm>
            <a:custGeom>
              <a:avLst/>
              <a:gdLst>
                <a:gd name="T0" fmla="*/ 172 w 191"/>
                <a:gd name="T1" fmla="*/ 103 h 103"/>
                <a:gd name="T2" fmla="*/ 149 w 191"/>
                <a:gd name="T3" fmla="*/ 103 h 103"/>
                <a:gd name="T4" fmla="*/ 126 w 191"/>
                <a:gd name="T5" fmla="*/ 103 h 103"/>
                <a:gd name="T6" fmla="*/ 102 w 191"/>
                <a:gd name="T7" fmla="*/ 103 h 103"/>
                <a:gd name="T8" fmla="*/ 79 w 191"/>
                <a:gd name="T9" fmla="*/ 100 h 103"/>
                <a:gd name="T10" fmla="*/ 56 w 191"/>
                <a:gd name="T11" fmla="*/ 100 h 103"/>
                <a:gd name="T12" fmla="*/ 30 w 191"/>
                <a:gd name="T13" fmla="*/ 98 h 103"/>
                <a:gd name="T14" fmla="*/ 7 w 191"/>
                <a:gd name="T15" fmla="*/ 98 h 103"/>
                <a:gd name="T16" fmla="*/ 2 w 191"/>
                <a:gd name="T17" fmla="*/ 89 h 103"/>
                <a:gd name="T18" fmla="*/ 2 w 191"/>
                <a:gd name="T19" fmla="*/ 75 h 103"/>
                <a:gd name="T20" fmla="*/ 2 w 191"/>
                <a:gd name="T21" fmla="*/ 63 h 103"/>
                <a:gd name="T22" fmla="*/ 5 w 191"/>
                <a:gd name="T23" fmla="*/ 52 h 103"/>
                <a:gd name="T24" fmla="*/ 5 w 191"/>
                <a:gd name="T25" fmla="*/ 40 h 103"/>
                <a:gd name="T26" fmla="*/ 5 w 191"/>
                <a:gd name="T27" fmla="*/ 28 h 103"/>
                <a:gd name="T28" fmla="*/ 7 w 191"/>
                <a:gd name="T29" fmla="*/ 17 h 103"/>
                <a:gd name="T30" fmla="*/ 7 w 191"/>
                <a:gd name="T31" fmla="*/ 5 h 103"/>
                <a:gd name="T32" fmla="*/ 23 w 191"/>
                <a:gd name="T33" fmla="*/ 3 h 103"/>
                <a:gd name="T34" fmla="*/ 44 w 191"/>
                <a:gd name="T35" fmla="*/ 3 h 103"/>
                <a:gd name="T36" fmla="*/ 65 w 191"/>
                <a:gd name="T37" fmla="*/ 5 h 103"/>
                <a:gd name="T38" fmla="*/ 86 w 191"/>
                <a:gd name="T39" fmla="*/ 5 h 103"/>
                <a:gd name="T40" fmla="*/ 105 w 191"/>
                <a:gd name="T41" fmla="*/ 5 h 103"/>
                <a:gd name="T42" fmla="*/ 126 w 191"/>
                <a:gd name="T43" fmla="*/ 7 h 103"/>
                <a:gd name="T44" fmla="*/ 147 w 191"/>
                <a:gd name="T45" fmla="*/ 7 h 103"/>
                <a:gd name="T46" fmla="*/ 168 w 191"/>
                <a:gd name="T47" fmla="*/ 7 h 103"/>
                <a:gd name="T48" fmla="*/ 175 w 191"/>
                <a:gd name="T49" fmla="*/ 7 h 103"/>
                <a:gd name="T50" fmla="*/ 175 w 191"/>
                <a:gd name="T51" fmla="*/ 10 h 103"/>
                <a:gd name="T52" fmla="*/ 177 w 191"/>
                <a:gd name="T53" fmla="*/ 10 h 103"/>
                <a:gd name="T54" fmla="*/ 177 w 191"/>
                <a:gd name="T55" fmla="*/ 12 h 103"/>
                <a:gd name="T56" fmla="*/ 179 w 191"/>
                <a:gd name="T57" fmla="*/ 10 h 103"/>
                <a:gd name="T58" fmla="*/ 182 w 191"/>
                <a:gd name="T59" fmla="*/ 10 h 103"/>
                <a:gd name="T60" fmla="*/ 184 w 191"/>
                <a:gd name="T61" fmla="*/ 12 h 103"/>
                <a:gd name="T62" fmla="*/ 184 w 191"/>
                <a:gd name="T63" fmla="*/ 14 h 103"/>
                <a:gd name="T64" fmla="*/ 184 w 191"/>
                <a:gd name="T65" fmla="*/ 14 h 103"/>
                <a:gd name="T66" fmla="*/ 182 w 191"/>
                <a:gd name="T67" fmla="*/ 14 h 103"/>
                <a:gd name="T68" fmla="*/ 182 w 191"/>
                <a:gd name="T69" fmla="*/ 17 h 103"/>
                <a:gd name="T70" fmla="*/ 179 w 191"/>
                <a:gd name="T71" fmla="*/ 19 h 103"/>
                <a:gd name="T72" fmla="*/ 179 w 191"/>
                <a:gd name="T73" fmla="*/ 19 h 103"/>
                <a:gd name="T74" fmla="*/ 177 w 191"/>
                <a:gd name="T75" fmla="*/ 21 h 103"/>
                <a:gd name="T76" fmla="*/ 179 w 191"/>
                <a:gd name="T77" fmla="*/ 21 h 103"/>
                <a:gd name="T78" fmla="*/ 179 w 191"/>
                <a:gd name="T79" fmla="*/ 24 h 103"/>
                <a:gd name="T80" fmla="*/ 182 w 191"/>
                <a:gd name="T81" fmla="*/ 26 h 103"/>
                <a:gd name="T82" fmla="*/ 184 w 191"/>
                <a:gd name="T83" fmla="*/ 28 h 103"/>
                <a:gd name="T84" fmla="*/ 184 w 191"/>
                <a:gd name="T85" fmla="*/ 31 h 103"/>
                <a:gd name="T86" fmla="*/ 186 w 191"/>
                <a:gd name="T87" fmla="*/ 33 h 103"/>
                <a:gd name="T88" fmla="*/ 189 w 191"/>
                <a:gd name="T89" fmla="*/ 33 h 103"/>
                <a:gd name="T90" fmla="*/ 189 w 191"/>
                <a:gd name="T91" fmla="*/ 33 h 103"/>
                <a:gd name="T92" fmla="*/ 191 w 191"/>
                <a:gd name="T93" fmla="*/ 33 h 103"/>
                <a:gd name="T94" fmla="*/ 191 w 191"/>
                <a:gd name="T95" fmla="*/ 35 h 103"/>
                <a:gd name="T96" fmla="*/ 191 w 191"/>
                <a:gd name="T97" fmla="*/ 49 h 103"/>
                <a:gd name="T98" fmla="*/ 191 w 191"/>
                <a:gd name="T99" fmla="*/ 66 h 103"/>
                <a:gd name="T100" fmla="*/ 191 w 191"/>
                <a:gd name="T101" fmla="*/ 82 h 103"/>
                <a:gd name="T102" fmla="*/ 191 w 191"/>
                <a:gd name="T103" fmla="*/ 9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 h="103">
                  <a:moveTo>
                    <a:pt x="191" y="103"/>
                  </a:moveTo>
                  <a:lnTo>
                    <a:pt x="184" y="103"/>
                  </a:lnTo>
                  <a:lnTo>
                    <a:pt x="179" y="103"/>
                  </a:lnTo>
                  <a:lnTo>
                    <a:pt x="172" y="103"/>
                  </a:lnTo>
                  <a:lnTo>
                    <a:pt x="168" y="103"/>
                  </a:lnTo>
                  <a:lnTo>
                    <a:pt x="161" y="103"/>
                  </a:lnTo>
                  <a:lnTo>
                    <a:pt x="156" y="103"/>
                  </a:lnTo>
                  <a:lnTo>
                    <a:pt x="149" y="103"/>
                  </a:lnTo>
                  <a:lnTo>
                    <a:pt x="144" y="103"/>
                  </a:lnTo>
                  <a:lnTo>
                    <a:pt x="137" y="103"/>
                  </a:lnTo>
                  <a:lnTo>
                    <a:pt x="133" y="103"/>
                  </a:lnTo>
                  <a:lnTo>
                    <a:pt x="126" y="103"/>
                  </a:lnTo>
                  <a:lnTo>
                    <a:pt x="121" y="103"/>
                  </a:lnTo>
                  <a:lnTo>
                    <a:pt x="114" y="103"/>
                  </a:lnTo>
                  <a:lnTo>
                    <a:pt x="107" y="103"/>
                  </a:lnTo>
                  <a:lnTo>
                    <a:pt x="102" y="103"/>
                  </a:lnTo>
                  <a:lnTo>
                    <a:pt x="96" y="100"/>
                  </a:lnTo>
                  <a:lnTo>
                    <a:pt x="91" y="100"/>
                  </a:lnTo>
                  <a:lnTo>
                    <a:pt x="84" y="100"/>
                  </a:lnTo>
                  <a:lnTo>
                    <a:pt x="79" y="100"/>
                  </a:lnTo>
                  <a:lnTo>
                    <a:pt x="72" y="100"/>
                  </a:lnTo>
                  <a:lnTo>
                    <a:pt x="68" y="100"/>
                  </a:lnTo>
                  <a:lnTo>
                    <a:pt x="61" y="100"/>
                  </a:lnTo>
                  <a:lnTo>
                    <a:pt x="56" y="100"/>
                  </a:lnTo>
                  <a:lnTo>
                    <a:pt x="49" y="100"/>
                  </a:lnTo>
                  <a:lnTo>
                    <a:pt x="44" y="100"/>
                  </a:lnTo>
                  <a:lnTo>
                    <a:pt x="37" y="98"/>
                  </a:lnTo>
                  <a:lnTo>
                    <a:pt x="30" y="98"/>
                  </a:lnTo>
                  <a:lnTo>
                    <a:pt x="26" y="98"/>
                  </a:lnTo>
                  <a:lnTo>
                    <a:pt x="19" y="98"/>
                  </a:lnTo>
                  <a:lnTo>
                    <a:pt x="14" y="98"/>
                  </a:lnTo>
                  <a:lnTo>
                    <a:pt x="7" y="98"/>
                  </a:lnTo>
                  <a:lnTo>
                    <a:pt x="0" y="96"/>
                  </a:lnTo>
                  <a:lnTo>
                    <a:pt x="2" y="93"/>
                  </a:lnTo>
                  <a:lnTo>
                    <a:pt x="2" y="91"/>
                  </a:lnTo>
                  <a:lnTo>
                    <a:pt x="2" y="89"/>
                  </a:lnTo>
                  <a:lnTo>
                    <a:pt x="2" y="84"/>
                  </a:lnTo>
                  <a:lnTo>
                    <a:pt x="2" y="82"/>
                  </a:lnTo>
                  <a:lnTo>
                    <a:pt x="2" y="79"/>
                  </a:lnTo>
                  <a:lnTo>
                    <a:pt x="2" y="75"/>
                  </a:lnTo>
                  <a:lnTo>
                    <a:pt x="2" y="73"/>
                  </a:lnTo>
                  <a:lnTo>
                    <a:pt x="2" y="70"/>
                  </a:lnTo>
                  <a:lnTo>
                    <a:pt x="2" y="68"/>
                  </a:lnTo>
                  <a:lnTo>
                    <a:pt x="2" y="63"/>
                  </a:lnTo>
                  <a:lnTo>
                    <a:pt x="2" y="61"/>
                  </a:lnTo>
                  <a:lnTo>
                    <a:pt x="5" y="59"/>
                  </a:lnTo>
                  <a:lnTo>
                    <a:pt x="5" y="56"/>
                  </a:lnTo>
                  <a:lnTo>
                    <a:pt x="5" y="52"/>
                  </a:lnTo>
                  <a:lnTo>
                    <a:pt x="5" y="49"/>
                  </a:lnTo>
                  <a:lnTo>
                    <a:pt x="5" y="47"/>
                  </a:lnTo>
                  <a:lnTo>
                    <a:pt x="5" y="42"/>
                  </a:lnTo>
                  <a:lnTo>
                    <a:pt x="5" y="40"/>
                  </a:lnTo>
                  <a:lnTo>
                    <a:pt x="5" y="38"/>
                  </a:lnTo>
                  <a:lnTo>
                    <a:pt x="5" y="35"/>
                  </a:lnTo>
                  <a:lnTo>
                    <a:pt x="5" y="31"/>
                  </a:lnTo>
                  <a:lnTo>
                    <a:pt x="5" y="28"/>
                  </a:lnTo>
                  <a:lnTo>
                    <a:pt x="5" y="26"/>
                  </a:lnTo>
                  <a:lnTo>
                    <a:pt x="7" y="21"/>
                  </a:lnTo>
                  <a:lnTo>
                    <a:pt x="7" y="19"/>
                  </a:lnTo>
                  <a:lnTo>
                    <a:pt x="7" y="17"/>
                  </a:lnTo>
                  <a:lnTo>
                    <a:pt x="7" y="14"/>
                  </a:lnTo>
                  <a:lnTo>
                    <a:pt x="7" y="10"/>
                  </a:lnTo>
                  <a:lnTo>
                    <a:pt x="7" y="7"/>
                  </a:lnTo>
                  <a:lnTo>
                    <a:pt x="7" y="5"/>
                  </a:lnTo>
                  <a:lnTo>
                    <a:pt x="7" y="0"/>
                  </a:lnTo>
                  <a:lnTo>
                    <a:pt x="14" y="3"/>
                  </a:lnTo>
                  <a:lnTo>
                    <a:pt x="19" y="3"/>
                  </a:lnTo>
                  <a:lnTo>
                    <a:pt x="23" y="3"/>
                  </a:lnTo>
                  <a:lnTo>
                    <a:pt x="28" y="3"/>
                  </a:lnTo>
                  <a:lnTo>
                    <a:pt x="33" y="3"/>
                  </a:lnTo>
                  <a:lnTo>
                    <a:pt x="40" y="3"/>
                  </a:lnTo>
                  <a:lnTo>
                    <a:pt x="44" y="3"/>
                  </a:lnTo>
                  <a:lnTo>
                    <a:pt x="49" y="5"/>
                  </a:lnTo>
                  <a:lnTo>
                    <a:pt x="54" y="5"/>
                  </a:lnTo>
                  <a:lnTo>
                    <a:pt x="58" y="5"/>
                  </a:lnTo>
                  <a:lnTo>
                    <a:pt x="65" y="5"/>
                  </a:lnTo>
                  <a:lnTo>
                    <a:pt x="70" y="5"/>
                  </a:lnTo>
                  <a:lnTo>
                    <a:pt x="75" y="5"/>
                  </a:lnTo>
                  <a:lnTo>
                    <a:pt x="79" y="5"/>
                  </a:lnTo>
                  <a:lnTo>
                    <a:pt x="86" y="5"/>
                  </a:lnTo>
                  <a:lnTo>
                    <a:pt x="91" y="5"/>
                  </a:lnTo>
                  <a:lnTo>
                    <a:pt x="96" y="5"/>
                  </a:lnTo>
                  <a:lnTo>
                    <a:pt x="100" y="5"/>
                  </a:lnTo>
                  <a:lnTo>
                    <a:pt x="105" y="5"/>
                  </a:lnTo>
                  <a:lnTo>
                    <a:pt x="112" y="5"/>
                  </a:lnTo>
                  <a:lnTo>
                    <a:pt x="116" y="7"/>
                  </a:lnTo>
                  <a:lnTo>
                    <a:pt x="121" y="7"/>
                  </a:lnTo>
                  <a:lnTo>
                    <a:pt x="126" y="7"/>
                  </a:lnTo>
                  <a:lnTo>
                    <a:pt x="130" y="7"/>
                  </a:lnTo>
                  <a:lnTo>
                    <a:pt x="137" y="7"/>
                  </a:lnTo>
                  <a:lnTo>
                    <a:pt x="142" y="7"/>
                  </a:lnTo>
                  <a:lnTo>
                    <a:pt x="147" y="7"/>
                  </a:lnTo>
                  <a:lnTo>
                    <a:pt x="151" y="7"/>
                  </a:lnTo>
                  <a:lnTo>
                    <a:pt x="156" y="7"/>
                  </a:lnTo>
                  <a:lnTo>
                    <a:pt x="163" y="7"/>
                  </a:lnTo>
                  <a:lnTo>
                    <a:pt x="168" y="7"/>
                  </a:lnTo>
                  <a:lnTo>
                    <a:pt x="172" y="7"/>
                  </a:lnTo>
                  <a:lnTo>
                    <a:pt x="175" y="7"/>
                  </a:lnTo>
                  <a:lnTo>
                    <a:pt x="175" y="7"/>
                  </a:lnTo>
                  <a:lnTo>
                    <a:pt x="175" y="7"/>
                  </a:lnTo>
                  <a:lnTo>
                    <a:pt x="175" y="7"/>
                  </a:lnTo>
                  <a:lnTo>
                    <a:pt x="175" y="10"/>
                  </a:lnTo>
                  <a:lnTo>
                    <a:pt x="175" y="10"/>
                  </a:lnTo>
                  <a:lnTo>
                    <a:pt x="175" y="10"/>
                  </a:lnTo>
                  <a:lnTo>
                    <a:pt x="175" y="10"/>
                  </a:lnTo>
                  <a:lnTo>
                    <a:pt x="175" y="10"/>
                  </a:lnTo>
                  <a:lnTo>
                    <a:pt x="175" y="10"/>
                  </a:lnTo>
                  <a:lnTo>
                    <a:pt x="177" y="10"/>
                  </a:lnTo>
                  <a:lnTo>
                    <a:pt x="177" y="10"/>
                  </a:lnTo>
                  <a:lnTo>
                    <a:pt x="177" y="10"/>
                  </a:lnTo>
                  <a:lnTo>
                    <a:pt x="177" y="10"/>
                  </a:lnTo>
                  <a:lnTo>
                    <a:pt x="177" y="12"/>
                  </a:lnTo>
                  <a:lnTo>
                    <a:pt x="179" y="10"/>
                  </a:lnTo>
                  <a:lnTo>
                    <a:pt x="179" y="10"/>
                  </a:lnTo>
                  <a:lnTo>
                    <a:pt x="179" y="10"/>
                  </a:lnTo>
                  <a:lnTo>
                    <a:pt x="179" y="10"/>
                  </a:lnTo>
                  <a:lnTo>
                    <a:pt x="182" y="10"/>
                  </a:lnTo>
                  <a:lnTo>
                    <a:pt x="182" y="10"/>
                  </a:lnTo>
                  <a:lnTo>
                    <a:pt x="182" y="10"/>
                  </a:lnTo>
                  <a:lnTo>
                    <a:pt x="182" y="10"/>
                  </a:lnTo>
                  <a:lnTo>
                    <a:pt x="182" y="10"/>
                  </a:lnTo>
                  <a:lnTo>
                    <a:pt x="182" y="10"/>
                  </a:lnTo>
                  <a:lnTo>
                    <a:pt x="182" y="12"/>
                  </a:lnTo>
                  <a:lnTo>
                    <a:pt x="184" y="12"/>
                  </a:lnTo>
                  <a:lnTo>
                    <a:pt x="184" y="12"/>
                  </a:lnTo>
                  <a:lnTo>
                    <a:pt x="184" y="12"/>
                  </a:lnTo>
                  <a:lnTo>
                    <a:pt x="184" y="12"/>
                  </a:lnTo>
                  <a:lnTo>
                    <a:pt x="184" y="14"/>
                  </a:lnTo>
                  <a:lnTo>
                    <a:pt x="184" y="14"/>
                  </a:lnTo>
                  <a:lnTo>
                    <a:pt x="184" y="14"/>
                  </a:lnTo>
                  <a:lnTo>
                    <a:pt x="184" y="14"/>
                  </a:lnTo>
                  <a:lnTo>
                    <a:pt x="184" y="14"/>
                  </a:lnTo>
                  <a:lnTo>
                    <a:pt x="184" y="14"/>
                  </a:lnTo>
                  <a:lnTo>
                    <a:pt x="182" y="14"/>
                  </a:lnTo>
                  <a:lnTo>
                    <a:pt x="182" y="14"/>
                  </a:lnTo>
                  <a:lnTo>
                    <a:pt x="182" y="14"/>
                  </a:lnTo>
                  <a:lnTo>
                    <a:pt x="182" y="14"/>
                  </a:lnTo>
                  <a:lnTo>
                    <a:pt x="182" y="14"/>
                  </a:lnTo>
                  <a:lnTo>
                    <a:pt x="182" y="17"/>
                  </a:lnTo>
                  <a:lnTo>
                    <a:pt x="182" y="17"/>
                  </a:lnTo>
                  <a:lnTo>
                    <a:pt x="179" y="17"/>
                  </a:lnTo>
                  <a:lnTo>
                    <a:pt x="179" y="17"/>
                  </a:lnTo>
                  <a:lnTo>
                    <a:pt x="179" y="17"/>
                  </a:lnTo>
                  <a:lnTo>
                    <a:pt x="179" y="19"/>
                  </a:lnTo>
                  <a:lnTo>
                    <a:pt x="179" y="19"/>
                  </a:lnTo>
                  <a:lnTo>
                    <a:pt x="179" y="19"/>
                  </a:lnTo>
                  <a:lnTo>
                    <a:pt x="179" y="19"/>
                  </a:lnTo>
                  <a:lnTo>
                    <a:pt x="179" y="19"/>
                  </a:lnTo>
                  <a:lnTo>
                    <a:pt x="179" y="19"/>
                  </a:lnTo>
                  <a:lnTo>
                    <a:pt x="177" y="19"/>
                  </a:lnTo>
                  <a:lnTo>
                    <a:pt x="177" y="21"/>
                  </a:lnTo>
                  <a:lnTo>
                    <a:pt x="177" y="21"/>
                  </a:lnTo>
                  <a:lnTo>
                    <a:pt x="177" y="21"/>
                  </a:lnTo>
                  <a:lnTo>
                    <a:pt x="179" y="21"/>
                  </a:lnTo>
                  <a:lnTo>
                    <a:pt x="179" y="21"/>
                  </a:lnTo>
                  <a:lnTo>
                    <a:pt x="179" y="21"/>
                  </a:lnTo>
                  <a:lnTo>
                    <a:pt x="179" y="24"/>
                  </a:lnTo>
                  <a:lnTo>
                    <a:pt x="179" y="24"/>
                  </a:lnTo>
                  <a:lnTo>
                    <a:pt x="179" y="24"/>
                  </a:lnTo>
                  <a:lnTo>
                    <a:pt x="179" y="24"/>
                  </a:lnTo>
                  <a:lnTo>
                    <a:pt x="182" y="26"/>
                  </a:lnTo>
                  <a:lnTo>
                    <a:pt x="182" y="26"/>
                  </a:lnTo>
                  <a:lnTo>
                    <a:pt x="182" y="26"/>
                  </a:lnTo>
                  <a:lnTo>
                    <a:pt x="182" y="26"/>
                  </a:lnTo>
                  <a:lnTo>
                    <a:pt x="184" y="26"/>
                  </a:lnTo>
                  <a:lnTo>
                    <a:pt x="182" y="26"/>
                  </a:lnTo>
                  <a:lnTo>
                    <a:pt x="184" y="28"/>
                  </a:lnTo>
                  <a:lnTo>
                    <a:pt x="184" y="28"/>
                  </a:lnTo>
                  <a:lnTo>
                    <a:pt x="184" y="31"/>
                  </a:lnTo>
                  <a:lnTo>
                    <a:pt x="184" y="31"/>
                  </a:lnTo>
                  <a:lnTo>
                    <a:pt x="184" y="31"/>
                  </a:lnTo>
                  <a:lnTo>
                    <a:pt x="184" y="31"/>
                  </a:lnTo>
                  <a:lnTo>
                    <a:pt x="184" y="31"/>
                  </a:lnTo>
                  <a:lnTo>
                    <a:pt x="186" y="33"/>
                  </a:lnTo>
                  <a:lnTo>
                    <a:pt x="186" y="33"/>
                  </a:lnTo>
                  <a:lnTo>
                    <a:pt x="186" y="33"/>
                  </a:lnTo>
                  <a:lnTo>
                    <a:pt x="189" y="33"/>
                  </a:lnTo>
                  <a:lnTo>
                    <a:pt x="189" y="33"/>
                  </a:lnTo>
                  <a:lnTo>
                    <a:pt x="189" y="33"/>
                  </a:lnTo>
                  <a:lnTo>
                    <a:pt x="189" y="33"/>
                  </a:lnTo>
                  <a:lnTo>
                    <a:pt x="189" y="33"/>
                  </a:lnTo>
                  <a:lnTo>
                    <a:pt x="189" y="33"/>
                  </a:lnTo>
                  <a:lnTo>
                    <a:pt x="189" y="33"/>
                  </a:lnTo>
                  <a:lnTo>
                    <a:pt x="189" y="33"/>
                  </a:lnTo>
                  <a:lnTo>
                    <a:pt x="191" y="33"/>
                  </a:lnTo>
                  <a:lnTo>
                    <a:pt x="191" y="33"/>
                  </a:lnTo>
                  <a:lnTo>
                    <a:pt x="189" y="33"/>
                  </a:lnTo>
                  <a:lnTo>
                    <a:pt x="191" y="33"/>
                  </a:lnTo>
                  <a:lnTo>
                    <a:pt x="191" y="35"/>
                  </a:lnTo>
                  <a:lnTo>
                    <a:pt x="191" y="35"/>
                  </a:lnTo>
                  <a:lnTo>
                    <a:pt x="191" y="35"/>
                  </a:lnTo>
                  <a:lnTo>
                    <a:pt x="191" y="35"/>
                  </a:lnTo>
                  <a:lnTo>
                    <a:pt x="191" y="38"/>
                  </a:lnTo>
                  <a:lnTo>
                    <a:pt x="191" y="40"/>
                  </a:lnTo>
                  <a:lnTo>
                    <a:pt x="191" y="45"/>
                  </a:lnTo>
                  <a:lnTo>
                    <a:pt x="191" y="49"/>
                  </a:lnTo>
                  <a:lnTo>
                    <a:pt x="191" y="54"/>
                  </a:lnTo>
                  <a:lnTo>
                    <a:pt x="191" y="56"/>
                  </a:lnTo>
                  <a:lnTo>
                    <a:pt x="191" y="61"/>
                  </a:lnTo>
                  <a:lnTo>
                    <a:pt x="191" y="66"/>
                  </a:lnTo>
                  <a:lnTo>
                    <a:pt x="191" y="70"/>
                  </a:lnTo>
                  <a:lnTo>
                    <a:pt x="191" y="73"/>
                  </a:lnTo>
                  <a:lnTo>
                    <a:pt x="191" y="77"/>
                  </a:lnTo>
                  <a:lnTo>
                    <a:pt x="191" y="82"/>
                  </a:lnTo>
                  <a:lnTo>
                    <a:pt x="191" y="86"/>
                  </a:lnTo>
                  <a:lnTo>
                    <a:pt x="191" y="89"/>
                  </a:lnTo>
                  <a:lnTo>
                    <a:pt x="191" y="93"/>
                  </a:lnTo>
                  <a:lnTo>
                    <a:pt x="191" y="98"/>
                  </a:lnTo>
                  <a:lnTo>
                    <a:pt x="191" y="10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786">
              <a:extLst>
                <a:ext uri="{FF2B5EF4-FFF2-40B4-BE49-F238E27FC236}">
                  <a16:creationId xmlns:a16="http://schemas.microsoft.com/office/drawing/2014/main" id="{87BF6AF6-83B2-4FA8-BD8D-43A0230CB1FA}"/>
                </a:ext>
              </a:extLst>
            </p:cNvPr>
            <p:cNvSpPr>
              <a:spLocks/>
            </p:cNvSpPr>
            <p:nvPr/>
          </p:nvSpPr>
          <p:spPr bwMode="auto">
            <a:xfrm>
              <a:off x="6571456" y="4656138"/>
              <a:ext cx="273050" cy="233363"/>
            </a:xfrm>
            <a:custGeom>
              <a:avLst/>
              <a:gdLst>
                <a:gd name="T0" fmla="*/ 104 w 172"/>
                <a:gd name="T1" fmla="*/ 14 h 147"/>
                <a:gd name="T2" fmla="*/ 107 w 172"/>
                <a:gd name="T3" fmla="*/ 23 h 147"/>
                <a:gd name="T4" fmla="*/ 116 w 172"/>
                <a:gd name="T5" fmla="*/ 37 h 147"/>
                <a:gd name="T6" fmla="*/ 125 w 172"/>
                <a:gd name="T7" fmla="*/ 44 h 147"/>
                <a:gd name="T8" fmla="*/ 128 w 172"/>
                <a:gd name="T9" fmla="*/ 54 h 147"/>
                <a:gd name="T10" fmla="*/ 137 w 172"/>
                <a:gd name="T11" fmla="*/ 51 h 147"/>
                <a:gd name="T12" fmla="*/ 139 w 172"/>
                <a:gd name="T13" fmla="*/ 58 h 147"/>
                <a:gd name="T14" fmla="*/ 137 w 172"/>
                <a:gd name="T15" fmla="*/ 68 h 147"/>
                <a:gd name="T16" fmla="*/ 137 w 172"/>
                <a:gd name="T17" fmla="*/ 75 h 147"/>
                <a:gd name="T18" fmla="*/ 144 w 172"/>
                <a:gd name="T19" fmla="*/ 82 h 147"/>
                <a:gd name="T20" fmla="*/ 151 w 172"/>
                <a:gd name="T21" fmla="*/ 84 h 147"/>
                <a:gd name="T22" fmla="*/ 158 w 172"/>
                <a:gd name="T23" fmla="*/ 93 h 147"/>
                <a:gd name="T24" fmla="*/ 160 w 172"/>
                <a:gd name="T25" fmla="*/ 100 h 147"/>
                <a:gd name="T26" fmla="*/ 163 w 172"/>
                <a:gd name="T27" fmla="*/ 109 h 147"/>
                <a:gd name="T28" fmla="*/ 167 w 172"/>
                <a:gd name="T29" fmla="*/ 109 h 147"/>
                <a:gd name="T30" fmla="*/ 170 w 172"/>
                <a:gd name="T31" fmla="*/ 112 h 147"/>
                <a:gd name="T32" fmla="*/ 172 w 172"/>
                <a:gd name="T33" fmla="*/ 119 h 147"/>
                <a:gd name="T34" fmla="*/ 170 w 172"/>
                <a:gd name="T35" fmla="*/ 126 h 147"/>
                <a:gd name="T36" fmla="*/ 165 w 172"/>
                <a:gd name="T37" fmla="*/ 126 h 147"/>
                <a:gd name="T38" fmla="*/ 163 w 172"/>
                <a:gd name="T39" fmla="*/ 128 h 147"/>
                <a:gd name="T40" fmla="*/ 160 w 172"/>
                <a:gd name="T41" fmla="*/ 130 h 147"/>
                <a:gd name="T42" fmla="*/ 158 w 172"/>
                <a:gd name="T43" fmla="*/ 135 h 147"/>
                <a:gd name="T44" fmla="*/ 158 w 172"/>
                <a:gd name="T45" fmla="*/ 140 h 147"/>
                <a:gd name="T46" fmla="*/ 151 w 172"/>
                <a:gd name="T47" fmla="*/ 144 h 147"/>
                <a:gd name="T48" fmla="*/ 139 w 172"/>
                <a:gd name="T49" fmla="*/ 144 h 147"/>
                <a:gd name="T50" fmla="*/ 144 w 172"/>
                <a:gd name="T51" fmla="*/ 140 h 147"/>
                <a:gd name="T52" fmla="*/ 149 w 172"/>
                <a:gd name="T53" fmla="*/ 135 h 147"/>
                <a:gd name="T54" fmla="*/ 144 w 172"/>
                <a:gd name="T55" fmla="*/ 130 h 147"/>
                <a:gd name="T56" fmla="*/ 130 w 172"/>
                <a:gd name="T57" fmla="*/ 130 h 147"/>
                <a:gd name="T58" fmla="*/ 100 w 172"/>
                <a:gd name="T59" fmla="*/ 133 h 147"/>
                <a:gd name="T60" fmla="*/ 72 w 172"/>
                <a:gd name="T61" fmla="*/ 133 h 147"/>
                <a:gd name="T62" fmla="*/ 44 w 172"/>
                <a:gd name="T63" fmla="*/ 133 h 147"/>
                <a:gd name="T64" fmla="*/ 30 w 172"/>
                <a:gd name="T65" fmla="*/ 126 h 147"/>
                <a:gd name="T66" fmla="*/ 30 w 172"/>
                <a:gd name="T67" fmla="*/ 109 h 147"/>
                <a:gd name="T68" fmla="*/ 30 w 172"/>
                <a:gd name="T69" fmla="*/ 93 h 147"/>
                <a:gd name="T70" fmla="*/ 30 w 172"/>
                <a:gd name="T71" fmla="*/ 77 h 147"/>
                <a:gd name="T72" fmla="*/ 30 w 172"/>
                <a:gd name="T73" fmla="*/ 61 h 147"/>
                <a:gd name="T74" fmla="*/ 30 w 172"/>
                <a:gd name="T75" fmla="*/ 49 h 147"/>
                <a:gd name="T76" fmla="*/ 25 w 172"/>
                <a:gd name="T77" fmla="*/ 49 h 147"/>
                <a:gd name="T78" fmla="*/ 23 w 172"/>
                <a:gd name="T79" fmla="*/ 42 h 147"/>
                <a:gd name="T80" fmla="*/ 16 w 172"/>
                <a:gd name="T81" fmla="*/ 37 h 147"/>
                <a:gd name="T82" fmla="*/ 21 w 172"/>
                <a:gd name="T83" fmla="*/ 33 h 147"/>
                <a:gd name="T84" fmla="*/ 21 w 172"/>
                <a:gd name="T85" fmla="*/ 28 h 147"/>
                <a:gd name="T86" fmla="*/ 16 w 172"/>
                <a:gd name="T87" fmla="*/ 26 h 147"/>
                <a:gd name="T88" fmla="*/ 11 w 172"/>
                <a:gd name="T89" fmla="*/ 21 h 147"/>
                <a:gd name="T90" fmla="*/ 7 w 172"/>
                <a:gd name="T91" fmla="*/ 16 h 147"/>
                <a:gd name="T92" fmla="*/ 2 w 172"/>
                <a:gd name="T93" fmla="*/ 12 h 147"/>
                <a:gd name="T94" fmla="*/ 2 w 172"/>
                <a:gd name="T95" fmla="*/ 7 h 147"/>
                <a:gd name="T96" fmla="*/ 2 w 172"/>
                <a:gd name="T97" fmla="*/ 2 h 147"/>
                <a:gd name="T98" fmla="*/ 14 w 172"/>
                <a:gd name="T99" fmla="*/ 5 h 147"/>
                <a:gd name="T100" fmla="*/ 23 w 172"/>
                <a:gd name="T101" fmla="*/ 5 h 147"/>
                <a:gd name="T102" fmla="*/ 35 w 172"/>
                <a:gd name="T103" fmla="*/ 5 h 147"/>
                <a:gd name="T104" fmla="*/ 46 w 172"/>
                <a:gd name="T105" fmla="*/ 5 h 147"/>
                <a:gd name="T106" fmla="*/ 56 w 172"/>
                <a:gd name="T107" fmla="*/ 2 h 147"/>
                <a:gd name="T108" fmla="*/ 69 w 172"/>
                <a:gd name="T109" fmla="*/ 2 h 147"/>
                <a:gd name="T110" fmla="*/ 83 w 172"/>
                <a:gd name="T111" fmla="*/ 2 h 147"/>
                <a:gd name="T112" fmla="*/ 93 w 172"/>
                <a:gd name="T113" fmla="*/ 0 h 147"/>
                <a:gd name="T114" fmla="*/ 100 w 172"/>
                <a:gd name="T115"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47">
                  <a:moveTo>
                    <a:pt x="107" y="7"/>
                  </a:moveTo>
                  <a:lnTo>
                    <a:pt x="104" y="9"/>
                  </a:lnTo>
                  <a:lnTo>
                    <a:pt x="104" y="12"/>
                  </a:lnTo>
                  <a:lnTo>
                    <a:pt x="104" y="14"/>
                  </a:lnTo>
                  <a:lnTo>
                    <a:pt x="104" y="19"/>
                  </a:lnTo>
                  <a:lnTo>
                    <a:pt x="104" y="21"/>
                  </a:lnTo>
                  <a:lnTo>
                    <a:pt x="107" y="21"/>
                  </a:lnTo>
                  <a:lnTo>
                    <a:pt x="107" y="23"/>
                  </a:lnTo>
                  <a:lnTo>
                    <a:pt x="107" y="26"/>
                  </a:lnTo>
                  <a:lnTo>
                    <a:pt x="109" y="28"/>
                  </a:lnTo>
                  <a:lnTo>
                    <a:pt x="116" y="35"/>
                  </a:lnTo>
                  <a:lnTo>
                    <a:pt x="116" y="37"/>
                  </a:lnTo>
                  <a:lnTo>
                    <a:pt x="123" y="40"/>
                  </a:lnTo>
                  <a:lnTo>
                    <a:pt x="123" y="42"/>
                  </a:lnTo>
                  <a:lnTo>
                    <a:pt x="125" y="42"/>
                  </a:lnTo>
                  <a:lnTo>
                    <a:pt x="125" y="44"/>
                  </a:lnTo>
                  <a:lnTo>
                    <a:pt x="125" y="47"/>
                  </a:lnTo>
                  <a:lnTo>
                    <a:pt x="125" y="49"/>
                  </a:lnTo>
                  <a:lnTo>
                    <a:pt x="125" y="51"/>
                  </a:lnTo>
                  <a:lnTo>
                    <a:pt x="128" y="54"/>
                  </a:lnTo>
                  <a:lnTo>
                    <a:pt x="130" y="54"/>
                  </a:lnTo>
                  <a:lnTo>
                    <a:pt x="132" y="51"/>
                  </a:lnTo>
                  <a:lnTo>
                    <a:pt x="135" y="51"/>
                  </a:lnTo>
                  <a:lnTo>
                    <a:pt x="137" y="51"/>
                  </a:lnTo>
                  <a:lnTo>
                    <a:pt x="139" y="54"/>
                  </a:lnTo>
                  <a:lnTo>
                    <a:pt x="142" y="56"/>
                  </a:lnTo>
                  <a:lnTo>
                    <a:pt x="139" y="56"/>
                  </a:lnTo>
                  <a:lnTo>
                    <a:pt x="139" y="58"/>
                  </a:lnTo>
                  <a:lnTo>
                    <a:pt x="139" y="61"/>
                  </a:lnTo>
                  <a:lnTo>
                    <a:pt x="139" y="63"/>
                  </a:lnTo>
                  <a:lnTo>
                    <a:pt x="137" y="65"/>
                  </a:lnTo>
                  <a:lnTo>
                    <a:pt x="137" y="68"/>
                  </a:lnTo>
                  <a:lnTo>
                    <a:pt x="137" y="70"/>
                  </a:lnTo>
                  <a:lnTo>
                    <a:pt x="135" y="70"/>
                  </a:lnTo>
                  <a:lnTo>
                    <a:pt x="135" y="72"/>
                  </a:lnTo>
                  <a:lnTo>
                    <a:pt x="137" y="75"/>
                  </a:lnTo>
                  <a:lnTo>
                    <a:pt x="139" y="77"/>
                  </a:lnTo>
                  <a:lnTo>
                    <a:pt x="139" y="79"/>
                  </a:lnTo>
                  <a:lnTo>
                    <a:pt x="142" y="79"/>
                  </a:lnTo>
                  <a:lnTo>
                    <a:pt x="144" y="82"/>
                  </a:lnTo>
                  <a:lnTo>
                    <a:pt x="146" y="82"/>
                  </a:lnTo>
                  <a:lnTo>
                    <a:pt x="149" y="82"/>
                  </a:lnTo>
                  <a:lnTo>
                    <a:pt x="149" y="84"/>
                  </a:lnTo>
                  <a:lnTo>
                    <a:pt x="151" y="84"/>
                  </a:lnTo>
                  <a:lnTo>
                    <a:pt x="153" y="86"/>
                  </a:lnTo>
                  <a:lnTo>
                    <a:pt x="156" y="89"/>
                  </a:lnTo>
                  <a:lnTo>
                    <a:pt x="158" y="91"/>
                  </a:lnTo>
                  <a:lnTo>
                    <a:pt x="158" y="93"/>
                  </a:lnTo>
                  <a:lnTo>
                    <a:pt x="158" y="95"/>
                  </a:lnTo>
                  <a:lnTo>
                    <a:pt x="160" y="95"/>
                  </a:lnTo>
                  <a:lnTo>
                    <a:pt x="160" y="98"/>
                  </a:lnTo>
                  <a:lnTo>
                    <a:pt x="160" y="100"/>
                  </a:lnTo>
                  <a:lnTo>
                    <a:pt x="160" y="102"/>
                  </a:lnTo>
                  <a:lnTo>
                    <a:pt x="160" y="105"/>
                  </a:lnTo>
                  <a:lnTo>
                    <a:pt x="163" y="107"/>
                  </a:lnTo>
                  <a:lnTo>
                    <a:pt x="163" y="109"/>
                  </a:lnTo>
                  <a:lnTo>
                    <a:pt x="165" y="109"/>
                  </a:lnTo>
                  <a:lnTo>
                    <a:pt x="165" y="112"/>
                  </a:lnTo>
                  <a:lnTo>
                    <a:pt x="167" y="112"/>
                  </a:lnTo>
                  <a:lnTo>
                    <a:pt x="167" y="109"/>
                  </a:lnTo>
                  <a:lnTo>
                    <a:pt x="165" y="109"/>
                  </a:lnTo>
                  <a:lnTo>
                    <a:pt x="167" y="109"/>
                  </a:lnTo>
                  <a:lnTo>
                    <a:pt x="167" y="112"/>
                  </a:lnTo>
                  <a:lnTo>
                    <a:pt x="170" y="112"/>
                  </a:lnTo>
                  <a:lnTo>
                    <a:pt x="170" y="114"/>
                  </a:lnTo>
                  <a:lnTo>
                    <a:pt x="170" y="116"/>
                  </a:lnTo>
                  <a:lnTo>
                    <a:pt x="170" y="119"/>
                  </a:lnTo>
                  <a:lnTo>
                    <a:pt x="172" y="119"/>
                  </a:lnTo>
                  <a:lnTo>
                    <a:pt x="170" y="119"/>
                  </a:lnTo>
                  <a:lnTo>
                    <a:pt x="170" y="121"/>
                  </a:lnTo>
                  <a:lnTo>
                    <a:pt x="170" y="123"/>
                  </a:lnTo>
                  <a:lnTo>
                    <a:pt x="170" y="126"/>
                  </a:lnTo>
                  <a:lnTo>
                    <a:pt x="167" y="126"/>
                  </a:lnTo>
                  <a:lnTo>
                    <a:pt x="167" y="123"/>
                  </a:lnTo>
                  <a:lnTo>
                    <a:pt x="165" y="123"/>
                  </a:lnTo>
                  <a:lnTo>
                    <a:pt x="165" y="126"/>
                  </a:lnTo>
                  <a:lnTo>
                    <a:pt x="165" y="128"/>
                  </a:lnTo>
                  <a:lnTo>
                    <a:pt x="163" y="128"/>
                  </a:lnTo>
                  <a:lnTo>
                    <a:pt x="163" y="130"/>
                  </a:lnTo>
                  <a:lnTo>
                    <a:pt x="163" y="128"/>
                  </a:lnTo>
                  <a:lnTo>
                    <a:pt x="163" y="126"/>
                  </a:lnTo>
                  <a:lnTo>
                    <a:pt x="160" y="126"/>
                  </a:lnTo>
                  <a:lnTo>
                    <a:pt x="160" y="128"/>
                  </a:lnTo>
                  <a:lnTo>
                    <a:pt x="160" y="130"/>
                  </a:lnTo>
                  <a:lnTo>
                    <a:pt x="163" y="133"/>
                  </a:lnTo>
                  <a:lnTo>
                    <a:pt x="160" y="133"/>
                  </a:lnTo>
                  <a:lnTo>
                    <a:pt x="160" y="135"/>
                  </a:lnTo>
                  <a:lnTo>
                    <a:pt x="158" y="135"/>
                  </a:lnTo>
                  <a:lnTo>
                    <a:pt x="158" y="137"/>
                  </a:lnTo>
                  <a:lnTo>
                    <a:pt x="160" y="137"/>
                  </a:lnTo>
                  <a:lnTo>
                    <a:pt x="160" y="140"/>
                  </a:lnTo>
                  <a:lnTo>
                    <a:pt x="158" y="140"/>
                  </a:lnTo>
                  <a:lnTo>
                    <a:pt x="158" y="142"/>
                  </a:lnTo>
                  <a:lnTo>
                    <a:pt x="158" y="144"/>
                  </a:lnTo>
                  <a:lnTo>
                    <a:pt x="153" y="144"/>
                  </a:lnTo>
                  <a:lnTo>
                    <a:pt x="151" y="144"/>
                  </a:lnTo>
                  <a:lnTo>
                    <a:pt x="146" y="144"/>
                  </a:lnTo>
                  <a:lnTo>
                    <a:pt x="142" y="147"/>
                  </a:lnTo>
                  <a:lnTo>
                    <a:pt x="139" y="147"/>
                  </a:lnTo>
                  <a:lnTo>
                    <a:pt x="139" y="144"/>
                  </a:lnTo>
                  <a:lnTo>
                    <a:pt x="142" y="144"/>
                  </a:lnTo>
                  <a:lnTo>
                    <a:pt x="142" y="142"/>
                  </a:lnTo>
                  <a:lnTo>
                    <a:pt x="144" y="142"/>
                  </a:lnTo>
                  <a:lnTo>
                    <a:pt x="144" y="140"/>
                  </a:lnTo>
                  <a:lnTo>
                    <a:pt x="146" y="140"/>
                  </a:lnTo>
                  <a:lnTo>
                    <a:pt x="146" y="137"/>
                  </a:lnTo>
                  <a:lnTo>
                    <a:pt x="149" y="137"/>
                  </a:lnTo>
                  <a:lnTo>
                    <a:pt x="149" y="135"/>
                  </a:lnTo>
                  <a:lnTo>
                    <a:pt x="149" y="133"/>
                  </a:lnTo>
                  <a:lnTo>
                    <a:pt x="146" y="133"/>
                  </a:lnTo>
                  <a:lnTo>
                    <a:pt x="146" y="130"/>
                  </a:lnTo>
                  <a:lnTo>
                    <a:pt x="144" y="130"/>
                  </a:lnTo>
                  <a:lnTo>
                    <a:pt x="144" y="128"/>
                  </a:lnTo>
                  <a:lnTo>
                    <a:pt x="144" y="130"/>
                  </a:lnTo>
                  <a:lnTo>
                    <a:pt x="137" y="130"/>
                  </a:lnTo>
                  <a:lnTo>
                    <a:pt x="130" y="130"/>
                  </a:lnTo>
                  <a:lnTo>
                    <a:pt x="123" y="130"/>
                  </a:lnTo>
                  <a:lnTo>
                    <a:pt x="116" y="130"/>
                  </a:lnTo>
                  <a:lnTo>
                    <a:pt x="109" y="130"/>
                  </a:lnTo>
                  <a:lnTo>
                    <a:pt x="100" y="133"/>
                  </a:lnTo>
                  <a:lnTo>
                    <a:pt x="93" y="133"/>
                  </a:lnTo>
                  <a:lnTo>
                    <a:pt x="86" y="133"/>
                  </a:lnTo>
                  <a:lnTo>
                    <a:pt x="79" y="133"/>
                  </a:lnTo>
                  <a:lnTo>
                    <a:pt x="72" y="133"/>
                  </a:lnTo>
                  <a:lnTo>
                    <a:pt x="65" y="133"/>
                  </a:lnTo>
                  <a:lnTo>
                    <a:pt x="58" y="133"/>
                  </a:lnTo>
                  <a:lnTo>
                    <a:pt x="51" y="133"/>
                  </a:lnTo>
                  <a:lnTo>
                    <a:pt x="44" y="133"/>
                  </a:lnTo>
                  <a:lnTo>
                    <a:pt x="37" y="133"/>
                  </a:lnTo>
                  <a:lnTo>
                    <a:pt x="30" y="135"/>
                  </a:lnTo>
                  <a:lnTo>
                    <a:pt x="30" y="130"/>
                  </a:lnTo>
                  <a:lnTo>
                    <a:pt x="30" y="126"/>
                  </a:lnTo>
                  <a:lnTo>
                    <a:pt x="30" y="121"/>
                  </a:lnTo>
                  <a:lnTo>
                    <a:pt x="30" y="119"/>
                  </a:lnTo>
                  <a:lnTo>
                    <a:pt x="30" y="114"/>
                  </a:lnTo>
                  <a:lnTo>
                    <a:pt x="30" y="109"/>
                  </a:lnTo>
                  <a:lnTo>
                    <a:pt x="30" y="105"/>
                  </a:lnTo>
                  <a:lnTo>
                    <a:pt x="30" y="102"/>
                  </a:lnTo>
                  <a:lnTo>
                    <a:pt x="30" y="98"/>
                  </a:lnTo>
                  <a:lnTo>
                    <a:pt x="30" y="93"/>
                  </a:lnTo>
                  <a:lnTo>
                    <a:pt x="30" y="89"/>
                  </a:lnTo>
                  <a:lnTo>
                    <a:pt x="30" y="86"/>
                  </a:lnTo>
                  <a:lnTo>
                    <a:pt x="30" y="82"/>
                  </a:lnTo>
                  <a:lnTo>
                    <a:pt x="30" y="77"/>
                  </a:lnTo>
                  <a:lnTo>
                    <a:pt x="30" y="72"/>
                  </a:lnTo>
                  <a:lnTo>
                    <a:pt x="30" y="70"/>
                  </a:lnTo>
                  <a:lnTo>
                    <a:pt x="30" y="65"/>
                  </a:lnTo>
                  <a:lnTo>
                    <a:pt x="30" y="61"/>
                  </a:lnTo>
                  <a:lnTo>
                    <a:pt x="30" y="56"/>
                  </a:lnTo>
                  <a:lnTo>
                    <a:pt x="30" y="54"/>
                  </a:lnTo>
                  <a:lnTo>
                    <a:pt x="30" y="51"/>
                  </a:lnTo>
                  <a:lnTo>
                    <a:pt x="30" y="49"/>
                  </a:lnTo>
                  <a:lnTo>
                    <a:pt x="28" y="49"/>
                  </a:lnTo>
                  <a:lnTo>
                    <a:pt x="30" y="49"/>
                  </a:lnTo>
                  <a:lnTo>
                    <a:pt x="28" y="49"/>
                  </a:lnTo>
                  <a:lnTo>
                    <a:pt x="25" y="49"/>
                  </a:lnTo>
                  <a:lnTo>
                    <a:pt x="23" y="47"/>
                  </a:lnTo>
                  <a:lnTo>
                    <a:pt x="23" y="44"/>
                  </a:lnTo>
                  <a:lnTo>
                    <a:pt x="21" y="42"/>
                  </a:lnTo>
                  <a:lnTo>
                    <a:pt x="23" y="42"/>
                  </a:lnTo>
                  <a:lnTo>
                    <a:pt x="21" y="42"/>
                  </a:lnTo>
                  <a:lnTo>
                    <a:pt x="18" y="40"/>
                  </a:lnTo>
                  <a:lnTo>
                    <a:pt x="18" y="37"/>
                  </a:lnTo>
                  <a:lnTo>
                    <a:pt x="16" y="37"/>
                  </a:lnTo>
                  <a:lnTo>
                    <a:pt x="16" y="35"/>
                  </a:lnTo>
                  <a:lnTo>
                    <a:pt x="18" y="35"/>
                  </a:lnTo>
                  <a:lnTo>
                    <a:pt x="18" y="33"/>
                  </a:lnTo>
                  <a:lnTo>
                    <a:pt x="21" y="33"/>
                  </a:lnTo>
                  <a:lnTo>
                    <a:pt x="21" y="30"/>
                  </a:lnTo>
                  <a:lnTo>
                    <a:pt x="23" y="30"/>
                  </a:lnTo>
                  <a:lnTo>
                    <a:pt x="23" y="28"/>
                  </a:lnTo>
                  <a:lnTo>
                    <a:pt x="21" y="28"/>
                  </a:lnTo>
                  <a:lnTo>
                    <a:pt x="21" y="26"/>
                  </a:lnTo>
                  <a:lnTo>
                    <a:pt x="18" y="26"/>
                  </a:lnTo>
                  <a:lnTo>
                    <a:pt x="16" y="28"/>
                  </a:lnTo>
                  <a:lnTo>
                    <a:pt x="16" y="26"/>
                  </a:lnTo>
                  <a:lnTo>
                    <a:pt x="14" y="26"/>
                  </a:lnTo>
                  <a:lnTo>
                    <a:pt x="14" y="23"/>
                  </a:lnTo>
                  <a:lnTo>
                    <a:pt x="11" y="23"/>
                  </a:lnTo>
                  <a:lnTo>
                    <a:pt x="11" y="21"/>
                  </a:lnTo>
                  <a:lnTo>
                    <a:pt x="9" y="21"/>
                  </a:lnTo>
                  <a:lnTo>
                    <a:pt x="9" y="19"/>
                  </a:lnTo>
                  <a:lnTo>
                    <a:pt x="9" y="16"/>
                  </a:lnTo>
                  <a:lnTo>
                    <a:pt x="7" y="16"/>
                  </a:lnTo>
                  <a:lnTo>
                    <a:pt x="7" y="14"/>
                  </a:lnTo>
                  <a:lnTo>
                    <a:pt x="4" y="14"/>
                  </a:lnTo>
                  <a:lnTo>
                    <a:pt x="4" y="12"/>
                  </a:lnTo>
                  <a:lnTo>
                    <a:pt x="2" y="12"/>
                  </a:lnTo>
                  <a:lnTo>
                    <a:pt x="4" y="12"/>
                  </a:lnTo>
                  <a:lnTo>
                    <a:pt x="4" y="9"/>
                  </a:lnTo>
                  <a:lnTo>
                    <a:pt x="2" y="9"/>
                  </a:lnTo>
                  <a:lnTo>
                    <a:pt x="2" y="7"/>
                  </a:lnTo>
                  <a:lnTo>
                    <a:pt x="2" y="5"/>
                  </a:lnTo>
                  <a:lnTo>
                    <a:pt x="0" y="5"/>
                  </a:lnTo>
                  <a:lnTo>
                    <a:pt x="0" y="2"/>
                  </a:lnTo>
                  <a:lnTo>
                    <a:pt x="2" y="2"/>
                  </a:lnTo>
                  <a:lnTo>
                    <a:pt x="4" y="5"/>
                  </a:lnTo>
                  <a:lnTo>
                    <a:pt x="7" y="5"/>
                  </a:lnTo>
                  <a:lnTo>
                    <a:pt x="9" y="5"/>
                  </a:lnTo>
                  <a:lnTo>
                    <a:pt x="14" y="5"/>
                  </a:lnTo>
                  <a:lnTo>
                    <a:pt x="16" y="5"/>
                  </a:lnTo>
                  <a:lnTo>
                    <a:pt x="18" y="5"/>
                  </a:lnTo>
                  <a:lnTo>
                    <a:pt x="21" y="5"/>
                  </a:lnTo>
                  <a:lnTo>
                    <a:pt x="23" y="5"/>
                  </a:lnTo>
                  <a:lnTo>
                    <a:pt x="25" y="5"/>
                  </a:lnTo>
                  <a:lnTo>
                    <a:pt x="30" y="5"/>
                  </a:lnTo>
                  <a:lnTo>
                    <a:pt x="32" y="5"/>
                  </a:lnTo>
                  <a:lnTo>
                    <a:pt x="35" y="5"/>
                  </a:lnTo>
                  <a:lnTo>
                    <a:pt x="37" y="5"/>
                  </a:lnTo>
                  <a:lnTo>
                    <a:pt x="39" y="5"/>
                  </a:lnTo>
                  <a:lnTo>
                    <a:pt x="44" y="5"/>
                  </a:lnTo>
                  <a:lnTo>
                    <a:pt x="46" y="5"/>
                  </a:lnTo>
                  <a:lnTo>
                    <a:pt x="49" y="2"/>
                  </a:lnTo>
                  <a:lnTo>
                    <a:pt x="51" y="2"/>
                  </a:lnTo>
                  <a:lnTo>
                    <a:pt x="53" y="2"/>
                  </a:lnTo>
                  <a:lnTo>
                    <a:pt x="56" y="2"/>
                  </a:lnTo>
                  <a:lnTo>
                    <a:pt x="60" y="2"/>
                  </a:lnTo>
                  <a:lnTo>
                    <a:pt x="63" y="2"/>
                  </a:lnTo>
                  <a:lnTo>
                    <a:pt x="65" y="2"/>
                  </a:lnTo>
                  <a:lnTo>
                    <a:pt x="69" y="2"/>
                  </a:lnTo>
                  <a:lnTo>
                    <a:pt x="74" y="2"/>
                  </a:lnTo>
                  <a:lnTo>
                    <a:pt x="79" y="2"/>
                  </a:lnTo>
                  <a:lnTo>
                    <a:pt x="81" y="2"/>
                  </a:lnTo>
                  <a:lnTo>
                    <a:pt x="83" y="2"/>
                  </a:lnTo>
                  <a:lnTo>
                    <a:pt x="86" y="2"/>
                  </a:lnTo>
                  <a:lnTo>
                    <a:pt x="88" y="2"/>
                  </a:lnTo>
                  <a:lnTo>
                    <a:pt x="90" y="0"/>
                  </a:lnTo>
                  <a:lnTo>
                    <a:pt x="93" y="0"/>
                  </a:lnTo>
                  <a:lnTo>
                    <a:pt x="95" y="0"/>
                  </a:lnTo>
                  <a:lnTo>
                    <a:pt x="97" y="0"/>
                  </a:lnTo>
                  <a:lnTo>
                    <a:pt x="100" y="0"/>
                  </a:lnTo>
                  <a:lnTo>
                    <a:pt x="100" y="2"/>
                  </a:lnTo>
                  <a:lnTo>
                    <a:pt x="102" y="5"/>
                  </a:lnTo>
                  <a:lnTo>
                    <a:pt x="104" y="7"/>
                  </a:lnTo>
                  <a:lnTo>
                    <a:pt x="107"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787">
              <a:extLst>
                <a:ext uri="{FF2B5EF4-FFF2-40B4-BE49-F238E27FC236}">
                  <a16:creationId xmlns:a16="http://schemas.microsoft.com/office/drawing/2014/main" id="{6AF8B062-DA24-4044-AF08-5712CDD302F0}"/>
                </a:ext>
              </a:extLst>
            </p:cNvPr>
            <p:cNvSpPr>
              <a:spLocks/>
            </p:cNvSpPr>
            <p:nvPr/>
          </p:nvSpPr>
          <p:spPr bwMode="auto">
            <a:xfrm>
              <a:off x="6253956" y="4527551"/>
              <a:ext cx="334963" cy="165100"/>
            </a:xfrm>
            <a:custGeom>
              <a:avLst/>
              <a:gdLst>
                <a:gd name="T0" fmla="*/ 186 w 211"/>
                <a:gd name="T1" fmla="*/ 28 h 104"/>
                <a:gd name="T2" fmla="*/ 186 w 211"/>
                <a:gd name="T3" fmla="*/ 30 h 104"/>
                <a:gd name="T4" fmla="*/ 186 w 211"/>
                <a:gd name="T5" fmla="*/ 34 h 104"/>
                <a:gd name="T6" fmla="*/ 188 w 211"/>
                <a:gd name="T7" fmla="*/ 39 h 104"/>
                <a:gd name="T8" fmla="*/ 190 w 211"/>
                <a:gd name="T9" fmla="*/ 41 h 104"/>
                <a:gd name="T10" fmla="*/ 193 w 211"/>
                <a:gd name="T11" fmla="*/ 46 h 104"/>
                <a:gd name="T12" fmla="*/ 193 w 211"/>
                <a:gd name="T13" fmla="*/ 48 h 104"/>
                <a:gd name="T14" fmla="*/ 193 w 211"/>
                <a:gd name="T15" fmla="*/ 53 h 104"/>
                <a:gd name="T16" fmla="*/ 193 w 211"/>
                <a:gd name="T17" fmla="*/ 55 h 104"/>
                <a:gd name="T18" fmla="*/ 195 w 211"/>
                <a:gd name="T19" fmla="*/ 55 h 104"/>
                <a:gd name="T20" fmla="*/ 195 w 211"/>
                <a:gd name="T21" fmla="*/ 55 h 104"/>
                <a:gd name="T22" fmla="*/ 195 w 211"/>
                <a:gd name="T23" fmla="*/ 58 h 104"/>
                <a:gd name="T24" fmla="*/ 197 w 211"/>
                <a:gd name="T25" fmla="*/ 62 h 104"/>
                <a:gd name="T26" fmla="*/ 197 w 211"/>
                <a:gd name="T27" fmla="*/ 65 h 104"/>
                <a:gd name="T28" fmla="*/ 197 w 211"/>
                <a:gd name="T29" fmla="*/ 69 h 104"/>
                <a:gd name="T30" fmla="*/ 197 w 211"/>
                <a:gd name="T31" fmla="*/ 69 h 104"/>
                <a:gd name="T32" fmla="*/ 197 w 211"/>
                <a:gd name="T33" fmla="*/ 72 h 104"/>
                <a:gd name="T34" fmla="*/ 200 w 211"/>
                <a:gd name="T35" fmla="*/ 74 h 104"/>
                <a:gd name="T36" fmla="*/ 200 w 211"/>
                <a:gd name="T37" fmla="*/ 79 h 104"/>
                <a:gd name="T38" fmla="*/ 197 w 211"/>
                <a:gd name="T39" fmla="*/ 81 h 104"/>
                <a:gd name="T40" fmla="*/ 200 w 211"/>
                <a:gd name="T41" fmla="*/ 83 h 104"/>
                <a:gd name="T42" fmla="*/ 200 w 211"/>
                <a:gd name="T43" fmla="*/ 86 h 104"/>
                <a:gd name="T44" fmla="*/ 202 w 211"/>
                <a:gd name="T45" fmla="*/ 88 h 104"/>
                <a:gd name="T46" fmla="*/ 202 w 211"/>
                <a:gd name="T47" fmla="*/ 90 h 104"/>
                <a:gd name="T48" fmla="*/ 204 w 211"/>
                <a:gd name="T49" fmla="*/ 93 h 104"/>
                <a:gd name="T50" fmla="*/ 204 w 211"/>
                <a:gd name="T51" fmla="*/ 95 h 104"/>
                <a:gd name="T52" fmla="*/ 207 w 211"/>
                <a:gd name="T53" fmla="*/ 95 h 104"/>
                <a:gd name="T54" fmla="*/ 209 w 211"/>
                <a:gd name="T55" fmla="*/ 100 h 104"/>
                <a:gd name="T56" fmla="*/ 209 w 211"/>
                <a:gd name="T57" fmla="*/ 102 h 104"/>
                <a:gd name="T58" fmla="*/ 202 w 211"/>
                <a:gd name="T59" fmla="*/ 104 h 104"/>
                <a:gd name="T60" fmla="*/ 169 w 211"/>
                <a:gd name="T61" fmla="*/ 104 h 104"/>
                <a:gd name="T62" fmla="*/ 139 w 211"/>
                <a:gd name="T63" fmla="*/ 102 h 104"/>
                <a:gd name="T64" fmla="*/ 109 w 211"/>
                <a:gd name="T65" fmla="*/ 102 h 104"/>
                <a:gd name="T66" fmla="*/ 79 w 211"/>
                <a:gd name="T67" fmla="*/ 100 h 104"/>
                <a:gd name="T68" fmla="*/ 46 w 211"/>
                <a:gd name="T69" fmla="*/ 97 h 104"/>
                <a:gd name="T70" fmla="*/ 48 w 211"/>
                <a:gd name="T71" fmla="*/ 86 h 104"/>
                <a:gd name="T72" fmla="*/ 48 w 211"/>
                <a:gd name="T73" fmla="*/ 74 h 104"/>
                <a:gd name="T74" fmla="*/ 44 w 211"/>
                <a:gd name="T75" fmla="*/ 67 h 104"/>
                <a:gd name="T76" fmla="*/ 27 w 211"/>
                <a:gd name="T77" fmla="*/ 65 h 104"/>
                <a:gd name="T78" fmla="*/ 9 w 211"/>
                <a:gd name="T79" fmla="*/ 65 h 104"/>
                <a:gd name="T80" fmla="*/ 2 w 211"/>
                <a:gd name="T81" fmla="*/ 51 h 104"/>
                <a:gd name="T82" fmla="*/ 4 w 211"/>
                <a:gd name="T83" fmla="*/ 28 h 104"/>
                <a:gd name="T84" fmla="*/ 7 w 211"/>
                <a:gd name="T85" fmla="*/ 4 h 104"/>
                <a:gd name="T86" fmla="*/ 27 w 211"/>
                <a:gd name="T87" fmla="*/ 2 h 104"/>
                <a:gd name="T88" fmla="*/ 51 w 211"/>
                <a:gd name="T89" fmla="*/ 2 h 104"/>
                <a:gd name="T90" fmla="*/ 74 w 211"/>
                <a:gd name="T91" fmla="*/ 4 h 104"/>
                <a:gd name="T92" fmla="*/ 100 w 211"/>
                <a:gd name="T93" fmla="*/ 7 h 104"/>
                <a:gd name="T94" fmla="*/ 123 w 211"/>
                <a:gd name="T95" fmla="*/ 7 h 104"/>
                <a:gd name="T96" fmla="*/ 137 w 211"/>
                <a:gd name="T97" fmla="*/ 7 h 104"/>
                <a:gd name="T98" fmla="*/ 139 w 211"/>
                <a:gd name="T99" fmla="*/ 9 h 104"/>
                <a:gd name="T100" fmla="*/ 146 w 211"/>
                <a:gd name="T101" fmla="*/ 14 h 104"/>
                <a:gd name="T102" fmla="*/ 151 w 211"/>
                <a:gd name="T103" fmla="*/ 14 h 104"/>
                <a:gd name="T104" fmla="*/ 151 w 211"/>
                <a:gd name="T105" fmla="*/ 11 h 104"/>
                <a:gd name="T106" fmla="*/ 155 w 211"/>
                <a:gd name="T107" fmla="*/ 11 h 104"/>
                <a:gd name="T108" fmla="*/ 165 w 211"/>
                <a:gd name="T109" fmla="*/ 11 h 104"/>
                <a:gd name="T110" fmla="*/ 167 w 211"/>
                <a:gd name="T111" fmla="*/ 14 h 104"/>
                <a:gd name="T112" fmla="*/ 172 w 211"/>
                <a:gd name="T113" fmla="*/ 16 h 104"/>
                <a:gd name="T114" fmla="*/ 174 w 211"/>
                <a:gd name="T115" fmla="*/ 16 h 104"/>
                <a:gd name="T116" fmla="*/ 176 w 211"/>
                <a:gd name="T117" fmla="*/ 18 h 104"/>
                <a:gd name="T118" fmla="*/ 179 w 211"/>
                <a:gd name="T119" fmla="*/ 18 h 104"/>
                <a:gd name="T120" fmla="*/ 179 w 211"/>
                <a:gd name="T121"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1" h="104">
                  <a:moveTo>
                    <a:pt x="183" y="23"/>
                  </a:moveTo>
                  <a:lnTo>
                    <a:pt x="183" y="23"/>
                  </a:lnTo>
                  <a:lnTo>
                    <a:pt x="186" y="23"/>
                  </a:lnTo>
                  <a:lnTo>
                    <a:pt x="186" y="23"/>
                  </a:lnTo>
                  <a:lnTo>
                    <a:pt x="186" y="25"/>
                  </a:lnTo>
                  <a:lnTo>
                    <a:pt x="186" y="28"/>
                  </a:lnTo>
                  <a:lnTo>
                    <a:pt x="186" y="28"/>
                  </a:lnTo>
                  <a:lnTo>
                    <a:pt x="186" y="30"/>
                  </a:lnTo>
                  <a:lnTo>
                    <a:pt x="186" y="30"/>
                  </a:lnTo>
                  <a:lnTo>
                    <a:pt x="186" y="30"/>
                  </a:lnTo>
                  <a:lnTo>
                    <a:pt x="186" y="30"/>
                  </a:lnTo>
                  <a:lnTo>
                    <a:pt x="186" y="30"/>
                  </a:lnTo>
                  <a:lnTo>
                    <a:pt x="186" y="32"/>
                  </a:lnTo>
                  <a:lnTo>
                    <a:pt x="186" y="32"/>
                  </a:lnTo>
                  <a:lnTo>
                    <a:pt x="186" y="32"/>
                  </a:lnTo>
                  <a:lnTo>
                    <a:pt x="186" y="32"/>
                  </a:lnTo>
                  <a:lnTo>
                    <a:pt x="186" y="34"/>
                  </a:lnTo>
                  <a:lnTo>
                    <a:pt x="186" y="34"/>
                  </a:lnTo>
                  <a:lnTo>
                    <a:pt x="188" y="34"/>
                  </a:lnTo>
                  <a:lnTo>
                    <a:pt x="188" y="34"/>
                  </a:lnTo>
                  <a:lnTo>
                    <a:pt x="188" y="37"/>
                  </a:lnTo>
                  <a:lnTo>
                    <a:pt x="188" y="37"/>
                  </a:lnTo>
                  <a:lnTo>
                    <a:pt x="188" y="37"/>
                  </a:lnTo>
                  <a:lnTo>
                    <a:pt x="188" y="39"/>
                  </a:lnTo>
                  <a:lnTo>
                    <a:pt x="188" y="39"/>
                  </a:lnTo>
                  <a:lnTo>
                    <a:pt x="190" y="39"/>
                  </a:lnTo>
                  <a:lnTo>
                    <a:pt x="190" y="39"/>
                  </a:lnTo>
                  <a:lnTo>
                    <a:pt x="190" y="41"/>
                  </a:lnTo>
                  <a:lnTo>
                    <a:pt x="190" y="41"/>
                  </a:lnTo>
                  <a:lnTo>
                    <a:pt x="190" y="41"/>
                  </a:lnTo>
                  <a:lnTo>
                    <a:pt x="190" y="44"/>
                  </a:lnTo>
                  <a:lnTo>
                    <a:pt x="190" y="44"/>
                  </a:lnTo>
                  <a:lnTo>
                    <a:pt x="190" y="44"/>
                  </a:lnTo>
                  <a:lnTo>
                    <a:pt x="190" y="44"/>
                  </a:lnTo>
                  <a:lnTo>
                    <a:pt x="193" y="46"/>
                  </a:lnTo>
                  <a:lnTo>
                    <a:pt x="193" y="46"/>
                  </a:lnTo>
                  <a:lnTo>
                    <a:pt x="193" y="46"/>
                  </a:lnTo>
                  <a:lnTo>
                    <a:pt x="193" y="48"/>
                  </a:lnTo>
                  <a:lnTo>
                    <a:pt x="193" y="48"/>
                  </a:lnTo>
                  <a:lnTo>
                    <a:pt x="193" y="48"/>
                  </a:lnTo>
                  <a:lnTo>
                    <a:pt x="193" y="48"/>
                  </a:lnTo>
                  <a:lnTo>
                    <a:pt x="193" y="48"/>
                  </a:lnTo>
                  <a:lnTo>
                    <a:pt x="193" y="48"/>
                  </a:lnTo>
                  <a:lnTo>
                    <a:pt x="193" y="48"/>
                  </a:lnTo>
                  <a:lnTo>
                    <a:pt x="193" y="51"/>
                  </a:lnTo>
                  <a:lnTo>
                    <a:pt x="193" y="51"/>
                  </a:lnTo>
                  <a:lnTo>
                    <a:pt x="193" y="51"/>
                  </a:lnTo>
                  <a:lnTo>
                    <a:pt x="193" y="53"/>
                  </a:lnTo>
                  <a:lnTo>
                    <a:pt x="193" y="53"/>
                  </a:lnTo>
                  <a:lnTo>
                    <a:pt x="193" y="53"/>
                  </a:lnTo>
                  <a:lnTo>
                    <a:pt x="193" y="53"/>
                  </a:lnTo>
                  <a:lnTo>
                    <a:pt x="193" y="53"/>
                  </a:lnTo>
                  <a:lnTo>
                    <a:pt x="193" y="55"/>
                  </a:lnTo>
                  <a:lnTo>
                    <a:pt x="193" y="55"/>
                  </a:lnTo>
                  <a:lnTo>
                    <a:pt x="195" y="53"/>
                  </a:lnTo>
                  <a:lnTo>
                    <a:pt x="195" y="53"/>
                  </a:lnTo>
                  <a:lnTo>
                    <a:pt x="195" y="53"/>
                  </a:lnTo>
                  <a:lnTo>
                    <a:pt x="195" y="55"/>
                  </a:lnTo>
                  <a:lnTo>
                    <a:pt x="195" y="55"/>
                  </a:lnTo>
                  <a:lnTo>
                    <a:pt x="195" y="55"/>
                  </a:lnTo>
                  <a:lnTo>
                    <a:pt x="195" y="55"/>
                  </a:lnTo>
                  <a:lnTo>
                    <a:pt x="195" y="55"/>
                  </a:lnTo>
                  <a:lnTo>
                    <a:pt x="195" y="55"/>
                  </a:lnTo>
                  <a:lnTo>
                    <a:pt x="195" y="55"/>
                  </a:lnTo>
                  <a:lnTo>
                    <a:pt x="195" y="55"/>
                  </a:lnTo>
                  <a:lnTo>
                    <a:pt x="195" y="55"/>
                  </a:lnTo>
                  <a:lnTo>
                    <a:pt x="195" y="58"/>
                  </a:lnTo>
                  <a:lnTo>
                    <a:pt x="195" y="58"/>
                  </a:lnTo>
                  <a:lnTo>
                    <a:pt x="197" y="58"/>
                  </a:lnTo>
                  <a:lnTo>
                    <a:pt x="197" y="58"/>
                  </a:lnTo>
                  <a:lnTo>
                    <a:pt x="197" y="58"/>
                  </a:lnTo>
                  <a:lnTo>
                    <a:pt x="195" y="58"/>
                  </a:lnTo>
                  <a:lnTo>
                    <a:pt x="195" y="60"/>
                  </a:lnTo>
                  <a:lnTo>
                    <a:pt x="195" y="60"/>
                  </a:lnTo>
                  <a:lnTo>
                    <a:pt x="197" y="62"/>
                  </a:lnTo>
                  <a:lnTo>
                    <a:pt x="197" y="62"/>
                  </a:lnTo>
                  <a:lnTo>
                    <a:pt x="197" y="62"/>
                  </a:lnTo>
                  <a:lnTo>
                    <a:pt x="197" y="62"/>
                  </a:lnTo>
                  <a:lnTo>
                    <a:pt x="197" y="62"/>
                  </a:lnTo>
                  <a:lnTo>
                    <a:pt x="197" y="62"/>
                  </a:lnTo>
                  <a:lnTo>
                    <a:pt x="197" y="65"/>
                  </a:lnTo>
                  <a:lnTo>
                    <a:pt x="197" y="65"/>
                  </a:lnTo>
                  <a:lnTo>
                    <a:pt x="197" y="65"/>
                  </a:lnTo>
                  <a:lnTo>
                    <a:pt x="197" y="65"/>
                  </a:lnTo>
                  <a:lnTo>
                    <a:pt x="197" y="67"/>
                  </a:lnTo>
                  <a:lnTo>
                    <a:pt x="197" y="67"/>
                  </a:lnTo>
                  <a:lnTo>
                    <a:pt x="197" y="67"/>
                  </a:lnTo>
                  <a:lnTo>
                    <a:pt x="197" y="67"/>
                  </a:lnTo>
                  <a:lnTo>
                    <a:pt x="197" y="69"/>
                  </a:lnTo>
                  <a:lnTo>
                    <a:pt x="197" y="69"/>
                  </a:lnTo>
                  <a:lnTo>
                    <a:pt x="197" y="69"/>
                  </a:lnTo>
                  <a:lnTo>
                    <a:pt x="197" y="69"/>
                  </a:lnTo>
                  <a:lnTo>
                    <a:pt x="197" y="69"/>
                  </a:lnTo>
                  <a:lnTo>
                    <a:pt x="197" y="69"/>
                  </a:lnTo>
                  <a:lnTo>
                    <a:pt x="197" y="69"/>
                  </a:lnTo>
                  <a:lnTo>
                    <a:pt x="197" y="69"/>
                  </a:lnTo>
                  <a:lnTo>
                    <a:pt x="197" y="69"/>
                  </a:lnTo>
                  <a:lnTo>
                    <a:pt x="197" y="69"/>
                  </a:lnTo>
                  <a:lnTo>
                    <a:pt x="197" y="72"/>
                  </a:lnTo>
                  <a:lnTo>
                    <a:pt x="197" y="72"/>
                  </a:lnTo>
                  <a:lnTo>
                    <a:pt x="197" y="72"/>
                  </a:lnTo>
                  <a:lnTo>
                    <a:pt x="197" y="72"/>
                  </a:lnTo>
                  <a:lnTo>
                    <a:pt x="197" y="72"/>
                  </a:lnTo>
                  <a:lnTo>
                    <a:pt x="200" y="72"/>
                  </a:lnTo>
                  <a:lnTo>
                    <a:pt x="200" y="72"/>
                  </a:lnTo>
                  <a:lnTo>
                    <a:pt x="197" y="74"/>
                  </a:lnTo>
                  <a:lnTo>
                    <a:pt x="197" y="74"/>
                  </a:lnTo>
                  <a:lnTo>
                    <a:pt x="200" y="74"/>
                  </a:lnTo>
                  <a:lnTo>
                    <a:pt x="200" y="76"/>
                  </a:lnTo>
                  <a:lnTo>
                    <a:pt x="200" y="76"/>
                  </a:lnTo>
                  <a:lnTo>
                    <a:pt x="200" y="76"/>
                  </a:lnTo>
                  <a:lnTo>
                    <a:pt x="197" y="76"/>
                  </a:lnTo>
                  <a:lnTo>
                    <a:pt x="197" y="79"/>
                  </a:lnTo>
                  <a:lnTo>
                    <a:pt x="200" y="79"/>
                  </a:lnTo>
                  <a:lnTo>
                    <a:pt x="200" y="79"/>
                  </a:lnTo>
                  <a:lnTo>
                    <a:pt x="197" y="79"/>
                  </a:lnTo>
                  <a:lnTo>
                    <a:pt x="197" y="79"/>
                  </a:lnTo>
                  <a:lnTo>
                    <a:pt x="197" y="79"/>
                  </a:lnTo>
                  <a:lnTo>
                    <a:pt x="197" y="81"/>
                  </a:lnTo>
                  <a:lnTo>
                    <a:pt x="197" y="81"/>
                  </a:lnTo>
                  <a:lnTo>
                    <a:pt x="197" y="81"/>
                  </a:lnTo>
                  <a:lnTo>
                    <a:pt x="197" y="81"/>
                  </a:lnTo>
                  <a:lnTo>
                    <a:pt x="197" y="81"/>
                  </a:lnTo>
                  <a:lnTo>
                    <a:pt x="197" y="81"/>
                  </a:lnTo>
                  <a:lnTo>
                    <a:pt x="200" y="81"/>
                  </a:lnTo>
                  <a:lnTo>
                    <a:pt x="200" y="83"/>
                  </a:lnTo>
                  <a:lnTo>
                    <a:pt x="200" y="83"/>
                  </a:lnTo>
                  <a:lnTo>
                    <a:pt x="200" y="83"/>
                  </a:lnTo>
                  <a:lnTo>
                    <a:pt x="200" y="83"/>
                  </a:lnTo>
                  <a:lnTo>
                    <a:pt x="200" y="86"/>
                  </a:lnTo>
                  <a:lnTo>
                    <a:pt x="200" y="86"/>
                  </a:lnTo>
                  <a:lnTo>
                    <a:pt x="200" y="86"/>
                  </a:lnTo>
                  <a:lnTo>
                    <a:pt x="202" y="86"/>
                  </a:lnTo>
                  <a:lnTo>
                    <a:pt x="202" y="86"/>
                  </a:lnTo>
                  <a:lnTo>
                    <a:pt x="202" y="88"/>
                  </a:lnTo>
                  <a:lnTo>
                    <a:pt x="202" y="88"/>
                  </a:lnTo>
                  <a:lnTo>
                    <a:pt x="202" y="88"/>
                  </a:lnTo>
                  <a:lnTo>
                    <a:pt x="202" y="88"/>
                  </a:lnTo>
                  <a:lnTo>
                    <a:pt x="202" y="88"/>
                  </a:lnTo>
                  <a:lnTo>
                    <a:pt x="202" y="90"/>
                  </a:lnTo>
                  <a:lnTo>
                    <a:pt x="202" y="90"/>
                  </a:lnTo>
                  <a:lnTo>
                    <a:pt x="202" y="90"/>
                  </a:lnTo>
                  <a:lnTo>
                    <a:pt x="202" y="90"/>
                  </a:lnTo>
                  <a:lnTo>
                    <a:pt x="202" y="90"/>
                  </a:lnTo>
                  <a:lnTo>
                    <a:pt x="202" y="90"/>
                  </a:lnTo>
                  <a:lnTo>
                    <a:pt x="204" y="90"/>
                  </a:lnTo>
                  <a:lnTo>
                    <a:pt x="204" y="93"/>
                  </a:lnTo>
                  <a:lnTo>
                    <a:pt x="204" y="93"/>
                  </a:lnTo>
                  <a:lnTo>
                    <a:pt x="204" y="93"/>
                  </a:lnTo>
                  <a:lnTo>
                    <a:pt x="204" y="93"/>
                  </a:lnTo>
                  <a:lnTo>
                    <a:pt x="202" y="93"/>
                  </a:lnTo>
                  <a:lnTo>
                    <a:pt x="202" y="93"/>
                  </a:lnTo>
                  <a:lnTo>
                    <a:pt x="204" y="93"/>
                  </a:lnTo>
                  <a:lnTo>
                    <a:pt x="204" y="93"/>
                  </a:lnTo>
                  <a:lnTo>
                    <a:pt x="204" y="93"/>
                  </a:lnTo>
                  <a:lnTo>
                    <a:pt x="204" y="95"/>
                  </a:lnTo>
                  <a:lnTo>
                    <a:pt x="204" y="95"/>
                  </a:lnTo>
                  <a:lnTo>
                    <a:pt x="204" y="95"/>
                  </a:lnTo>
                  <a:lnTo>
                    <a:pt x="207" y="95"/>
                  </a:lnTo>
                  <a:lnTo>
                    <a:pt x="207" y="95"/>
                  </a:lnTo>
                  <a:lnTo>
                    <a:pt x="207" y="95"/>
                  </a:lnTo>
                  <a:lnTo>
                    <a:pt x="207" y="95"/>
                  </a:lnTo>
                  <a:lnTo>
                    <a:pt x="207" y="95"/>
                  </a:lnTo>
                  <a:lnTo>
                    <a:pt x="207" y="97"/>
                  </a:lnTo>
                  <a:lnTo>
                    <a:pt x="207" y="97"/>
                  </a:lnTo>
                  <a:lnTo>
                    <a:pt x="209" y="97"/>
                  </a:lnTo>
                  <a:lnTo>
                    <a:pt x="209" y="100"/>
                  </a:lnTo>
                  <a:lnTo>
                    <a:pt x="209" y="100"/>
                  </a:lnTo>
                  <a:lnTo>
                    <a:pt x="209" y="100"/>
                  </a:lnTo>
                  <a:lnTo>
                    <a:pt x="209" y="100"/>
                  </a:lnTo>
                  <a:lnTo>
                    <a:pt x="209" y="100"/>
                  </a:lnTo>
                  <a:lnTo>
                    <a:pt x="209" y="100"/>
                  </a:lnTo>
                  <a:lnTo>
                    <a:pt x="209" y="102"/>
                  </a:lnTo>
                  <a:lnTo>
                    <a:pt x="209" y="102"/>
                  </a:lnTo>
                  <a:lnTo>
                    <a:pt x="209" y="102"/>
                  </a:lnTo>
                  <a:lnTo>
                    <a:pt x="211" y="102"/>
                  </a:lnTo>
                  <a:lnTo>
                    <a:pt x="211" y="102"/>
                  </a:lnTo>
                  <a:lnTo>
                    <a:pt x="211" y="104"/>
                  </a:lnTo>
                  <a:lnTo>
                    <a:pt x="207" y="104"/>
                  </a:lnTo>
                  <a:lnTo>
                    <a:pt x="202" y="104"/>
                  </a:lnTo>
                  <a:lnTo>
                    <a:pt x="195" y="104"/>
                  </a:lnTo>
                  <a:lnTo>
                    <a:pt x="190" y="104"/>
                  </a:lnTo>
                  <a:lnTo>
                    <a:pt x="186" y="104"/>
                  </a:lnTo>
                  <a:lnTo>
                    <a:pt x="181" y="104"/>
                  </a:lnTo>
                  <a:lnTo>
                    <a:pt x="176" y="104"/>
                  </a:lnTo>
                  <a:lnTo>
                    <a:pt x="169" y="104"/>
                  </a:lnTo>
                  <a:lnTo>
                    <a:pt x="165" y="104"/>
                  </a:lnTo>
                  <a:lnTo>
                    <a:pt x="160" y="104"/>
                  </a:lnTo>
                  <a:lnTo>
                    <a:pt x="155" y="104"/>
                  </a:lnTo>
                  <a:lnTo>
                    <a:pt x="151" y="102"/>
                  </a:lnTo>
                  <a:lnTo>
                    <a:pt x="144" y="102"/>
                  </a:lnTo>
                  <a:lnTo>
                    <a:pt x="139" y="102"/>
                  </a:lnTo>
                  <a:lnTo>
                    <a:pt x="135" y="102"/>
                  </a:lnTo>
                  <a:lnTo>
                    <a:pt x="130" y="102"/>
                  </a:lnTo>
                  <a:lnTo>
                    <a:pt x="125" y="102"/>
                  </a:lnTo>
                  <a:lnTo>
                    <a:pt x="118" y="102"/>
                  </a:lnTo>
                  <a:lnTo>
                    <a:pt x="114" y="102"/>
                  </a:lnTo>
                  <a:lnTo>
                    <a:pt x="109" y="102"/>
                  </a:lnTo>
                  <a:lnTo>
                    <a:pt x="104" y="102"/>
                  </a:lnTo>
                  <a:lnTo>
                    <a:pt x="97" y="102"/>
                  </a:lnTo>
                  <a:lnTo>
                    <a:pt x="93" y="102"/>
                  </a:lnTo>
                  <a:lnTo>
                    <a:pt x="88" y="102"/>
                  </a:lnTo>
                  <a:lnTo>
                    <a:pt x="83" y="100"/>
                  </a:lnTo>
                  <a:lnTo>
                    <a:pt x="79" y="100"/>
                  </a:lnTo>
                  <a:lnTo>
                    <a:pt x="72" y="100"/>
                  </a:lnTo>
                  <a:lnTo>
                    <a:pt x="67" y="100"/>
                  </a:lnTo>
                  <a:lnTo>
                    <a:pt x="62" y="100"/>
                  </a:lnTo>
                  <a:lnTo>
                    <a:pt x="58" y="100"/>
                  </a:lnTo>
                  <a:lnTo>
                    <a:pt x="53" y="100"/>
                  </a:lnTo>
                  <a:lnTo>
                    <a:pt x="46" y="97"/>
                  </a:lnTo>
                  <a:lnTo>
                    <a:pt x="46" y="97"/>
                  </a:lnTo>
                  <a:lnTo>
                    <a:pt x="46" y="95"/>
                  </a:lnTo>
                  <a:lnTo>
                    <a:pt x="46" y="93"/>
                  </a:lnTo>
                  <a:lnTo>
                    <a:pt x="46" y="90"/>
                  </a:lnTo>
                  <a:lnTo>
                    <a:pt x="46" y="88"/>
                  </a:lnTo>
                  <a:lnTo>
                    <a:pt x="48" y="86"/>
                  </a:lnTo>
                  <a:lnTo>
                    <a:pt x="48" y="83"/>
                  </a:lnTo>
                  <a:lnTo>
                    <a:pt x="48" y="83"/>
                  </a:lnTo>
                  <a:lnTo>
                    <a:pt x="48" y="81"/>
                  </a:lnTo>
                  <a:lnTo>
                    <a:pt x="48" y="79"/>
                  </a:lnTo>
                  <a:lnTo>
                    <a:pt x="48" y="76"/>
                  </a:lnTo>
                  <a:lnTo>
                    <a:pt x="48" y="74"/>
                  </a:lnTo>
                  <a:lnTo>
                    <a:pt x="48" y="72"/>
                  </a:lnTo>
                  <a:lnTo>
                    <a:pt x="48" y="72"/>
                  </a:lnTo>
                  <a:lnTo>
                    <a:pt x="48" y="69"/>
                  </a:lnTo>
                  <a:lnTo>
                    <a:pt x="48" y="67"/>
                  </a:lnTo>
                  <a:lnTo>
                    <a:pt x="46" y="67"/>
                  </a:lnTo>
                  <a:lnTo>
                    <a:pt x="44" y="67"/>
                  </a:lnTo>
                  <a:lnTo>
                    <a:pt x="41" y="67"/>
                  </a:lnTo>
                  <a:lnTo>
                    <a:pt x="39" y="67"/>
                  </a:lnTo>
                  <a:lnTo>
                    <a:pt x="37" y="65"/>
                  </a:lnTo>
                  <a:lnTo>
                    <a:pt x="32" y="65"/>
                  </a:lnTo>
                  <a:lnTo>
                    <a:pt x="30" y="65"/>
                  </a:lnTo>
                  <a:lnTo>
                    <a:pt x="27" y="65"/>
                  </a:lnTo>
                  <a:lnTo>
                    <a:pt x="25" y="65"/>
                  </a:lnTo>
                  <a:lnTo>
                    <a:pt x="20" y="65"/>
                  </a:lnTo>
                  <a:lnTo>
                    <a:pt x="18" y="65"/>
                  </a:lnTo>
                  <a:lnTo>
                    <a:pt x="16" y="65"/>
                  </a:lnTo>
                  <a:lnTo>
                    <a:pt x="13" y="65"/>
                  </a:lnTo>
                  <a:lnTo>
                    <a:pt x="9" y="65"/>
                  </a:lnTo>
                  <a:lnTo>
                    <a:pt x="7" y="62"/>
                  </a:lnTo>
                  <a:lnTo>
                    <a:pt x="4" y="62"/>
                  </a:lnTo>
                  <a:lnTo>
                    <a:pt x="0" y="62"/>
                  </a:lnTo>
                  <a:lnTo>
                    <a:pt x="2" y="58"/>
                  </a:lnTo>
                  <a:lnTo>
                    <a:pt x="2" y="55"/>
                  </a:lnTo>
                  <a:lnTo>
                    <a:pt x="2" y="51"/>
                  </a:lnTo>
                  <a:lnTo>
                    <a:pt x="2" y="46"/>
                  </a:lnTo>
                  <a:lnTo>
                    <a:pt x="2" y="44"/>
                  </a:lnTo>
                  <a:lnTo>
                    <a:pt x="2" y="39"/>
                  </a:lnTo>
                  <a:lnTo>
                    <a:pt x="4" y="34"/>
                  </a:lnTo>
                  <a:lnTo>
                    <a:pt x="4" y="32"/>
                  </a:lnTo>
                  <a:lnTo>
                    <a:pt x="4" y="28"/>
                  </a:lnTo>
                  <a:lnTo>
                    <a:pt x="4" y="23"/>
                  </a:lnTo>
                  <a:lnTo>
                    <a:pt x="4" y="18"/>
                  </a:lnTo>
                  <a:lnTo>
                    <a:pt x="4" y="16"/>
                  </a:lnTo>
                  <a:lnTo>
                    <a:pt x="4" y="11"/>
                  </a:lnTo>
                  <a:lnTo>
                    <a:pt x="7" y="7"/>
                  </a:lnTo>
                  <a:lnTo>
                    <a:pt x="7" y="4"/>
                  </a:lnTo>
                  <a:lnTo>
                    <a:pt x="7" y="0"/>
                  </a:lnTo>
                  <a:lnTo>
                    <a:pt x="11" y="0"/>
                  </a:lnTo>
                  <a:lnTo>
                    <a:pt x="16" y="0"/>
                  </a:lnTo>
                  <a:lnTo>
                    <a:pt x="18" y="0"/>
                  </a:lnTo>
                  <a:lnTo>
                    <a:pt x="23" y="0"/>
                  </a:lnTo>
                  <a:lnTo>
                    <a:pt x="27" y="2"/>
                  </a:lnTo>
                  <a:lnTo>
                    <a:pt x="30" y="2"/>
                  </a:lnTo>
                  <a:lnTo>
                    <a:pt x="34" y="2"/>
                  </a:lnTo>
                  <a:lnTo>
                    <a:pt x="39" y="2"/>
                  </a:lnTo>
                  <a:lnTo>
                    <a:pt x="44" y="2"/>
                  </a:lnTo>
                  <a:lnTo>
                    <a:pt x="46" y="2"/>
                  </a:lnTo>
                  <a:lnTo>
                    <a:pt x="51" y="2"/>
                  </a:lnTo>
                  <a:lnTo>
                    <a:pt x="55" y="4"/>
                  </a:lnTo>
                  <a:lnTo>
                    <a:pt x="58" y="4"/>
                  </a:lnTo>
                  <a:lnTo>
                    <a:pt x="62" y="4"/>
                  </a:lnTo>
                  <a:lnTo>
                    <a:pt x="67" y="4"/>
                  </a:lnTo>
                  <a:lnTo>
                    <a:pt x="72" y="4"/>
                  </a:lnTo>
                  <a:lnTo>
                    <a:pt x="74" y="4"/>
                  </a:lnTo>
                  <a:lnTo>
                    <a:pt x="79" y="4"/>
                  </a:lnTo>
                  <a:lnTo>
                    <a:pt x="83" y="4"/>
                  </a:lnTo>
                  <a:lnTo>
                    <a:pt x="86" y="4"/>
                  </a:lnTo>
                  <a:lnTo>
                    <a:pt x="90" y="4"/>
                  </a:lnTo>
                  <a:lnTo>
                    <a:pt x="95" y="7"/>
                  </a:lnTo>
                  <a:lnTo>
                    <a:pt x="100" y="7"/>
                  </a:lnTo>
                  <a:lnTo>
                    <a:pt x="102" y="7"/>
                  </a:lnTo>
                  <a:lnTo>
                    <a:pt x="107" y="7"/>
                  </a:lnTo>
                  <a:lnTo>
                    <a:pt x="111" y="7"/>
                  </a:lnTo>
                  <a:lnTo>
                    <a:pt x="114" y="7"/>
                  </a:lnTo>
                  <a:lnTo>
                    <a:pt x="118" y="7"/>
                  </a:lnTo>
                  <a:lnTo>
                    <a:pt x="123" y="7"/>
                  </a:lnTo>
                  <a:lnTo>
                    <a:pt x="125" y="7"/>
                  </a:lnTo>
                  <a:lnTo>
                    <a:pt x="130" y="7"/>
                  </a:lnTo>
                  <a:lnTo>
                    <a:pt x="135" y="7"/>
                  </a:lnTo>
                  <a:lnTo>
                    <a:pt x="137" y="7"/>
                  </a:lnTo>
                  <a:lnTo>
                    <a:pt x="137" y="7"/>
                  </a:lnTo>
                  <a:lnTo>
                    <a:pt x="137" y="7"/>
                  </a:lnTo>
                  <a:lnTo>
                    <a:pt x="137" y="9"/>
                  </a:lnTo>
                  <a:lnTo>
                    <a:pt x="137" y="9"/>
                  </a:lnTo>
                  <a:lnTo>
                    <a:pt x="139" y="9"/>
                  </a:lnTo>
                  <a:lnTo>
                    <a:pt x="139" y="9"/>
                  </a:lnTo>
                  <a:lnTo>
                    <a:pt x="139" y="9"/>
                  </a:lnTo>
                  <a:lnTo>
                    <a:pt x="139" y="9"/>
                  </a:lnTo>
                  <a:lnTo>
                    <a:pt x="141" y="11"/>
                  </a:lnTo>
                  <a:lnTo>
                    <a:pt x="141" y="11"/>
                  </a:lnTo>
                  <a:lnTo>
                    <a:pt x="146" y="14"/>
                  </a:lnTo>
                  <a:lnTo>
                    <a:pt x="146" y="14"/>
                  </a:lnTo>
                  <a:lnTo>
                    <a:pt x="146" y="14"/>
                  </a:lnTo>
                  <a:lnTo>
                    <a:pt x="146" y="14"/>
                  </a:lnTo>
                  <a:lnTo>
                    <a:pt x="148" y="14"/>
                  </a:lnTo>
                  <a:lnTo>
                    <a:pt x="148" y="14"/>
                  </a:lnTo>
                  <a:lnTo>
                    <a:pt x="148" y="14"/>
                  </a:lnTo>
                  <a:lnTo>
                    <a:pt x="148" y="14"/>
                  </a:lnTo>
                  <a:lnTo>
                    <a:pt x="148" y="14"/>
                  </a:lnTo>
                  <a:lnTo>
                    <a:pt x="151" y="14"/>
                  </a:lnTo>
                  <a:lnTo>
                    <a:pt x="151" y="14"/>
                  </a:lnTo>
                  <a:lnTo>
                    <a:pt x="151" y="14"/>
                  </a:lnTo>
                  <a:lnTo>
                    <a:pt x="151" y="11"/>
                  </a:lnTo>
                  <a:lnTo>
                    <a:pt x="151" y="11"/>
                  </a:lnTo>
                  <a:lnTo>
                    <a:pt x="151" y="11"/>
                  </a:lnTo>
                  <a:lnTo>
                    <a:pt x="151" y="11"/>
                  </a:lnTo>
                  <a:lnTo>
                    <a:pt x="151" y="11"/>
                  </a:lnTo>
                  <a:lnTo>
                    <a:pt x="153" y="11"/>
                  </a:lnTo>
                  <a:lnTo>
                    <a:pt x="153" y="11"/>
                  </a:lnTo>
                  <a:lnTo>
                    <a:pt x="155" y="11"/>
                  </a:lnTo>
                  <a:lnTo>
                    <a:pt x="155" y="11"/>
                  </a:lnTo>
                  <a:lnTo>
                    <a:pt x="155" y="11"/>
                  </a:lnTo>
                  <a:lnTo>
                    <a:pt x="155" y="11"/>
                  </a:lnTo>
                  <a:lnTo>
                    <a:pt x="155" y="11"/>
                  </a:lnTo>
                  <a:lnTo>
                    <a:pt x="158" y="11"/>
                  </a:lnTo>
                  <a:lnTo>
                    <a:pt x="158" y="11"/>
                  </a:lnTo>
                  <a:lnTo>
                    <a:pt x="160" y="11"/>
                  </a:lnTo>
                  <a:lnTo>
                    <a:pt x="165" y="11"/>
                  </a:lnTo>
                  <a:lnTo>
                    <a:pt x="165" y="11"/>
                  </a:lnTo>
                  <a:lnTo>
                    <a:pt x="165" y="11"/>
                  </a:lnTo>
                  <a:lnTo>
                    <a:pt x="165" y="11"/>
                  </a:lnTo>
                  <a:lnTo>
                    <a:pt x="167" y="14"/>
                  </a:lnTo>
                  <a:lnTo>
                    <a:pt x="167" y="14"/>
                  </a:lnTo>
                  <a:lnTo>
                    <a:pt x="167" y="14"/>
                  </a:lnTo>
                  <a:lnTo>
                    <a:pt x="167" y="14"/>
                  </a:lnTo>
                  <a:lnTo>
                    <a:pt x="169" y="14"/>
                  </a:lnTo>
                  <a:lnTo>
                    <a:pt x="169" y="14"/>
                  </a:lnTo>
                  <a:lnTo>
                    <a:pt x="169" y="16"/>
                  </a:lnTo>
                  <a:lnTo>
                    <a:pt x="172" y="16"/>
                  </a:lnTo>
                  <a:lnTo>
                    <a:pt x="172" y="16"/>
                  </a:lnTo>
                  <a:lnTo>
                    <a:pt x="172" y="16"/>
                  </a:lnTo>
                  <a:lnTo>
                    <a:pt x="172" y="16"/>
                  </a:lnTo>
                  <a:lnTo>
                    <a:pt x="172" y="16"/>
                  </a:lnTo>
                  <a:lnTo>
                    <a:pt x="172" y="16"/>
                  </a:lnTo>
                  <a:lnTo>
                    <a:pt x="174" y="16"/>
                  </a:lnTo>
                  <a:lnTo>
                    <a:pt x="174" y="16"/>
                  </a:lnTo>
                  <a:lnTo>
                    <a:pt x="174" y="16"/>
                  </a:lnTo>
                  <a:lnTo>
                    <a:pt x="176" y="18"/>
                  </a:lnTo>
                  <a:lnTo>
                    <a:pt x="176" y="18"/>
                  </a:lnTo>
                  <a:lnTo>
                    <a:pt x="176" y="18"/>
                  </a:lnTo>
                  <a:lnTo>
                    <a:pt x="176" y="18"/>
                  </a:lnTo>
                  <a:lnTo>
                    <a:pt x="176" y="18"/>
                  </a:lnTo>
                  <a:lnTo>
                    <a:pt x="176" y="18"/>
                  </a:lnTo>
                  <a:lnTo>
                    <a:pt x="176" y="18"/>
                  </a:lnTo>
                  <a:lnTo>
                    <a:pt x="179" y="18"/>
                  </a:lnTo>
                  <a:lnTo>
                    <a:pt x="179" y="18"/>
                  </a:lnTo>
                  <a:lnTo>
                    <a:pt x="179" y="18"/>
                  </a:lnTo>
                  <a:lnTo>
                    <a:pt x="179" y="18"/>
                  </a:lnTo>
                  <a:lnTo>
                    <a:pt x="179" y="18"/>
                  </a:lnTo>
                  <a:lnTo>
                    <a:pt x="179" y="18"/>
                  </a:lnTo>
                  <a:lnTo>
                    <a:pt x="179" y="21"/>
                  </a:lnTo>
                  <a:lnTo>
                    <a:pt x="179" y="21"/>
                  </a:lnTo>
                  <a:lnTo>
                    <a:pt x="179" y="21"/>
                  </a:lnTo>
                  <a:lnTo>
                    <a:pt x="179" y="21"/>
                  </a:lnTo>
                  <a:lnTo>
                    <a:pt x="179" y="21"/>
                  </a:lnTo>
                  <a:lnTo>
                    <a:pt x="179" y="23"/>
                  </a:lnTo>
                  <a:lnTo>
                    <a:pt x="179" y="23"/>
                  </a:lnTo>
                  <a:lnTo>
                    <a:pt x="181" y="23"/>
                  </a:lnTo>
                  <a:lnTo>
                    <a:pt x="183" y="2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88">
              <a:extLst>
                <a:ext uri="{FF2B5EF4-FFF2-40B4-BE49-F238E27FC236}">
                  <a16:creationId xmlns:a16="http://schemas.microsoft.com/office/drawing/2014/main" id="{D7354D96-F409-4D8B-ACFF-5E0717C5EC29}"/>
                </a:ext>
              </a:extLst>
            </p:cNvPr>
            <p:cNvSpPr>
              <a:spLocks/>
            </p:cNvSpPr>
            <p:nvPr/>
          </p:nvSpPr>
          <p:spPr bwMode="auto">
            <a:xfrm>
              <a:off x="6274594" y="4833938"/>
              <a:ext cx="352425" cy="180975"/>
            </a:xfrm>
            <a:custGeom>
              <a:avLst/>
              <a:gdLst>
                <a:gd name="T0" fmla="*/ 222 w 222"/>
                <a:gd name="T1" fmla="*/ 53 h 114"/>
                <a:gd name="T2" fmla="*/ 222 w 222"/>
                <a:gd name="T3" fmla="*/ 107 h 114"/>
                <a:gd name="T4" fmla="*/ 219 w 222"/>
                <a:gd name="T5" fmla="*/ 112 h 114"/>
                <a:gd name="T6" fmla="*/ 217 w 222"/>
                <a:gd name="T7" fmla="*/ 112 h 114"/>
                <a:gd name="T8" fmla="*/ 215 w 222"/>
                <a:gd name="T9" fmla="*/ 109 h 114"/>
                <a:gd name="T10" fmla="*/ 210 w 222"/>
                <a:gd name="T11" fmla="*/ 107 h 114"/>
                <a:gd name="T12" fmla="*/ 208 w 222"/>
                <a:gd name="T13" fmla="*/ 107 h 114"/>
                <a:gd name="T14" fmla="*/ 203 w 222"/>
                <a:gd name="T15" fmla="*/ 102 h 114"/>
                <a:gd name="T16" fmla="*/ 201 w 222"/>
                <a:gd name="T17" fmla="*/ 105 h 114"/>
                <a:gd name="T18" fmla="*/ 198 w 222"/>
                <a:gd name="T19" fmla="*/ 107 h 114"/>
                <a:gd name="T20" fmla="*/ 196 w 222"/>
                <a:gd name="T21" fmla="*/ 107 h 114"/>
                <a:gd name="T22" fmla="*/ 194 w 222"/>
                <a:gd name="T23" fmla="*/ 105 h 114"/>
                <a:gd name="T24" fmla="*/ 191 w 222"/>
                <a:gd name="T25" fmla="*/ 105 h 114"/>
                <a:gd name="T26" fmla="*/ 189 w 222"/>
                <a:gd name="T27" fmla="*/ 105 h 114"/>
                <a:gd name="T28" fmla="*/ 187 w 222"/>
                <a:gd name="T29" fmla="*/ 107 h 114"/>
                <a:gd name="T30" fmla="*/ 184 w 222"/>
                <a:gd name="T31" fmla="*/ 107 h 114"/>
                <a:gd name="T32" fmla="*/ 182 w 222"/>
                <a:gd name="T33" fmla="*/ 107 h 114"/>
                <a:gd name="T34" fmla="*/ 177 w 222"/>
                <a:gd name="T35" fmla="*/ 109 h 114"/>
                <a:gd name="T36" fmla="*/ 173 w 222"/>
                <a:gd name="T37" fmla="*/ 112 h 114"/>
                <a:gd name="T38" fmla="*/ 168 w 222"/>
                <a:gd name="T39" fmla="*/ 109 h 114"/>
                <a:gd name="T40" fmla="*/ 166 w 222"/>
                <a:gd name="T41" fmla="*/ 107 h 114"/>
                <a:gd name="T42" fmla="*/ 166 w 222"/>
                <a:gd name="T43" fmla="*/ 105 h 114"/>
                <a:gd name="T44" fmla="*/ 163 w 222"/>
                <a:gd name="T45" fmla="*/ 107 h 114"/>
                <a:gd name="T46" fmla="*/ 161 w 222"/>
                <a:gd name="T47" fmla="*/ 107 h 114"/>
                <a:gd name="T48" fmla="*/ 159 w 222"/>
                <a:gd name="T49" fmla="*/ 107 h 114"/>
                <a:gd name="T50" fmla="*/ 156 w 222"/>
                <a:gd name="T51" fmla="*/ 105 h 114"/>
                <a:gd name="T52" fmla="*/ 154 w 222"/>
                <a:gd name="T53" fmla="*/ 107 h 114"/>
                <a:gd name="T54" fmla="*/ 154 w 222"/>
                <a:gd name="T55" fmla="*/ 107 h 114"/>
                <a:gd name="T56" fmla="*/ 149 w 222"/>
                <a:gd name="T57" fmla="*/ 109 h 114"/>
                <a:gd name="T58" fmla="*/ 149 w 222"/>
                <a:gd name="T59" fmla="*/ 105 h 114"/>
                <a:gd name="T60" fmla="*/ 147 w 222"/>
                <a:gd name="T61" fmla="*/ 107 h 114"/>
                <a:gd name="T62" fmla="*/ 145 w 222"/>
                <a:gd name="T63" fmla="*/ 107 h 114"/>
                <a:gd name="T64" fmla="*/ 142 w 222"/>
                <a:gd name="T65" fmla="*/ 105 h 114"/>
                <a:gd name="T66" fmla="*/ 138 w 222"/>
                <a:gd name="T67" fmla="*/ 102 h 114"/>
                <a:gd name="T68" fmla="*/ 128 w 222"/>
                <a:gd name="T69" fmla="*/ 105 h 114"/>
                <a:gd name="T70" fmla="*/ 128 w 222"/>
                <a:gd name="T71" fmla="*/ 102 h 114"/>
                <a:gd name="T72" fmla="*/ 126 w 222"/>
                <a:gd name="T73" fmla="*/ 98 h 114"/>
                <a:gd name="T74" fmla="*/ 119 w 222"/>
                <a:gd name="T75" fmla="*/ 98 h 114"/>
                <a:gd name="T76" fmla="*/ 115 w 222"/>
                <a:gd name="T77" fmla="*/ 98 h 114"/>
                <a:gd name="T78" fmla="*/ 110 w 222"/>
                <a:gd name="T79" fmla="*/ 98 h 114"/>
                <a:gd name="T80" fmla="*/ 101 w 222"/>
                <a:gd name="T81" fmla="*/ 95 h 114"/>
                <a:gd name="T82" fmla="*/ 96 w 222"/>
                <a:gd name="T83" fmla="*/ 91 h 114"/>
                <a:gd name="T84" fmla="*/ 94 w 222"/>
                <a:gd name="T85" fmla="*/ 88 h 114"/>
                <a:gd name="T86" fmla="*/ 91 w 222"/>
                <a:gd name="T87" fmla="*/ 86 h 114"/>
                <a:gd name="T88" fmla="*/ 87 w 222"/>
                <a:gd name="T89" fmla="*/ 86 h 114"/>
                <a:gd name="T90" fmla="*/ 84 w 222"/>
                <a:gd name="T91" fmla="*/ 88 h 114"/>
                <a:gd name="T92" fmla="*/ 75 w 222"/>
                <a:gd name="T93" fmla="*/ 81 h 114"/>
                <a:gd name="T94" fmla="*/ 77 w 222"/>
                <a:gd name="T95" fmla="*/ 58 h 114"/>
                <a:gd name="T96" fmla="*/ 77 w 222"/>
                <a:gd name="T97" fmla="*/ 28 h 114"/>
                <a:gd name="T98" fmla="*/ 70 w 222"/>
                <a:gd name="T99" fmla="*/ 18 h 114"/>
                <a:gd name="T100" fmla="*/ 19 w 222"/>
                <a:gd name="T101" fmla="*/ 16 h 114"/>
                <a:gd name="T102" fmla="*/ 3 w 222"/>
                <a:gd name="T103" fmla="*/ 2 h 114"/>
                <a:gd name="T104" fmla="*/ 24 w 222"/>
                <a:gd name="T105" fmla="*/ 0 h 114"/>
                <a:gd name="T106" fmla="*/ 70 w 222"/>
                <a:gd name="T107" fmla="*/ 4 h 114"/>
                <a:gd name="T108" fmla="*/ 117 w 222"/>
                <a:gd name="T109" fmla="*/ 4 h 114"/>
                <a:gd name="T110" fmla="*/ 163 w 222"/>
                <a:gd name="T111" fmla="*/ 7 h 114"/>
                <a:gd name="T112" fmla="*/ 210 w 222"/>
                <a:gd name="T113"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114">
                  <a:moveTo>
                    <a:pt x="217" y="23"/>
                  </a:moveTo>
                  <a:lnTo>
                    <a:pt x="217" y="25"/>
                  </a:lnTo>
                  <a:lnTo>
                    <a:pt x="219" y="30"/>
                  </a:lnTo>
                  <a:lnTo>
                    <a:pt x="219" y="35"/>
                  </a:lnTo>
                  <a:lnTo>
                    <a:pt x="219" y="39"/>
                  </a:lnTo>
                  <a:lnTo>
                    <a:pt x="222" y="44"/>
                  </a:lnTo>
                  <a:lnTo>
                    <a:pt x="222" y="49"/>
                  </a:lnTo>
                  <a:lnTo>
                    <a:pt x="222" y="53"/>
                  </a:lnTo>
                  <a:lnTo>
                    <a:pt x="222" y="58"/>
                  </a:lnTo>
                  <a:lnTo>
                    <a:pt x="222" y="65"/>
                  </a:lnTo>
                  <a:lnTo>
                    <a:pt x="222" y="72"/>
                  </a:lnTo>
                  <a:lnTo>
                    <a:pt x="222" y="79"/>
                  </a:lnTo>
                  <a:lnTo>
                    <a:pt x="222" y="86"/>
                  </a:lnTo>
                  <a:lnTo>
                    <a:pt x="222" y="93"/>
                  </a:lnTo>
                  <a:lnTo>
                    <a:pt x="222" y="100"/>
                  </a:lnTo>
                  <a:lnTo>
                    <a:pt x="222" y="107"/>
                  </a:lnTo>
                  <a:lnTo>
                    <a:pt x="222" y="114"/>
                  </a:lnTo>
                  <a:lnTo>
                    <a:pt x="222" y="114"/>
                  </a:lnTo>
                  <a:lnTo>
                    <a:pt x="222" y="114"/>
                  </a:lnTo>
                  <a:lnTo>
                    <a:pt x="222" y="114"/>
                  </a:lnTo>
                  <a:lnTo>
                    <a:pt x="222" y="114"/>
                  </a:lnTo>
                  <a:lnTo>
                    <a:pt x="219" y="112"/>
                  </a:lnTo>
                  <a:lnTo>
                    <a:pt x="219" y="112"/>
                  </a:lnTo>
                  <a:lnTo>
                    <a:pt x="219" y="112"/>
                  </a:lnTo>
                  <a:lnTo>
                    <a:pt x="219" y="112"/>
                  </a:lnTo>
                  <a:lnTo>
                    <a:pt x="219" y="112"/>
                  </a:lnTo>
                  <a:lnTo>
                    <a:pt x="219" y="112"/>
                  </a:lnTo>
                  <a:lnTo>
                    <a:pt x="217" y="112"/>
                  </a:lnTo>
                  <a:lnTo>
                    <a:pt x="217" y="112"/>
                  </a:lnTo>
                  <a:lnTo>
                    <a:pt x="217" y="112"/>
                  </a:lnTo>
                  <a:lnTo>
                    <a:pt x="217" y="112"/>
                  </a:lnTo>
                  <a:lnTo>
                    <a:pt x="217" y="112"/>
                  </a:lnTo>
                  <a:lnTo>
                    <a:pt x="217" y="112"/>
                  </a:lnTo>
                  <a:lnTo>
                    <a:pt x="217" y="112"/>
                  </a:lnTo>
                  <a:lnTo>
                    <a:pt x="217" y="112"/>
                  </a:lnTo>
                  <a:lnTo>
                    <a:pt x="217" y="112"/>
                  </a:lnTo>
                  <a:lnTo>
                    <a:pt x="215" y="112"/>
                  </a:lnTo>
                  <a:lnTo>
                    <a:pt x="215" y="112"/>
                  </a:lnTo>
                  <a:lnTo>
                    <a:pt x="215" y="109"/>
                  </a:lnTo>
                  <a:lnTo>
                    <a:pt x="215" y="109"/>
                  </a:lnTo>
                  <a:lnTo>
                    <a:pt x="215" y="109"/>
                  </a:lnTo>
                  <a:lnTo>
                    <a:pt x="212" y="109"/>
                  </a:lnTo>
                  <a:lnTo>
                    <a:pt x="210" y="109"/>
                  </a:lnTo>
                  <a:lnTo>
                    <a:pt x="210" y="109"/>
                  </a:lnTo>
                  <a:lnTo>
                    <a:pt x="210" y="107"/>
                  </a:lnTo>
                  <a:lnTo>
                    <a:pt x="210" y="107"/>
                  </a:lnTo>
                  <a:lnTo>
                    <a:pt x="210" y="107"/>
                  </a:lnTo>
                  <a:lnTo>
                    <a:pt x="210" y="107"/>
                  </a:lnTo>
                  <a:lnTo>
                    <a:pt x="210" y="107"/>
                  </a:lnTo>
                  <a:lnTo>
                    <a:pt x="210" y="107"/>
                  </a:lnTo>
                  <a:lnTo>
                    <a:pt x="210" y="107"/>
                  </a:lnTo>
                  <a:lnTo>
                    <a:pt x="210" y="107"/>
                  </a:lnTo>
                  <a:lnTo>
                    <a:pt x="210" y="107"/>
                  </a:lnTo>
                  <a:lnTo>
                    <a:pt x="208" y="107"/>
                  </a:lnTo>
                  <a:lnTo>
                    <a:pt x="208" y="107"/>
                  </a:lnTo>
                  <a:lnTo>
                    <a:pt x="208" y="107"/>
                  </a:lnTo>
                  <a:lnTo>
                    <a:pt x="205" y="105"/>
                  </a:lnTo>
                  <a:lnTo>
                    <a:pt x="205" y="105"/>
                  </a:lnTo>
                  <a:lnTo>
                    <a:pt x="205" y="105"/>
                  </a:lnTo>
                  <a:lnTo>
                    <a:pt x="205" y="105"/>
                  </a:lnTo>
                  <a:lnTo>
                    <a:pt x="205" y="105"/>
                  </a:lnTo>
                  <a:lnTo>
                    <a:pt x="205" y="105"/>
                  </a:lnTo>
                  <a:lnTo>
                    <a:pt x="205" y="105"/>
                  </a:lnTo>
                  <a:lnTo>
                    <a:pt x="203" y="102"/>
                  </a:lnTo>
                  <a:lnTo>
                    <a:pt x="203" y="102"/>
                  </a:lnTo>
                  <a:lnTo>
                    <a:pt x="201" y="105"/>
                  </a:lnTo>
                  <a:lnTo>
                    <a:pt x="201" y="105"/>
                  </a:lnTo>
                  <a:lnTo>
                    <a:pt x="201" y="105"/>
                  </a:lnTo>
                  <a:lnTo>
                    <a:pt x="201" y="105"/>
                  </a:lnTo>
                  <a:lnTo>
                    <a:pt x="201" y="105"/>
                  </a:lnTo>
                  <a:lnTo>
                    <a:pt x="201" y="105"/>
                  </a:lnTo>
                  <a:lnTo>
                    <a:pt x="201" y="105"/>
                  </a:lnTo>
                  <a:lnTo>
                    <a:pt x="201" y="105"/>
                  </a:lnTo>
                  <a:lnTo>
                    <a:pt x="201" y="105"/>
                  </a:lnTo>
                  <a:lnTo>
                    <a:pt x="201" y="105"/>
                  </a:lnTo>
                  <a:lnTo>
                    <a:pt x="201" y="105"/>
                  </a:lnTo>
                  <a:lnTo>
                    <a:pt x="198" y="107"/>
                  </a:lnTo>
                  <a:lnTo>
                    <a:pt x="198" y="107"/>
                  </a:lnTo>
                  <a:lnTo>
                    <a:pt x="198" y="107"/>
                  </a:lnTo>
                  <a:lnTo>
                    <a:pt x="198" y="107"/>
                  </a:lnTo>
                  <a:lnTo>
                    <a:pt x="198" y="107"/>
                  </a:lnTo>
                  <a:lnTo>
                    <a:pt x="198" y="107"/>
                  </a:lnTo>
                  <a:lnTo>
                    <a:pt x="196" y="107"/>
                  </a:lnTo>
                  <a:lnTo>
                    <a:pt x="196" y="107"/>
                  </a:lnTo>
                  <a:lnTo>
                    <a:pt x="196" y="107"/>
                  </a:lnTo>
                  <a:lnTo>
                    <a:pt x="196" y="107"/>
                  </a:lnTo>
                  <a:lnTo>
                    <a:pt x="196" y="107"/>
                  </a:lnTo>
                  <a:lnTo>
                    <a:pt x="196" y="107"/>
                  </a:lnTo>
                  <a:lnTo>
                    <a:pt x="196" y="107"/>
                  </a:lnTo>
                  <a:lnTo>
                    <a:pt x="196" y="107"/>
                  </a:lnTo>
                  <a:lnTo>
                    <a:pt x="196" y="107"/>
                  </a:lnTo>
                  <a:lnTo>
                    <a:pt x="196" y="107"/>
                  </a:lnTo>
                  <a:lnTo>
                    <a:pt x="196" y="107"/>
                  </a:lnTo>
                  <a:lnTo>
                    <a:pt x="196" y="107"/>
                  </a:lnTo>
                  <a:lnTo>
                    <a:pt x="196" y="105"/>
                  </a:lnTo>
                  <a:lnTo>
                    <a:pt x="194" y="105"/>
                  </a:lnTo>
                  <a:lnTo>
                    <a:pt x="194" y="105"/>
                  </a:lnTo>
                  <a:lnTo>
                    <a:pt x="194" y="105"/>
                  </a:lnTo>
                  <a:lnTo>
                    <a:pt x="194" y="105"/>
                  </a:lnTo>
                  <a:lnTo>
                    <a:pt x="194" y="105"/>
                  </a:lnTo>
                  <a:lnTo>
                    <a:pt x="194" y="105"/>
                  </a:lnTo>
                  <a:lnTo>
                    <a:pt x="194" y="105"/>
                  </a:lnTo>
                  <a:lnTo>
                    <a:pt x="191" y="105"/>
                  </a:lnTo>
                  <a:lnTo>
                    <a:pt x="191" y="105"/>
                  </a:lnTo>
                  <a:lnTo>
                    <a:pt x="191" y="105"/>
                  </a:lnTo>
                  <a:lnTo>
                    <a:pt x="191" y="105"/>
                  </a:lnTo>
                  <a:lnTo>
                    <a:pt x="191" y="105"/>
                  </a:lnTo>
                  <a:lnTo>
                    <a:pt x="191" y="105"/>
                  </a:lnTo>
                  <a:lnTo>
                    <a:pt x="191" y="105"/>
                  </a:lnTo>
                  <a:lnTo>
                    <a:pt x="189" y="105"/>
                  </a:lnTo>
                  <a:lnTo>
                    <a:pt x="189" y="105"/>
                  </a:lnTo>
                  <a:lnTo>
                    <a:pt x="189" y="105"/>
                  </a:lnTo>
                  <a:lnTo>
                    <a:pt x="189" y="105"/>
                  </a:lnTo>
                  <a:lnTo>
                    <a:pt x="189" y="105"/>
                  </a:lnTo>
                  <a:lnTo>
                    <a:pt x="189" y="105"/>
                  </a:lnTo>
                  <a:lnTo>
                    <a:pt x="187" y="105"/>
                  </a:lnTo>
                  <a:lnTo>
                    <a:pt x="187" y="107"/>
                  </a:lnTo>
                  <a:lnTo>
                    <a:pt x="187" y="107"/>
                  </a:lnTo>
                  <a:lnTo>
                    <a:pt x="187" y="107"/>
                  </a:lnTo>
                  <a:lnTo>
                    <a:pt x="187" y="107"/>
                  </a:lnTo>
                  <a:lnTo>
                    <a:pt x="187" y="107"/>
                  </a:lnTo>
                  <a:lnTo>
                    <a:pt x="187" y="107"/>
                  </a:lnTo>
                  <a:lnTo>
                    <a:pt x="187" y="107"/>
                  </a:lnTo>
                  <a:lnTo>
                    <a:pt x="187" y="107"/>
                  </a:lnTo>
                  <a:lnTo>
                    <a:pt x="187" y="107"/>
                  </a:lnTo>
                  <a:lnTo>
                    <a:pt x="187" y="107"/>
                  </a:lnTo>
                  <a:lnTo>
                    <a:pt x="184" y="107"/>
                  </a:lnTo>
                  <a:lnTo>
                    <a:pt x="184" y="107"/>
                  </a:lnTo>
                  <a:lnTo>
                    <a:pt x="184" y="105"/>
                  </a:lnTo>
                  <a:lnTo>
                    <a:pt x="184" y="105"/>
                  </a:lnTo>
                  <a:lnTo>
                    <a:pt x="182" y="107"/>
                  </a:lnTo>
                  <a:lnTo>
                    <a:pt x="182" y="107"/>
                  </a:lnTo>
                  <a:lnTo>
                    <a:pt x="182" y="107"/>
                  </a:lnTo>
                  <a:lnTo>
                    <a:pt x="182" y="107"/>
                  </a:lnTo>
                  <a:lnTo>
                    <a:pt x="182" y="107"/>
                  </a:lnTo>
                  <a:lnTo>
                    <a:pt x="182" y="107"/>
                  </a:lnTo>
                  <a:lnTo>
                    <a:pt x="180" y="107"/>
                  </a:lnTo>
                  <a:lnTo>
                    <a:pt x="180" y="107"/>
                  </a:lnTo>
                  <a:lnTo>
                    <a:pt x="180" y="107"/>
                  </a:lnTo>
                  <a:lnTo>
                    <a:pt x="177" y="107"/>
                  </a:lnTo>
                  <a:lnTo>
                    <a:pt x="177" y="107"/>
                  </a:lnTo>
                  <a:lnTo>
                    <a:pt x="177" y="107"/>
                  </a:lnTo>
                  <a:lnTo>
                    <a:pt x="177" y="107"/>
                  </a:lnTo>
                  <a:lnTo>
                    <a:pt x="177" y="109"/>
                  </a:lnTo>
                  <a:lnTo>
                    <a:pt x="177" y="109"/>
                  </a:lnTo>
                  <a:lnTo>
                    <a:pt x="175" y="109"/>
                  </a:lnTo>
                  <a:lnTo>
                    <a:pt x="175" y="109"/>
                  </a:lnTo>
                  <a:lnTo>
                    <a:pt x="175" y="109"/>
                  </a:lnTo>
                  <a:lnTo>
                    <a:pt x="173" y="109"/>
                  </a:lnTo>
                  <a:lnTo>
                    <a:pt x="173" y="109"/>
                  </a:lnTo>
                  <a:lnTo>
                    <a:pt x="173" y="112"/>
                  </a:lnTo>
                  <a:lnTo>
                    <a:pt x="173" y="112"/>
                  </a:lnTo>
                  <a:lnTo>
                    <a:pt x="173" y="112"/>
                  </a:lnTo>
                  <a:lnTo>
                    <a:pt x="173" y="112"/>
                  </a:lnTo>
                  <a:lnTo>
                    <a:pt x="170" y="109"/>
                  </a:lnTo>
                  <a:lnTo>
                    <a:pt x="170" y="109"/>
                  </a:lnTo>
                  <a:lnTo>
                    <a:pt x="170" y="109"/>
                  </a:lnTo>
                  <a:lnTo>
                    <a:pt x="168" y="109"/>
                  </a:lnTo>
                  <a:lnTo>
                    <a:pt x="168" y="109"/>
                  </a:lnTo>
                  <a:lnTo>
                    <a:pt x="168" y="109"/>
                  </a:lnTo>
                  <a:lnTo>
                    <a:pt x="168" y="109"/>
                  </a:lnTo>
                  <a:lnTo>
                    <a:pt x="168" y="109"/>
                  </a:lnTo>
                  <a:lnTo>
                    <a:pt x="168" y="107"/>
                  </a:lnTo>
                  <a:lnTo>
                    <a:pt x="168" y="107"/>
                  </a:lnTo>
                  <a:lnTo>
                    <a:pt x="168" y="107"/>
                  </a:lnTo>
                  <a:lnTo>
                    <a:pt x="166" y="107"/>
                  </a:lnTo>
                  <a:lnTo>
                    <a:pt x="166" y="107"/>
                  </a:lnTo>
                  <a:lnTo>
                    <a:pt x="166" y="107"/>
                  </a:lnTo>
                  <a:lnTo>
                    <a:pt x="166" y="107"/>
                  </a:lnTo>
                  <a:lnTo>
                    <a:pt x="166" y="107"/>
                  </a:lnTo>
                  <a:lnTo>
                    <a:pt x="166" y="107"/>
                  </a:lnTo>
                  <a:lnTo>
                    <a:pt x="166" y="107"/>
                  </a:lnTo>
                  <a:lnTo>
                    <a:pt x="166" y="105"/>
                  </a:lnTo>
                  <a:lnTo>
                    <a:pt x="166" y="105"/>
                  </a:lnTo>
                  <a:lnTo>
                    <a:pt x="166" y="105"/>
                  </a:lnTo>
                  <a:lnTo>
                    <a:pt x="166" y="105"/>
                  </a:lnTo>
                  <a:lnTo>
                    <a:pt x="163" y="105"/>
                  </a:lnTo>
                  <a:lnTo>
                    <a:pt x="163" y="105"/>
                  </a:lnTo>
                  <a:lnTo>
                    <a:pt x="163" y="105"/>
                  </a:lnTo>
                  <a:lnTo>
                    <a:pt x="163" y="105"/>
                  </a:lnTo>
                  <a:lnTo>
                    <a:pt x="163" y="105"/>
                  </a:lnTo>
                  <a:lnTo>
                    <a:pt x="163" y="107"/>
                  </a:lnTo>
                  <a:lnTo>
                    <a:pt x="163" y="107"/>
                  </a:lnTo>
                  <a:lnTo>
                    <a:pt x="163" y="107"/>
                  </a:lnTo>
                  <a:lnTo>
                    <a:pt x="163" y="107"/>
                  </a:lnTo>
                  <a:lnTo>
                    <a:pt x="163" y="107"/>
                  </a:lnTo>
                  <a:lnTo>
                    <a:pt x="163" y="107"/>
                  </a:lnTo>
                  <a:lnTo>
                    <a:pt x="163" y="107"/>
                  </a:lnTo>
                  <a:lnTo>
                    <a:pt x="161" y="107"/>
                  </a:lnTo>
                  <a:lnTo>
                    <a:pt x="161" y="107"/>
                  </a:lnTo>
                  <a:lnTo>
                    <a:pt x="161" y="107"/>
                  </a:lnTo>
                  <a:lnTo>
                    <a:pt x="161" y="107"/>
                  </a:lnTo>
                  <a:lnTo>
                    <a:pt x="161" y="107"/>
                  </a:lnTo>
                  <a:lnTo>
                    <a:pt x="161" y="107"/>
                  </a:lnTo>
                  <a:lnTo>
                    <a:pt x="161" y="107"/>
                  </a:lnTo>
                  <a:lnTo>
                    <a:pt x="159" y="107"/>
                  </a:lnTo>
                  <a:lnTo>
                    <a:pt x="159" y="107"/>
                  </a:lnTo>
                  <a:lnTo>
                    <a:pt x="159" y="107"/>
                  </a:lnTo>
                  <a:lnTo>
                    <a:pt x="159" y="107"/>
                  </a:lnTo>
                  <a:lnTo>
                    <a:pt x="159" y="107"/>
                  </a:lnTo>
                  <a:lnTo>
                    <a:pt x="159" y="105"/>
                  </a:lnTo>
                  <a:lnTo>
                    <a:pt x="159" y="105"/>
                  </a:lnTo>
                  <a:lnTo>
                    <a:pt x="159" y="105"/>
                  </a:lnTo>
                  <a:lnTo>
                    <a:pt x="159" y="105"/>
                  </a:lnTo>
                  <a:lnTo>
                    <a:pt x="159" y="105"/>
                  </a:lnTo>
                  <a:lnTo>
                    <a:pt x="156" y="105"/>
                  </a:lnTo>
                  <a:lnTo>
                    <a:pt x="156" y="105"/>
                  </a:lnTo>
                  <a:lnTo>
                    <a:pt x="156" y="105"/>
                  </a:lnTo>
                  <a:lnTo>
                    <a:pt x="156" y="105"/>
                  </a:lnTo>
                  <a:lnTo>
                    <a:pt x="156" y="105"/>
                  </a:lnTo>
                  <a:lnTo>
                    <a:pt x="156" y="105"/>
                  </a:lnTo>
                  <a:lnTo>
                    <a:pt x="156" y="105"/>
                  </a:lnTo>
                  <a:lnTo>
                    <a:pt x="156" y="105"/>
                  </a:lnTo>
                  <a:lnTo>
                    <a:pt x="156" y="105"/>
                  </a:lnTo>
                  <a:lnTo>
                    <a:pt x="154" y="105"/>
                  </a:lnTo>
                  <a:lnTo>
                    <a:pt x="154" y="107"/>
                  </a:lnTo>
                  <a:lnTo>
                    <a:pt x="154" y="107"/>
                  </a:lnTo>
                  <a:lnTo>
                    <a:pt x="154" y="107"/>
                  </a:lnTo>
                  <a:lnTo>
                    <a:pt x="152" y="107"/>
                  </a:lnTo>
                  <a:lnTo>
                    <a:pt x="152" y="107"/>
                  </a:lnTo>
                  <a:lnTo>
                    <a:pt x="154" y="107"/>
                  </a:lnTo>
                  <a:lnTo>
                    <a:pt x="154" y="107"/>
                  </a:lnTo>
                  <a:lnTo>
                    <a:pt x="154" y="107"/>
                  </a:lnTo>
                  <a:lnTo>
                    <a:pt x="154" y="107"/>
                  </a:lnTo>
                  <a:lnTo>
                    <a:pt x="152" y="109"/>
                  </a:lnTo>
                  <a:lnTo>
                    <a:pt x="152" y="109"/>
                  </a:lnTo>
                  <a:lnTo>
                    <a:pt x="152" y="109"/>
                  </a:lnTo>
                  <a:lnTo>
                    <a:pt x="152" y="109"/>
                  </a:lnTo>
                  <a:lnTo>
                    <a:pt x="152" y="112"/>
                  </a:lnTo>
                  <a:lnTo>
                    <a:pt x="152" y="112"/>
                  </a:lnTo>
                  <a:lnTo>
                    <a:pt x="149" y="112"/>
                  </a:lnTo>
                  <a:lnTo>
                    <a:pt x="149" y="109"/>
                  </a:lnTo>
                  <a:lnTo>
                    <a:pt x="149" y="109"/>
                  </a:lnTo>
                  <a:lnTo>
                    <a:pt x="149" y="109"/>
                  </a:lnTo>
                  <a:lnTo>
                    <a:pt x="149" y="107"/>
                  </a:lnTo>
                  <a:lnTo>
                    <a:pt x="149" y="107"/>
                  </a:lnTo>
                  <a:lnTo>
                    <a:pt x="149" y="107"/>
                  </a:lnTo>
                  <a:lnTo>
                    <a:pt x="149" y="107"/>
                  </a:lnTo>
                  <a:lnTo>
                    <a:pt x="149" y="105"/>
                  </a:lnTo>
                  <a:lnTo>
                    <a:pt x="149" y="105"/>
                  </a:lnTo>
                  <a:lnTo>
                    <a:pt x="149" y="105"/>
                  </a:lnTo>
                  <a:lnTo>
                    <a:pt x="149" y="105"/>
                  </a:lnTo>
                  <a:lnTo>
                    <a:pt x="149" y="105"/>
                  </a:lnTo>
                  <a:lnTo>
                    <a:pt x="149" y="105"/>
                  </a:lnTo>
                  <a:lnTo>
                    <a:pt x="149" y="105"/>
                  </a:lnTo>
                  <a:lnTo>
                    <a:pt x="149" y="105"/>
                  </a:lnTo>
                  <a:lnTo>
                    <a:pt x="147" y="107"/>
                  </a:lnTo>
                  <a:lnTo>
                    <a:pt x="147" y="107"/>
                  </a:lnTo>
                  <a:lnTo>
                    <a:pt x="147" y="107"/>
                  </a:lnTo>
                  <a:lnTo>
                    <a:pt x="147" y="107"/>
                  </a:lnTo>
                  <a:lnTo>
                    <a:pt x="147" y="107"/>
                  </a:lnTo>
                  <a:lnTo>
                    <a:pt x="147" y="107"/>
                  </a:lnTo>
                  <a:lnTo>
                    <a:pt x="147" y="107"/>
                  </a:lnTo>
                  <a:lnTo>
                    <a:pt x="147" y="107"/>
                  </a:lnTo>
                  <a:lnTo>
                    <a:pt x="145" y="107"/>
                  </a:lnTo>
                  <a:lnTo>
                    <a:pt x="145" y="107"/>
                  </a:lnTo>
                  <a:lnTo>
                    <a:pt x="145" y="107"/>
                  </a:lnTo>
                  <a:lnTo>
                    <a:pt x="145" y="107"/>
                  </a:lnTo>
                  <a:lnTo>
                    <a:pt x="145" y="107"/>
                  </a:lnTo>
                  <a:lnTo>
                    <a:pt x="142" y="107"/>
                  </a:lnTo>
                  <a:lnTo>
                    <a:pt x="142" y="107"/>
                  </a:lnTo>
                  <a:lnTo>
                    <a:pt x="142" y="107"/>
                  </a:lnTo>
                  <a:lnTo>
                    <a:pt x="142" y="107"/>
                  </a:lnTo>
                  <a:lnTo>
                    <a:pt x="142" y="105"/>
                  </a:lnTo>
                  <a:lnTo>
                    <a:pt x="142" y="105"/>
                  </a:lnTo>
                  <a:lnTo>
                    <a:pt x="142" y="105"/>
                  </a:lnTo>
                  <a:lnTo>
                    <a:pt x="140" y="105"/>
                  </a:lnTo>
                  <a:lnTo>
                    <a:pt x="140" y="105"/>
                  </a:lnTo>
                  <a:lnTo>
                    <a:pt x="140" y="105"/>
                  </a:lnTo>
                  <a:lnTo>
                    <a:pt x="140" y="102"/>
                  </a:lnTo>
                  <a:lnTo>
                    <a:pt x="138" y="102"/>
                  </a:lnTo>
                  <a:lnTo>
                    <a:pt x="138" y="102"/>
                  </a:lnTo>
                  <a:lnTo>
                    <a:pt x="138" y="102"/>
                  </a:lnTo>
                  <a:lnTo>
                    <a:pt x="135" y="102"/>
                  </a:lnTo>
                  <a:lnTo>
                    <a:pt x="133" y="105"/>
                  </a:lnTo>
                  <a:lnTo>
                    <a:pt x="133" y="107"/>
                  </a:lnTo>
                  <a:lnTo>
                    <a:pt x="131" y="107"/>
                  </a:lnTo>
                  <a:lnTo>
                    <a:pt x="131" y="105"/>
                  </a:lnTo>
                  <a:lnTo>
                    <a:pt x="128" y="105"/>
                  </a:lnTo>
                  <a:lnTo>
                    <a:pt x="128" y="105"/>
                  </a:lnTo>
                  <a:lnTo>
                    <a:pt x="128" y="105"/>
                  </a:lnTo>
                  <a:lnTo>
                    <a:pt x="128" y="105"/>
                  </a:lnTo>
                  <a:lnTo>
                    <a:pt x="128" y="105"/>
                  </a:lnTo>
                  <a:lnTo>
                    <a:pt x="128" y="105"/>
                  </a:lnTo>
                  <a:lnTo>
                    <a:pt x="128" y="102"/>
                  </a:lnTo>
                  <a:lnTo>
                    <a:pt x="128" y="102"/>
                  </a:lnTo>
                  <a:lnTo>
                    <a:pt x="128" y="102"/>
                  </a:lnTo>
                  <a:lnTo>
                    <a:pt x="128" y="102"/>
                  </a:lnTo>
                  <a:lnTo>
                    <a:pt x="128" y="102"/>
                  </a:lnTo>
                  <a:lnTo>
                    <a:pt x="128" y="102"/>
                  </a:lnTo>
                  <a:lnTo>
                    <a:pt x="128" y="102"/>
                  </a:lnTo>
                  <a:lnTo>
                    <a:pt x="126" y="102"/>
                  </a:lnTo>
                  <a:lnTo>
                    <a:pt x="126" y="100"/>
                  </a:lnTo>
                  <a:lnTo>
                    <a:pt x="126" y="100"/>
                  </a:lnTo>
                  <a:lnTo>
                    <a:pt x="126" y="100"/>
                  </a:lnTo>
                  <a:lnTo>
                    <a:pt x="126" y="98"/>
                  </a:lnTo>
                  <a:lnTo>
                    <a:pt x="126" y="98"/>
                  </a:lnTo>
                  <a:lnTo>
                    <a:pt x="126" y="98"/>
                  </a:lnTo>
                  <a:lnTo>
                    <a:pt x="124" y="98"/>
                  </a:lnTo>
                  <a:lnTo>
                    <a:pt x="124" y="98"/>
                  </a:lnTo>
                  <a:lnTo>
                    <a:pt x="124" y="98"/>
                  </a:lnTo>
                  <a:lnTo>
                    <a:pt x="119" y="98"/>
                  </a:lnTo>
                  <a:lnTo>
                    <a:pt x="119" y="98"/>
                  </a:lnTo>
                  <a:lnTo>
                    <a:pt x="119" y="98"/>
                  </a:lnTo>
                  <a:lnTo>
                    <a:pt x="117" y="98"/>
                  </a:lnTo>
                  <a:lnTo>
                    <a:pt x="117" y="98"/>
                  </a:lnTo>
                  <a:lnTo>
                    <a:pt x="117" y="100"/>
                  </a:lnTo>
                  <a:lnTo>
                    <a:pt x="117" y="100"/>
                  </a:lnTo>
                  <a:lnTo>
                    <a:pt x="115" y="100"/>
                  </a:lnTo>
                  <a:lnTo>
                    <a:pt x="115" y="98"/>
                  </a:lnTo>
                  <a:lnTo>
                    <a:pt x="115" y="98"/>
                  </a:lnTo>
                  <a:lnTo>
                    <a:pt x="115" y="98"/>
                  </a:lnTo>
                  <a:lnTo>
                    <a:pt x="115" y="98"/>
                  </a:lnTo>
                  <a:lnTo>
                    <a:pt x="112" y="95"/>
                  </a:lnTo>
                  <a:lnTo>
                    <a:pt x="112" y="95"/>
                  </a:lnTo>
                  <a:lnTo>
                    <a:pt x="112" y="95"/>
                  </a:lnTo>
                  <a:lnTo>
                    <a:pt x="112" y="95"/>
                  </a:lnTo>
                  <a:lnTo>
                    <a:pt x="110" y="95"/>
                  </a:lnTo>
                  <a:lnTo>
                    <a:pt x="110" y="98"/>
                  </a:lnTo>
                  <a:lnTo>
                    <a:pt x="110" y="98"/>
                  </a:lnTo>
                  <a:lnTo>
                    <a:pt x="105" y="95"/>
                  </a:lnTo>
                  <a:lnTo>
                    <a:pt x="105" y="95"/>
                  </a:lnTo>
                  <a:lnTo>
                    <a:pt x="103" y="95"/>
                  </a:lnTo>
                  <a:lnTo>
                    <a:pt x="103" y="93"/>
                  </a:lnTo>
                  <a:lnTo>
                    <a:pt x="103" y="93"/>
                  </a:lnTo>
                  <a:lnTo>
                    <a:pt x="101" y="95"/>
                  </a:lnTo>
                  <a:lnTo>
                    <a:pt x="101" y="95"/>
                  </a:lnTo>
                  <a:lnTo>
                    <a:pt x="101" y="95"/>
                  </a:lnTo>
                  <a:lnTo>
                    <a:pt x="101" y="93"/>
                  </a:lnTo>
                  <a:lnTo>
                    <a:pt x="98" y="93"/>
                  </a:lnTo>
                  <a:lnTo>
                    <a:pt x="98" y="93"/>
                  </a:lnTo>
                  <a:lnTo>
                    <a:pt x="98" y="93"/>
                  </a:lnTo>
                  <a:lnTo>
                    <a:pt x="96" y="93"/>
                  </a:lnTo>
                  <a:lnTo>
                    <a:pt x="96" y="93"/>
                  </a:lnTo>
                  <a:lnTo>
                    <a:pt x="96" y="91"/>
                  </a:lnTo>
                  <a:lnTo>
                    <a:pt x="96" y="91"/>
                  </a:lnTo>
                  <a:lnTo>
                    <a:pt x="96" y="91"/>
                  </a:lnTo>
                  <a:lnTo>
                    <a:pt x="96" y="91"/>
                  </a:lnTo>
                  <a:lnTo>
                    <a:pt x="96" y="88"/>
                  </a:lnTo>
                  <a:lnTo>
                    <a:pt x="96" y="88"/>
                  </a:lnTo>
                  <a:lnTo>
                    <a:pt x="96" y="88"/>
                  </a:lnTo>
                  <a:lnTo>
                    <a:pt x="96" y="88"/>
                  </a:lnTo>
                  <a:lnTo>
                    <a:pt x="94" y="88"/>
                  </a:lnTo>
                  <a:lnTo>
                    <a:pt x="94" y="88"/>
                  </a:lnTo>
                  <a:lnTo>
                    <a:pt x="94" y="86"/>
                  </a:lnTo>
                  <a:lnTo>
                    <a:pt x="94" y="86"/>
                  </a:lnTo>
                  <a:lnTo>
                    <a:pt x="94" y="86"/>
                  </a:lnTo>
                  <a:lnTo>
                    <a:pt x="94" y="86"/>
                  </a:lnTo>
                  <a:lnTo>
                    <a:pt x="94" y="86"/>
                  </a:lnTo>
                  <a:lnTo>
                    <a:pt x="94" y="86"/>
                  </a:lnTo>
                  <a:lnTo>
                    <a:pt x="94" y="86"/>
                  </a:lnTo>
                  <a:lnTo>
                    <a:pt x="91" y="86"/>
                  </a:lnTo>
                  <a:lnTo>
                    <a:pt x="91" y="86"/>
                  </a:lnTo>
                  <a:lnTo>
                    <a:pt x="91" y="88"/>
                  </a:lnTo>
                  <a:lnTo>
                    <a:pt x="91" y="88"/>
                  </a:lnTo>
                  <a:lnTo>
                    <a:pt x="91" y="88"/>
                  </a:lnTo>
                  <a:lnTo>
                    <a:pt x="91" y="88"/>
                  </a:lnTo>
                  <a:lnTo>
                    <a:pt x="89" y="88"/>
                  </a:lnTo>
                  <a:lnTo>
                    <a:pt x="89" y="88"/>
                  </a:lnTo>
                  <a:lnTo>
                    <a:pt x="87" y="86"/>
                  </a:lnTo>
                  <a:lnTo>
                    <a:pt x="87" y="88"/>
                  </a:lnTo>
                  <a:lnTo>
                    <a:pt x="87" y="88"/>
                  </a:lnTo>
                  <a:lnTo>
                    <a:pt x="87" y="88"/>
                  </a:lnTo>
                  <a:lnTo>
                    <a:pt x="87" y="88"/>
                  </a:lnTo>
                  <a:lnTo>
                    <a:pt x="87" y="88"/>
                  </a:lnTo>
                  <a:lnTo>
                    <a:pt x="84" y="88"/>
                  </a:lnTo>
                  <a:lnTo>
                    <a:pt x="84" y="88"/>
                  </a:lnTo>
                  <a:lnTo>
                    <a:pt x="84" y="88"/>
                  </a:lnTo>
                  <a:lnTo>
                    <a:pt x="82" y="86"/>
                  </a:lnTo>
                  <a:lnTo>
                    <a:pt x="80" y="81"/>
                  </a:lnTo>
                  <a:lnTo>
                    <a:pt x="80" y="81"/>
                  </a:lnTo>
                  <a:lnTo>
                    <a:pt x="77" y="81"/>
                  </a:lnTo>
                  <a:lnTo>
                    <a:pt x="77" y="81"/>
                  </a:lnTo>
                  <a:lnTo>
                    <a:pt x="77" y="81"/>
                  </a:lnTo>
                  <a:lnTo>
                    <a:pt x="77" y="81"/>
                  </a:lnTo>
                  <a:lnTo>
                    <a:pt x="75" y="81"/>
                  </a:lnTo>
                  <a:lnTo>
                    <a:pt x="75" y="81"/>
                  </a:lnTo>
                  <a:lnTo>
                    <a:pt x="75" y="79"/>
                  </a:lnTo>
                  <a:lnTo>
                    <a:pt x="75" y="77"/>
                  </a:lnTo>
                  <a:lnTo>
                    <a:pt x="75" y="72"/>
                  </a:lnTo>
                  <a:lnTo>
                    <a:pt x="77" y="70"/>
                  </a:lnTo>
                  <a:lnTo>
                    <a:pt x="77" y="65"/>
                  </a:lnTo>
                  <a:lnTo>
                    <a:pt x="77" y="60"/>
                  </a:lnTo>
                  <a:lnTo>
                    <a:pt x="77" y="58"/>
                  </a:lnTo>
                  <a:lnTo>
                    <a:pt x="77" y="53"/>
                  </a:lnTo>
                  <a:lnTo>
                    <a:pt x="77" y="51"/>
                  </a:lnTo>
                  <a:lnTo>
                    <a:pt x="77" y="46"/>
                  </a:lnTo>
                  <a:lnTo>
                    <a:pt x="77" y="44"/>
                  </a:lnTo>
                  <a:lnTo>
                    <a:pt x="77" y="39"/>
                  </a:lnTo>
                  <a:lnTo>
                    <a:pt x="77" y="37"/>
                  </a:lnTo>
                  <a:lnTo>
                    <a:pt x="77" y="32"/>
                  </a:lnTo>
                  <a:lnTo>
                    <a:pt x="77" y="28"/>
                  </a:lnTo>
                  <a:lnTo>
                    <a:pt x="77" y="25"/>
                  </a:lnTo>
                  <a:lnTo>
                    <a:pt x="77" y="21"/>
                  </a:lnTo>
                  <a:lnTo>
                    <a:pt x="80" y="21"/>
                  </a:lnTo>
                  <a:lnTo>
                    <a:pt x="77" y="21"/>
                  </a:lnTo>
                  <a:lnTo>
                    <a:pt x="77" y="21"/>
                  </a:lnTo>
                  <a:lnTo>
                    <a:pt x="75" y="21"/>
                  </a:lnTo>
                  <a:lnTo>
                    <a:pt x="73" y="21"/>
                  </a:lnTo>
                  <a:lnTo>
                    <a:pt x="70" y="18"/>
                  </a:lnTo>
                  <a:lnTo>
                    <a:pt x="66" y="18"/>
                  </a:lnTo>
                  <a:lnTo>
                    <a:pt x="59" y="18"/>
                  </a:lnTo>
                  <a:lnTo>
                    <a:pt x="54" y="18"/>
                  </a:lnTo>
                  <a:lnTo>
                    <a:pt x="47" y="18"/>
                  </a:lnTo>
                  <a:lnTo>
                    <a:pt x="40" y="18"/>
                  </a:lnTo>
                  <a:lnTo>
                    <a:pt x="33" y="16"/>
                  </a:lnTo>
                  <a:lnTo>
                    <a:pt x="26" y="16"/>
                  </a:lnTo>
                  <a:lnTo>
                    <a:pt x="19" y="16"/>
                  </a:lnTo>
                  <a:lnTo>
                    <a:pt x="12" y="16"/>
                  </a:lnTo>
                  <a:lnTo>
                    <a:pt x="7" y="16"/>
                  </a:lnTo>
                  <a:lnTo>
                    <a:pt x="5" y="16"/>
                  </a:lnTo>
                  <a:lnTo>
                    <a:pt x="3" y="16"/>
                  </a:lnTo>
                  <a:lnTo>
                    <a:pt x="0" y="16"/>
                  </a:lnTo>
                  <a:lnTo>
                    <a:pt x="0" y="11"/>
                  </a:lnTo>
                  <a:lnTo>
                    <a:pt x="3" y="7"/>
                  </a:lnTo>
                  <a:lnTo>
                    <a:pt x="3" y="2"/>
                  </a:lnTo>
                  <a:lnTo>
                    <a:pt x="3" y="0"/>
                  </a:lnTo>
                  <a:lnTo>
                    <a:pt x="5" y="0"/>
                  </a:lnTo>
                  <a:lnTo>
                    <a:pt x="10" y="0"/>
                  </a:lnTo>
                  <a:lnTo>
                    <a:pt x="12" y="0"/>
                  </a:lnTo>
                  <a:lnTo>
                    <a:pt x="14" y="0"/>
                  </a:lnTo>
                  <a:lnTo>
                    <a:pt x="19" y="0"/>
                  </a:lnTo>
                  <a:lnTo>
                    <a:pt x="21" y="0"/>
                  </a:lnTo>
                  <a:lnTo>
                    <a:pt x="24" y="0"/>
                  </a:lnTo>
                  <a:lnTo>
                    <a:pt x="26" y="0"/>
                  </a:lnTo>
                  <a:lnTo>
                    <a:pt x="33" y="2"/>
                  </a:lnTo>
                  <a:lnTo>
                    <a:pt x="40" y="2"/>
                  </a:lnTo>
                  <a:lnTo>
                    <a:pt x="45" y="2"/>
                  </a:lnTo>
                  <a:lnTo>
                    <a:pt x="52" y="2"/>
                  </a:lnTo>
                  <a:lnTo>
                    <a:pt x="56" y="2"/>
                  </a:lnTo>
                  <a:lnTo>
                    <a:pt x="63" y="2"/>
                  </a:lnTo>
                  <a:lnTo>
                    <a:pt x="70" y="4"/>
                  </a:lnTo>
                  <a:lnTo>
                    <a:pt x="75" y="4"/>
                  </a:lnTo>
                  <a:lnTo>
                    <a:pt x="82" y="4"/>
                  </a:lnTo>
                  <a:lnTo>
                    <a:pt x="87" y="4"/>
                  </a:lnTo>
                  <a:lnTo>
                    <a:pt x="94" y="4"/>
                  </a:lnTo>
                  <a:lnTo>
                    <a:pt x="98" y="4"/>
                  </a:lnTo>
                  <a:lnTo>
                    <a:pt x="105" y="4"/>
                  </a:lnTo>
                  <a:lnTo>
                    <a:pt x="110" y="4"/>
                  </a:lnTo>
                  <a:lnTo>
                    <a:pt x="117" y="4"/>
                  </a:lnTo>
                  <a:lnTo>
                    <a:pt x="122" y="4"/>
                  </a:lnTo>
                  <a:lnTo>
                    <a:pt x="128" y="7"/>
                  </a:lnTo>
                  <a:lnTo>
                    <a:pt x="133" y="7"/>
                  </a:lnTo>
                  <a:lnTo>
                    <a:pt x="140" y="7"/>
                  </a:lnTo>
                  <a:lnTo>
                    <a:pt x="147" y="7"/>
                  </a:lnTo>
                  <a:lnTo>
                    <a:pt x="152" y="7"/>
                  </a:lnTo>
                  <a:lnTo>
                    <a:pt x="159" y="7"/>
                  </a:lnTo>
                  <a:lnTo>
                    <a:pt x="163" y="7"/>
                  </a:lnTo>
                  <a:lnTo>
                    <a:pt x="170" y="7"/>
                  </a:lnTo>
                  <a:lnTo>
                    <a:pt x="175" y="7"/>
                  </a:lnTo>
                  <a:lnTo>
                    <a:pt x="182" y="7"/>
                  </a:lnTo>
                  <a:lnTo>
                    <a:pt x="187" y="7"/>
                  </a:lnTo>
                  <a:lnTo>
                    <a:pt x="194" y="7"/>
                  </a:lnTo>
                  <a:lnTo>
                    <a:pt x="198" y="7"/>
                  </a:lnTo>
                  <a:lnTo>
                    <a:pt x="205" y="7"/>
                  </a:lnTo>
                  <a:lnTo>
                    <a:pt x="210" y="7"/>
                  </a:lnTo>
                  <a:lnTo>
                    <a:pt x="217" y="7"/>
                  </a:lnTo>
                  <a:lnTo>
                    <a:pt x="217" y="9"/>
                  </a:lnTo>
                  <a:lnTo>
                    <a:pt x="217" y="14"/>
                  </a:lnTo>
                  <a:lnTo>
                    <a:pt x="217" y="18"/>
                  </a:lnTo>
                  <a:lnTo>
                    <a:pt x="217" y="2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789">
              <a:extLst>
                <a:ext uri="{FF2B5EF4-FFF2-40B4-BE49-F238E27FC236}">
                  <a16:creationId xmlns:a16="http://schemas.microsoft.com/office/drawing/2014/main" id="{F456376C-87B8-4E66-9CD6-82F3B9E19958}"/>
                </a:ext>
              </a:extLst>
            </p:cNvPr>
            <p:cNvSpPr>
              <a:spLocks/>
            </p:cNvSpPr>
            <p:nvPr/>
          </p:nvSpPr>
          <p:spPr bwMode="auto">
            <a:xfrm>
              <a:off x="6265069" y="4378326"/>
              <a:ext cx="279400" cy="185738"/>
            </a:xfrm>
            <a:custGeom>
              <a:avLst/>
              <a:gdLst>
                <a:gd name="T0" fmla="*/ 174 w 176"/>
                <a:gd name="T1" fmla="*/ 10 h 117"/>
                <a:gd name="T2" fmla="*/ 172 w 176"/>
                <a:gd name="T3" fmla="*/ 14 h 117"/>
                <a:gd name="T4" fmla="*/ 169 w 176"/>
                <a:gd name="T5" fmla="*/ 17 h 117"/>
                <a:gd name="T6" fmla="*/ 169 w 176"/>
                <a:gd name="T7" fmla="*/ 21 h 117"/>
                <a:gd name="T8" fmla="*/ 176 w 176"/>
                <a:gd name="T9" fmla="*/ 26 h 117"/>
                <a:gd name="T10" fmla="*/ 176 w 176"/>
                <a:gd name="T11" fmla="*/ 28 h 117"/>
                <a:gd name="T12" fmla="*/ 176 w 176"/>
                <a:gd name="T13" fmla="*/ 59 h 117"/>
                <a:gd name="T14" fmla="*/ 174 w 176"/>
                <a:gd name="T15" fmla="*/ 87 h 117"/>
                <a:gd name="T16" fmla="*/ 174 w 176"/>
                <a:gd name="T17" fmla="*/ 87 h 117"/>
                <a:gd name="T18" fmla="*/ 174 w 176"/>
                <a:gd name="T19" fmla="*/ 89 h 117"/>
                <a:gd name="T20" fmla="*/ 174 w 176"/>
                <a:gd name="T21" fmla="*/ 94 h 117"/>
                <a:gd name="T22" fmla="*/ 174 w 176"/>
                <a:gd name="T23" fmla="*/ 94 h 117"/>
                <a:gd name="T24" fmla="*/ 174 w 176"/>
                <a:gd name="T25" fmla="*/ 94 h 117"/>
                <a:gd name="T26" fmla="*/ 174 w 176"/>
                <a:gd name="T27" fmla="*/ 96 h 117"/>
                <a:gd name="T28" fmla="*/ 176 w 176"/>
                <a:gd name="T29" fmla="*/ 96 h 117"/>
                <a:gd name="T30" fmla="*/ 176 w 176"/>
                <a:gd name="T31" fmla="*/ 98 h 117"/>
                <a:gd name="T32" fmla="*/ 176 w 176"/>
                <a:gd name="T33" fmla="*/ 101 h 117"/>
                <a:gd name="T34" fmla="*/ 176 w 176"/>
                <a:gd name="T35" fmla="*/ 101 h 117"/>
                <a:gd name="T36" fmla="*/ 176 w 176"/>
                <a:gd name="T37" fmla="*/ 103 h 117"/>
                <a:gd name="T38" fmla="*/ 174 w 176"/>
                <a:gd name="T39" fmla="*/ 105 h 117"/>
                <a:gd name="T40" fmla="*/ 174 w 176"/>
                <a:gd name="T41" fmla="*/ 105 h 117"/>
                <a:gd name="T42" fmla="*/ 174 w 176"/>
                <a:gd name="T43" fmla="*/ 108 h 117"/>
                <a:gd name="T44" fmla="*/ 174 w 176"/>
                <a:gd name="T45" fmla="*/ 108 h 117"/>
                <a:gd name="T46" fmla="*/ 172 w 176"/>
                <a:gd name="T47" fmla="*/ 110 h 117"/>
                <a:gd name="T48" fmla="*/ 174 w 176"/>
                <a:gd name="T49" fmla="*/ 112 h 117"/>
                <a:gd name="T50" fmla="*/ 174 w 176"/>
                <a:gd name="T51" fmla="*/ 115 h 117"/>
                <a:gd name="T52" fmla="*/ 176 w 176"/>
                <a:gd name="T53" fmla="*/ 115 h 117"/>
                <a:gd name="T54" fmla="*/ 176 w 176"/>
                <a:gd name="T55" fmla="*/ 115 h 117"/>
                <a:gd name="T56" fmla="*/ 174 w 176"/>
                <a:gd name="T57" fmla="*/ 117 h 117"/>
                <a:gd name="T58" fmla="*/ 172 w 176"/>
                <a:gd name="T59" fmla="*/ 115 h 117"/>
                <a:gd name="T60" fmla="*/ 172 w 176"/>
                <a:gd name="T61" fmla="*/ 112 h 117"/>
                <a:gd name="T62" fmla="*/ 169 w 176"/>
                <a:gd name="T63" fmla="*/ 112 h 117"/>
                <a:gd name="T64" fmla="*/ 165 w 176"/>
                <a:gd name="T65" fmla="*/ 110 h 117"/>
                <a:gd name="T66" fmla="*/ 162 w 176"/>
                <a:gd name="T67" fmla="*/ 110 h 117"/>
                <a:gd name="T68" fmla="*/ 160 w 176"/>
                <a:gd name="T69" fmla="*/ 108 h 117"/>
                <a:gd name="T70" fmla="*/ 151 w 176"/>
                <a:gd name="T71" fmla="*/ 105 h 117"/>
                <a:gd name="T72" fmla="*/ 148 w 176"/>
                <a:gd name="T73" fmla="*/ 105 h 117"/>
                <a:gd name="T74" fmla="*/ 144 w 176"/>
                <a:gd name="T75" fmla="*/ 105 h 117"/>
                <a:gd name="T76" fmla="*/ 141 w 176"/>
                <a:gd name="T77" fmla="*/ 108 h 117"/>
                <a:gd name="T78" fmla="*/ 139 w 176"/>
                <a:gd name="T79" fmla="*/ 108 h 117"/>
                <a:gd name="T80" fmla="*/ 132 w 176"/>
                <a:gd name="T81" fmla="*/ 103 h 117"/>
                <a:gd name="T82" fmla="*/ 130 w 176"/>
                <a:gd name="T83" fmla="*/ 101 h 117"/>
                <a:gd name="T84" fmla="*/ 107 w 176"/>
                <a:gd name="T85" fmla="*/ 101 h 117"/>
                <a:gd name="T86" fmla="*/ 83 w 176"/>
                <a:gd name="T87" fmla="*/ 98 h 117"/>
                <a:gd name="T88" fmla="*/ 60 w 176"/>
                <a:gd name="T89" fmla="*/ 98 h 117"/>
                <a:gd name="T90" fmla="*/ 37 w 176"/>
                <a:gd name="T91" fmla="*/ 96 h 117"/>
                <a:gd name="T92" fmla="*/ 11 w 176"/>
                <a:gd name="T93" fmla="*/ 94 h 117"/>
                <a:gd name="T94" fmla="*/ 0 w 176"/>
                <a:gd name="T95" fmla="*/ 82 h 117"/>
                <a:gd name="T96" fmla="*/ 2 w 176"/>
                <a:gd name="T97" fmla="*/ 59 h 117"/>
                <a:gd name="T98" fmla="*/ 4 w 176"/>
                <a:gd name="T99" fmla="*/ 33 h 117"/>
                <a:gd name="T100" fmla="*/ 6 w 176"/>
                <a:gd name="T101" fmla="*/ 21 h 117"/>
                <a:gd name="T102" fmla="*/ 9 w 176"/>
                <a:gd name="T103" fmla="*/ 0 h 117"/>
                <a:gd name="T104" fmla="*/ 39 w 176"/>
                <a:gd name="T105" fmla="*/ 3 h 117"/>
                <a:gd name="T106" fmla="*/ 72 w 176"/>
                <a:gd name="T107" fmla="*/ 5 h 117"/>
                <a:gd name="T108" fmla="*/ 102 w 176"/>
                <a:gd name="T109" fmla="*/ 5 h 117"/>
                <a:gd name="T110" fmla="*/ 134 w 176"/>
                <a:gd name="T111" fmla="*/ 7 h 117"/>
                <a:gd name="T112" fmla="*/ 165 w 176"/>
                <a:gd name="T113" fmla="*/ 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17">
                  <a:moveTo>
                    <a:pt x="174" y="7"/>
                  </a:moveTo>
                  <a:lnTo>
                    <a:pt x="174" y="7"/>
                  </a:lnTo>
                  <a:lnTo>
                    <a:pt x="174" y="7"/>
                  </a:lnTo>
                  <a:lnTo>
                    <a:pt x="174" y="7"/>
                  </a:lnTo>
                  <a:lnTo>
                    <a:pt x="174" y="10"/>
                  </a:lnTo>
                  <a:lnTo>
                    <a:pt x="174" y="10"/>
                  </a:lnTo>
                  <a:lnTo>
                    <a:pt x="174" y="12"/>
                  </a:lnTo>
                  <a:lnTo>
                    <a:pt x="174" y="12"/>
                  </a:lnTo>
                  <a:lnTo>
                    <a:pt x="174" y="14"/>
                  </a:lnTo>
                  <a:lnTo>
                    <a:pt x="174" y="14"/>
                  </a:lnTo>
                  <a:lnTo>
                    <a:pt x="174" y="14"/>
                  </a:lnTo>
                  <a:lnTo>
                    <a:pt x="172" y="14"/>
                  </a:lnTo>
                  <a:lnTo>
                    <a:pt x="172" y="14"/>
                  </a:lnTo>
                  <a:lnTo>
                    <a:pt x="172" y="17"/>
                  </a:lnTo>
                  <a:lnTo>
                    <a:pt x="169" y="17"/>
                  </a:lnTo>
                  <a:lnTo>
                    <a:pt x="169" y="17"/>
                  </a:lnTo>
                  <a:lnTo>
                    <a:pt x="169" y="17"/>
                  </a:lnTo>
                  <a:lnTo>
                    <a:pt x="169" y="17"/>
                  </a:lnTo>
                  <a:lnTo>
                    <a:pt x="169" y="17"/>
                  </a:lnTo>
                  <a:lnTo>
                    <a:pt x="169" y="19"/>
                  </a:lnTo>
                  <a:lnTo>
                    <a:pt x="167" y="19"/>
                  </a:lnTo>
                  <a:lnTo>
                    <a:pt x="169" y="19"/>
                  </a:lnTo>
                  <a:lnTo>
                    <a:pt x="169" y="21"/>
                  </a:lnTo>
                  <a:lnTo>
                    <a:pt x="169" y="21"/>
                  </a:lnTo>
                  <a:lnTo>
                    <a:pt x="172" y="24"/>
                  </a:lnTo>
                  <a:lnTo>
                    <a:pt x="172" y="24"/>
                  </a:lnTo>
                  <a:lnTo>
                    <a:pt x="172" y="26"/>
                  </a:lnTo>
                  <a:lnTo>
                    <a:pt x="174" y="26"/>
                  </a:lnTo>
                  <a:lnTo>
                    <a:pt x="174" y="26"/>
                  </a:lnTo>
                  <a:lnTo>
                    <a:pt x="176" y="26"/>
                  </a:lnTo>
                  <a:lnTo>
                    <a:pt x="176" y="26"/>
                  </a:lnTo>
                  <a:lnTo>
                    <a:pt x="176" y="26"/>
                  </a:lnTo>
                  <a:lnTo>
                    <a:pt x="176" y="26"/>
                  </a:lnTo>
                  <a:lnTo>
                    <a:pt x="176" y="28"/>
                  </a:lnTo>
                  <a:lnTo>
                    <a:pt x="176" y="28"/>
                  </a:lnTo>
                  <a:lnTo>
                    <a:pt x="176" y="28"/>
                  </a:lnTo>
                  <a:lnTo>
                    <a:pt x="176" y="28"/>
                  </a:lnTo>
                  <a:lnTo>
                    <a:pt x="176" y="31"/>
                  </a:lnTo>
                  <a:lnTo>
                    <a:pt x="176" y="38"/>
                  </a:lnTo>
                  <a:lnTo>
                    <a:pt x="176" y="45"/>
                  </a:lnTo>
                  <a:lnTo>
                    <a:pt x="176" y="52"/>
                  </a:lnTo>
                  <a:lnTo>
                    <a:pt x="176" y="59"/>
                  </a:lnTo>
                  <a:lnTo>
                    <a:pt x="176" y="66"/>
                  </a:lnTo>
                  <a:lnTo>
                    <a:pt x="176" y="73"/>
                  </a:lnTo>
                  <a:lnTo>
                    <a:pt x="176" y="80"/>
                  </a:lnTo>
                  <a:lnTo>
                    <a:pt x="176" y="87"/>
                  </a:lnTo>
                  <a:lnTo>
                    <a:pt x="174" y="87"/>
                  </a:lnTo>
                  <a:lnTo>
                    <a:pt x="174" y="87"/>
                  </a:lnTo>
                  <a:lnTo>
                    <a:pt x="174" y="87"/>
                  </a:lnTo>
                  <a:lnTo>
                    <a:pt x="174" y="87"/>
                  </a:lnTo>
                  <a:lnTo>
                    <a:pt x="174" y="87"/>
                  </a:lnTo>
                  <a:lnTo>
                    <a:pt x="174" y="87"/>
                  </a:lnTo>
                  <a:lnTo>
                    <a:pt x="174" y="87"/>
                  </a:lnTo>
                  <a:lnTo>
                    <a:pt x="174" y="87"/>
                  </a:lnTo>
                  <a:lnTo>
                    <a:pt x="174" y="89"/>
                  </a:lnTo>
                  <a:lnTo>
                    <a:pt x="174" y="89"/>
                  </a:lnTo>
                  <a:lnTo>
                    <a:pt x="174" y="89"/>
                  </a:lnTo>
                  <a:lnTo>
                    <a:pt x="174" y="89"/>
                  </a:lnTo>
                  <a:lnTo>
                    <a:pt x="174" y="89"/>
                  </a:lnTo>
                  <a:lnTo>
                    <a:pt x="174" y="89"/>
                  </a:lnTo>
                  <a:lnTo>
                    <a:pt x="174" y="89"/>
                  </a:lnTo>
                  <a:lnTo>
                    <a:pt x="174" y="89"/>
                  </a:lnTo>
                  <a:lnTo>
                    <a:pt x="174" y="91"/>
                  </a:lnTo>
                  <a:lnTo>
                    <a:pt x="174" y="91"/>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4"/>
                  </a:lnTo>
                  <a:lnTo>
                    <a:pt x="174" y="96"/>
                  </a:lnTo>
                  <a:lnTo>
                    <a:pt x="174" y="96"/>
                  </a:lnTo>
                  <a:lnTo>
                    <a:pt x="174" y="96"/>
                  </a:lnTo>
                  <a:lnTo>
                    <a:pt x="174" y="96"/>
                  </a:lnTo>
                  <a:lnTo>
                    <a:pt x="176" y="96"/>
                  </a:lnTo>
                  <a:lnTo>
                    <a:pt x="176" y="96"/>
                  </a:lnTo>
                  <a:lnTo>
                    <a:pt x="176" y="96"/>
                  </a:lnTo>
                  <a:lnTo>
                    <a:pt x="176" y="96"/>
                  </a:lnTo>
                  <a:lnTo>
                    <a:pt x="176" y="96"/>
                  </a:lnTo>
                  <a:lnTo>
                    <a:pt x="176" y="96"/>
                  </a:lnTo>
                  <a:lnTo>
                    <a:pt x="176" y="96"/>
                  </a:lnTo>
                  <a:lnTo>
                    <a:pt x="176" y="96"/>
                  </a:lnTo>
                  <a:lnTo>
                    <a:pt x="176" y="96"/>
                  </a:lnTo>
                  <a:lnTo>
                    <a:pt x="176" y="98"/>
                  </a:lnTo>
                  <a:lnTo>
                    <a:pt x="176" y="98"/>
                  </a:lnTo>
                  <a:lnTo>
                    <a:pt x="176" y="98"/>
                  </a:lnTo>
                  <a:lnTo>
                    <a:pt x="176" y="98"/>
                  </a:lnTo>
                  <a:lnTo>
                    <a:pt x="176" y="98"/>
                  </a:lnTo>
                  <a:lnTo>
                    <a:pt x="176" y="101"/>
                  </a:lnTo>
                  <a:lnTo>
                    <a:pt x="176" y="101"/>
                  </a:lnTo>
                  <a:lnTo>
                    <a:pt x="176" y="101"/>
                  </a:lnTo>
                  <a:lnTo>
                    <a:pt x="176" y="101"/>
                  </a:lnTo>
                  <a:lnTo>
                    <a:pt x="176" y="101"/>
                  </a:lnTo>
                  <a:lnTo>
                    <a:pt x="176" y="101"/>
                  </a:lnTo>
                  <a:lnTo>
                    <a:pt x="176" y="101"/>
                  </a:lnTo>
                  <a:lnTo>
                    <a:pt x="176" y="101"/>
                  </a:lnTo>
                  <a:lnTo>
                    <a:pt x="176" y="101"/>
                  </a:lnTo>
                  <a:lnTo>
                    <a:pt x="176" y="101"/>
                  </a:lnTo>
                  <a:lnTo>
                    <a:pt x="176" y="103"/>
                  </a:lnTo>
                  <a:lnTo>
                    <a:pt x="176" y="103"/>
                  </a:lnTo>
                  <a:lnTo>
                    <a:pt x="176" y="103"/>
                  </a:lnTo>
                  <a:lnTo>
                    <a:pt x="176" y="103"/>
                  </a:lnTo>
                  <a:lnTo>
                    <a:pt x="176" y="103"/>
                  </a:lnTo>
                  <a:lnTo>
                    <a:pt x="176" y="103"/>
                  </a:lnTo>
                  <a:lnTo>
                    <a:pt x="176" y="103"/>
                  </a:lnTo>
                  <a:lnTo>
                    <a:pt x="176" y="103"/>
                  </a:lnTo>
                  <a:lnTo>
                    <a:pt x="174" y="105"/>
                  </a:lnTo>
                  <a:lnTo>
                    <a:pt x="174" y="105"/>
                  </a:lnTo>
                  <a:lnTo>
                    <a:pt x="174" y="105"/>
                  </a:lnTo>
                  <a:lnTo>
                    <a:pt x="174" y="105"/>
                  </a:lnTo>
                  <a:lnTo>
                    <a:pt x="174" y="105"/>
                  </a:lnTo>
                  <a:lnTo>
                    <a:pt x="174" y="105"/>
                  </a:lnTo>
                  <a:lnTo>
                    <a:pt x="174" y="105"/>
                  </a:lnTo>
                  <a:lnTo>
                    <a:pt x="174" y="105"/>
                  </a:lnTo>
                  <a:lnTo>
                    <a:pt x="174" y="105"/>
                  </a:lnTo>
                  <a:lnTo>
                    <a:pt x="174" y="105"/>
                  </a:lnTo>
                  <a:lnTo>
                    <a:pt x="174" y="108"/>
                  </a:lnTo>
                  <a:lnTo>
                    <a:pt x="174" y="108"/>
                  </a:lnTo>
                  <a:lnTo>
                    <a:pt x="174" y="108"/>
                  </a:lnTo>
                  <a:lnTo>
                    <a:pt x="174" y="108"/>
                  </a:lnTo>
                  <a:lnTo>
                    <a:pt x="174" y="108"/>
                  </a:lnTo>
                  <a:lnTo>
                    <a:pt x="174" y="108"/>
                  </a:lnTo>
                  <a:lnTo>
                    <a:pt x="174" y="108"/>
                  </a:lnTo>
                  <a:lnTo>
                    <a:pt x="174" y="108"/>
                  </a:lnTo>
                  <a:lnTo>
                    <a:pt x="174" y="108"/>
                  </a:lnTo>
                  <a:lnTo>
                    <a:pt x="174" y="108"/>
                  </a:lnTo>
                  <a:lnTo>
                    <a:pt x="174" y="108"/>
                  </a:lnTo>
                  <a:lnTo>
                    <a:pt x="174" y="108"/>
                  </a:lnTo>
                  <a:lnTo>
                    <a:pt x="174" y="108"/>
                  </a:lnTo>
                  <a:lnTo>
                    <a:pt x="174" y="108"/>
                  </a:lnTo>
                  <a:lnTo>
                    <a:pt x="172" y="110"/>
                  </a:lnTo>
                  <a:lnTo>
                    <a:pt x="172" y="110"/>
                  </a:lnTo>
                  <a:lnTo>
                    <a:pt x="172" y="110"/>
                  </a:lnTo>
                  <a:lnTo>
                    <a:pt x="172" y="110"/>
                  </a:lnTo>
                  <a:lnTo>
                    <a:pt x="172" y="110"/>
                  </a:lnTo>
                  <a:lnTo>
                    <a:pt x="174" y="110"/>
                  </a:lnTo>
                  <a:lnTo>
                    <a:pt x="174" y="112"/>
                  </a:lnTo>
                  <a:lnTo>
                    <a:pt x="174" y="112"/>
                  </a:lnTo>
                  <a:lnTo>
                    <a:pt x="174" y="112"/>
                  </a:lnTo>
                  <a:lnTo>
                    <a:pt x="174" y="112"/>
                  </a:lnTo>
                  <a:lnTo>
                    <a:pt x="174" y="112"/>
                  </a:lnTo>
                  <a:lnTo>
                    <a:pt x="176" y="112"/>
                  </a:lnTo>
                  <a:lnTo>
                    <a:pt x="176" y="112"/>
                  </a:lnTo>
                  <a:lnTo>
                    <a:pt x="174" y="112"/>
                  </a:lnTo>
                  <a:lnTo>
                    <a:pt x="174" y="115"/>
                  </a:lnTo>
                  <a:lnTo>
                    <a:pt x="174" y="115"/>
                  </a:lnTo>
                  <a:lnTo>
                    <a:pt x="174" y="115"/>
                  </a:lnTo>
                  <a:lnTo>
                    <a:pt x="174" y="115"/>
                  </a:lnTo>
                  <a:lnTo>
                    <a:pt x="174" y="115"/>
                  </a:lnTo>
                  <a:lnTo>
                    <a:pt x="176" y="115"/>
                  </a:lnTo>
                  <a:lnTo>
                    <a:pt x="176" y="115"/>
                  </a:lnTo>
                  <a:lnTo>
                    <a:pt x="176" y="115"/>
                  </a:lnTo>
                  <a:lnTo>
                    <a:pt x="176" y="115"/>
                  </a:lnTo>
                  <a:lnTo>
                    <a:pt x="176" y="115"/>
                  </a:lnTo>
                  <a:lnTo>
                    <a:pt x="176" y="115"/>
                  </a:lnTo>
                  <a:lnTo>
                    <a:pt x="176" y="115"/>
                  </a:lnTo>
                  <a:lnTo>
                    <a:pt x="176" y="115"/>
                  </a:lnTo>
                  <a:lnTo>
                    <a:pt x="176" y="115"/>
                  </a:lnTo>
                  <a:lnTo>
                    <a:pt x="176" y="115"/>
                  </a:lnTo>
                  <a:lnTo>
                    <a:pt x="176" y="117"/>
                  </a:lnTo>
                  <a:lnTo>
                    <a:pt x="176" y="117"/>
                  </a:lnTo>
                  <a:lnTo>
                    <a:pt x="176" y="117"/>
                  </a:lnTo>
                  <a:lnTo>
                    <a:pt x="174" y="117"/>
                  </a:lnTo>
                  <a:lnTo>
                    <a:pt x="172" y="117"/>
                  </a:lnTo>
                  <a:lnTo>
                    <a:pt x="172" y="117"/>
                  </a:lnTo>
                  <a:lnTo>
                    <a:pt x="172" y="115"/>
                  </a:lnTo>
                  <a:lnTo>
                    <a:pt x="172" y="115"/>
                  </a:lnTo>
                  <a:lnTo>
                    <a:pt x="172" y="115"/>
                  </a:lnTo>
                  <a:lnTo>
                    <a:pt x="172" y="115"/>
                  </a:lnTo>
                  <a:lnTo>
                    <a:pt x="172" y="115"/>
                  </a:lnTo>
                  <a:lnTo>
                    <a:pt x="172" y="112"/>
                  </a:lnTo>
                  <a:lnTo>
                    <a:pt x="172" y="112"/>
                  </a:lnTo>
                  <a:lnTo>
                    <a:pt x="172" y="112"/>
                  </a:lnTo>
                  <a:lnTo>
                    <a:pt x="172" y="112"/>
                  </a:lnTo>
                  <a:lnTo>
                    <a:pt x="172" y="112"/>
                  </a:lnTo>
                  <a:lnTo>
                    <a:pt x="172" y="112"/>
                  </a:lnTo>
                  <a:lnTo>
                    <a:pt x="169" y="112"/>
                  </a:lnTo>
                  <a:lnTo>
                    <a:pt x="169" y="112"/>
                  </a:lnTo>
                  <a:lnTo>
                    <a:pt x="169" y="112"/>
                  </a:lnTo>
                  <a:lnTo>
                    <a:pt x="169" y="112"/>
                  </a:lnTo>
                  <a:lnTo>
                    <a:pt x="169" y="112"/>
                  </a:lnTo>
                  <a:lnTo>
                    <a:pt x="169" y="112"/>
                  </a:lnTo>
                  <a:lnTo>
                    <a:pt x="169" y="112"/>
                  </a:lnTo>
                  <a:lnTo>
                    <a:pt x="167" y="110"/>
                  </a:lnTo>
                  <a:lnTo>
                    <a:pt x="167" y="110"/>
                  </a:lnTo>
                  <a:lnTo>
                    <a:pt x="167" y="110"/>
                  </a:lnTo>
                  <a:lnTo>
                    <a:pt x="165" y="110"/>
                  </a:lnTo>
                  <a:lnTo>
                    <a:pt x="165" y="110"/>
                  </a:lnTo>
                  <a:lnTo>
                    <a:pt x="165" y="110"/>
                  </a:lnTo>
                  <a:lnTo>
                    <a:pt x="165" y="110"/>
                  </a:lnTo>
                  <a:lnTo>
                    <a:pt x="165" y="110"/>
                  </a:lnTo>
                  <a:lnTo>
                    <a:pt x="165" y="110"/>
                  </a:lnTo>
                  <a:lnTo>
                    <a:pt x="162" y="110"/>
                  </a:lnTo>
                  <a:lnTo>
                    <a:pt x="162" y="108"/>
                  </a:lnTo>
                  <a:lnTo>
                    <a:pt x="162" y="108"/>
                  </a:lnTo>
                  <a:lnTo>
                    <a:pt x="160" y="108"/>
                  </a:lnTo>
                  <a:lnTo>
                    <a:pt x="160" y="108"/>
                  </a:lnTo>
                  <a:lnTo>
                    <a:pt x="160" y="108"/>
                  </a:lnTo>
                  <a:lnTo>
                    <a:pt x="160" y="108"/>
                  </a:lnTo>
                  <a:lnTo>
                    <a:pt x="158" y="105"/>
                  </a:lnTo>
                  <a:lnTo>
                    <a:pt x="158" y="105"/>
                  </a:lnTo>
                  <a:lnTo>
                    <a:pt x="158" y="105"/>
                  </a:lnTo>
                  <a:lnTo>
                    <a:pt x="158" y="105"/>
                  </a:lnTo>
                  <a:lnTo>
                    <a:pt x="153" y="105"/>
                  </a:lnTo>
                  <a:lnTo>
                    <a:pt x="151" y="105"/>
                  </a:lnTo>
                  <a:lnTo>
                    <a:pt x="151" y="105"/>
                  </a:lnTo>
                  <a:lnTo>
                    <a:pt x="148" y="105"/>
                  </a:lnTo>
                  <a:lnTo>
                    <a:pt x="148" y="105"/>
                  </a:lnTo>
                  <a:lnTo>
                    <a:pt x="148" y="105"/>
                  </a:lnTo>
                  <a:lnTo>
                    <a:pt x="148" y="105"/>
                  </a:lnTo>
                  <a:lnTo>
                    <a:pt x="148" y="105"/>
                  </a:lnTo>
                  <a:lnTo>
                    <a:pt x="146" y="105"/>
                  </a:lnTo>
                  <a:lnTo>
                    <a:pt x="146" y="105"/>
                  </a:lnTo>
                  <a:lnTo>
                    <a:pt x="144" y="105"/>
                  </a:lnTo>
                  <a:lnTo>
                    <a:pt x="144" y="105"/>
                  </a:lnTo>
                  <a:lnTo>
                    <a:pt x="144" y="105"/>
                  </a:lnTo>
                  <a:lnTo>
                    <a:pt x="144" y="105"/>
                  </a:lnTo>
                  <a:lnTo>
                    <a:pt x="144" y="105"/>
                  </a:lnTo>
                  <a:lnTo>
                    <a:pt x="144" y="108"/>
                  </a:lnTo>
                  <a:lnTo>
                    <a:pt x="144" y="108"/>
                  </a:lnTo>
                  <a:lnTo>
                    <a:pt x="144" y="108"/>
                  </a:lnTo>
                  <a:lnTo>
                    <a:pt x="141" y="108"/>
                  </a:lnTo>
                  <a:lnTo>
                    <a:pt x="141" y="108"/>
                  </a:lnTo>
                  <a:lnTo>
                    <a:pt x="141" y="108"/>
                  </a:lnTo>
                  <a:lnTo>
                    <a:pt x="141" y="108"/>
                  </a:lnTo>
                  <a:lnTo>
                    <a:pt x="141" y="108"/>
                  </a:lnTo>
                  <a:lnTo>
                    <a:pt x="139" y="108"/>
                  </a:lnTo>
                  <a:lnTo>
                    <a:pt x="139" y="108"/>
                  </a:lnTo>
                  <a:lnTo>
                    <a:pt x="139" y="108"/>
                  </a:lnTo>
                  <a:lnTo>
                    <a:pt x="139" y="108"/>
                  </a:lnTo>
                  <a:lnTo>
                    <a:pt x="134" y="105"/>
                  </a:lnTo>
                  <a:lnTo>
                    <a:pt x="134" y="105"/>
                  </a:lnTo>
                  <a:lnTo>
                    <a:pt x="132" y="103"/>
                  </a:lnTo>
                  <a:lnTo>
                    <a:pt x="132" y="103"/>
                  </a:lnTo>
                  <a:lnTo>
                    <a:pt x="132" y="103"/>
                  </a:lnTo>
                  <a:lnTo>
                    <a:pt x="132" y="103"/>
                  </a:lnTo>
                  <a:lnTo>
                    <a:pt x="130" y="103"/>
                  </a:lnTo>
                  <a:lnTo>
                    <a:pt x="130" y="103"/>
                  </a:lnTo>
                  <a:lnTo>
                    <a:pt x="130" y="101"/>
                  </a:lnTo>
                  <a:lnTo>
                    <a:pt x="130" y="101"/>
                  </a:lnTo>
                  <a:lnTo>
                    <a:pt x="130" y="101"/>
                  </a:lnTo>
                  <a:lnTo>
                    <a:pt x="128" y="101"/>
                  </a:lnTo>
                  <a:lnTo>
                    <a:pt x="123" y="101"/>
                  </a:lnTo>
                  <a:lnTo>
                    <a:pt x="118" y="101"/>
                  </a:lnTo>
                  <a:lnTo>
                    <a:pt x="116" y="101"/>
                  </a:lnTo>
                  <a:lnTo>
                    <a:pt x="111" y="101"/>
                  </a:lnTo>
                  <a:lnTo>
                    <a:pt x="107" y="101"/>
                  </a:lnTo>
                  <a:lnTo>
                    <a:pt x="104" y="101"/>
                  </a:lnTo>
                  <a:lnTo>
                    <a:pt x="100" y="101"/>
                  </a:lnTo>
                  <a:lnTo>
                    <a:pt x="95" y="101"/>
                  </a:lnTo>
                  <a:lnTo>
                    <a:pt x="93" y="101"/>
                  </a:lnTo>
                  <a:lnTo>
                    <a:pt x="88" y="101"/>
                  </a:lnTo>
                  <a:lnTo>
                    <a:pt x="83" y="98"/>
                  </a:lnTo>
                  <a:lnTo>
                    <a:pt x="79" y="98"/>
                  </a:lnTo>
                  <a:lnTo>
                    <a:pt x="76" y="98"/>
                  </a:lnTo>
                  <a:lnTo>
                    <a:pt x="72" y="98"/>
                  </a:lnTo>
                  <a:lnTo>
                    <a:pt x="67" y="98"/>
                  </a:lnTo>
                  <a:lnTo>
                    <a:pt x="65" y="98"/>
                  </a:lnTo>
                  <a:lnTo>
                    <a:pt x="60" y="98"/>
                  </a:lnTo>
                  <a:lnTo>
                    <a:pt x="55" y="98"/>
                  </a:lnTo>
                  <a:lnTo>
                    <a:pt x="51" y="98"/>
                  </a:lnTo>
                  <a:lnTo>
                    <a:pt x="48" y="98"/>
                  </a:lnTo>
                  <a:lnTo>
                    <a:pt x="44" y="96"/>
                  </a:lnTo>
                  <a:lnTo>
                    <a:pt x="39" y="96"/>
                  </a:lnTo>
                  <a:lnTo>
                    <a:pt x="37" y="96"/>
                  </a:lnTo>
                  <a:lnTo>
                    <a:pt x="32" y="96"/>
                  </a:lnTo>
                  <a:lnTo>
                    <a:pt x="27" y="96"/>
                  </a:lnTo>
                  <a:lnTo>
                    <a:pt x="23" y="96"/>
                  </a:lnTo>
                  <a:lnTo>
                    <a:pt x="20" y="96"/>
                  </a:lnTo>
                  <a:lnTo>
                    <a:pt x="16" y="94"/>
                  </a:lnTo>
                  <a:lnTo>
                    <a:pt x="11" y="94"/>
                  </a:lnTo>
                  <a:lnTo>
                    <a:pt x="9" y="94"/>
                  </a:lnTo>
                  <a:lnTo>
                    <a:pt x="4" y="94"/>
                  </a:lnTo>
                  <a:lnTo>
                    <a:pt x="0" y="94"/>
                  </a:lnTo>
                  <a:lnTo>
                    <a:pt x="0" y="89"/>
                  </a:lnTo>
                  <a:lnTo>
                    <a:pt x="0" y="84"/>
                  </a:lnTo>
                  <a:lnTo>
                    <a:pt x="0" y="82"/>
                  </a:lnTo>
                  <a:lnTo>
                    <a:pt x="2" y="77"/>
                  </a:lnTo>
                  <a:lnTo>
                    <a:pt x="2" y="73"/>
                  </a:lnTo>
                  <a:lnTo>
                    <a:pt x="2" y="70"/>
                  </a:lnTo>
                  <a:lnTo>
                    <a:pt x="2" y="66"/>
                  </a:lnTo>
                  <a:lnTo>
                    <a:pt x="2" y="61"/>
                  </a:lnTo>
                  <a:lnTo>
                    <a:pt x="2" y="59"/>
                  </a:lnTo>
                  <a:lnTo>
                    <a:pt x="4" y="54"/>
                  </a:lnTo>
                  <a:lnTo>
                    <a:pt x="4" y="49"/>
                  </a:lnTo>
                  <a:lnTo>
                    <a:pt x="4" y="45"/>
                  </a:lnTo>
                  <a:lnTo>
                    <a:pt x="4" y="42"/>
                  </a:lnTo>
                  <a:lnTo>
                    <a:pt x="4" y="38"/>
                  </a:lnTo>
                  <a:lnTo>
                    <a:pt x="4" y="33"/>
                  </a:lnTo>
                  <a:lnTo>
                    <a:pt x="4" y="31"/>
                  </a:lnTo>
                  <a:lnTo>
                    <a:pt x="6" y="31"/>
                  </a:lnTo>
                  <a:lnTo>
                    <a:pt x="6" y="28"/>
                  </a:lnTo>
                  <a:lnTo>
                    <a:pt x="6" y="28"/>
                  </a:lnTo>
                  <a:lnTo>
                    <a:pt x="6" y="24"/>
                  </a:lnTo>
                  <a:lnTo>
                    <a:pt x="6" y="21"/>
                  </a:lnTo>
                  <a:lnTo>
                    <a:pt x="6" y="17"/>
                  </a:lnTo>
                  <a:lnTo>
                    <a:pt x="6" y="14"/>
                  </a:lnTo>
                  <a:lnTo>
                    <a:pt x="6" y="10"/>
                  </a:lnTo>
                  <a:lnTo>
                    <a:pt x="6" y="7"/>
                  </a:lnTo>
                  <a:lnTo>
                    <a:pt x="9" y="3"/>
                  </a:lnTo>
                  <a:lnTo>
                    <a:pt x="9" y="0"/>
                  </a:lnTo>
                  <a:lnTo>
                    <a:pt x="13" y="0"/>
                  </a:lnTo>
                  <a:lnTo>
                    <a:pt x="20" y="0"/>
                  </a:lnTo>
                  <a:lnTo>
                    <a:pt x="25" y="0"/>
                  </a:lnTo>
                  <a:lnTo>
                    <a:pt x="30" y="0"/>
                  </a:lnTo>
                  <a:lnTo>
                    <a:pt x="34" y="3"/>
                  </a:lnTo>
                  <a:lnTo>
                    <a:pt x="39" y="3"/>
                  </a:lnTo>
                  <a:lnTo>
                    <a:pt x="46" y="3"/>
                  </a:lnTo>
                  <a:lnTo>
                    <a:pt x="51" y="3"/>
                  </a:lnTo>
                  <a:lnTo>
                    <a:pt x="55" y="3"/>
                  </a:lnTo>
                  <a:lnTo>
                    <a:pt x="60" y="3"/>
                  </a:lnTo>
                  <a:lnTo>
                    <a:pt x="67" y="5"/>
                  </a:lnTo>
                  <a:lnTo>
                    <a:pt x="72" y="5"/>
                  </a:lnTo>
                  <a:lnTo>
                    <a:pt x="76" y="5"/>
                  </a:lnTo>
                  <a:lnTo>
                    <a:pt x="81" y="5"/>
                  </a:lnTo>
                  <a:lnTo>
                    <a:pt x="88" y="5"/>
                  </a:lnTo>
                  <a:lnTo>
                    <a:pt x="93" y="5"/>
                  </a:lnTo>
                  <a:lnTo>
                    <a:pt x="97" y="5"/>
                  </a:lnTo>
                  <a:lnTo>
                    <a:pt x="102" y="5"/>
                  </a:lnTo>
                  <a:lnTo>
                    <a:pt x="107" y="7"/>
                  </a:lnTo>
                  <a:lnTo>
                    <a:pt x="114" y="7"/>
                  </a:lnTo>
                  <a:lnTo>
                    <a:pt x="118" y="7"/>
                  </a:lnTo>
                  <a:lnTo>
                    <a:pt x="123" y="7"/>
                  </a:lnTo>
                  <a:lnTo>
                    <a:pt x="128" y="7"/>
                  </a:lnTo>
                  <a:lnTo>
                    <a:pt x="134" y="7"/>
                  </a:lnTo>
                  <a:lnTo>
                    <a:pt x="139" y="7"/>
                  </a:lnTo>
                  <a:lnTo>
                    <a:pt x="144" y="7"/>
                  </a:lnTo>
                  <a:lnTo>
                    <a:pt x="148" y="7"/>
                  </a:lnTo>
                  <a:lnTo>
                    <a:pt x="155" y="7"/>
                  </a:lnTo>
                  <a:lnTo>
                    <a:pt x="160" y="7"/>
                  </a:lnTo>
                  <a:lnTo>
                    <a:pt x="165" y="7"/>
                  </a:lnTo>
                  <a:lnTo>
                    <a:pt x="169" y="7"/>
                  </a:lnTo>
                  <a:lnTo>
                    <a:pt x="174"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790">
              <a:extLst>
                <a:ext uri="{FF2B5EF4-FFF2-40B4-BE49-F238E27FC236}">
                  <a16:creationId xmlns:a16="http://schemas.microsoft.com/office/drawing/2014/main" id="{1F1347FF-9153-45FA-A1D8-D16D818F1F41}"/>
                </a:ext>
              </a:extLst>
            </p:cNvPr>
            <p:cNvSpPr>
              <a:spLocks noEditPoints="1"/>
            </p:cNvSpPr>
            <p:nvPr/>
          </p:nvSpPr>
          <p:spPr bwMode="auto">
            <a:xfrm>
              <a:off x="6649244" y="5040313"/>
              <a:ext cx="234950" cy="203200"/>
            </a:xfrm>
            <a:custGeom>
              <a:avLst/>
              <a:gdLst>
                <a:gd name="T0" fmla="*/ 102 w 148"/>
                <a:gd name="T1" fmla="*/ 126 h 128"/>
                <a:gd name="T2" fmla="*/ 116 w 148"/>
                <a:gd name="T3" fmla="*/ 121 h 128"/>
                <a:gd name="T4" fmla="*/ 139 w 148"/>
                <a:gd name="T5" fmla="*/ 110 h 128"/>
                <a:gd name="T6" fmla="*/ 142 w 148"/>
                <a:gd name="T7" fmla="*/ 110 h 128"/>
                <a:gd name="T8" fmla="*/ 62 w 148"/>
                <a:gd name="T9" fmla="*/ 110 h 128"/>
                <a:gd name="T10" fmla="*/ 130 w 148"/>
                <a:gd name="T11" fmla="*/ 103 h 128"/>
                <a:gd name="T12" fmla="*/ 135 w 148"/>
                <a:gd name="T13" fmla="*/ 96 h 128"/>
                <a:gd name="T14" fmla="*/ 148 w 148"/>
                <a:gd name="T15" fmla="*/ 96 h 128"/>
                <a:gd name="T16" fmla="*/ 148 w 148"/>
                <a:gd name="T17" fmla="*/ 98 h 128"/>
                <a:gd name="T18" fmla="*/ 137 w 148"/>
                <a:gd name="T19" fmla="*/ 89 h 128"/>
                <a:gd name="T20" fmla="*/ 79 w 148"/>
                <a:gd name="T21" fmla="*/ 33 h 128"/>
                <a:gd name="T22" fmla="*/ 69 w 148"/>
                <a:gd name="T23" fmla="*/ 49 h 128"/>
                <a:gd name="T24" fmla="*/ 69 w 148"/>
                <a:gd name="T25" fmla="*/ 63 h 128"/>
                <a:gd name="T26" fmla="*/ 93 w 148"/>
                <a:gd name="T27" fmla="*/ 65 h 128"/>
                <a:gd name="T28" fmla="*/ 121 w 148"/>
                <a:gd name="T29" fmla="*/ 63 h 128"/>
                <a:gd name="T30" fmla="*/ 121 w 148"/>
                <a:gd name="T31" fmla="*/ 79 h 128"/>
                <a:gd name="T32" fmla="*/ 123 w 148"/>
                <a:gd name="T33" fmla="*/ 89 h 128"/>
                <a:gd name="T34" fmla="*/ 109 w 148"/>
                <a:gd name="T35" fmla="*/ 84 h 128"/>
                <a:gd name="T36" fmla="*/ 109 w 148"/>
                <a:gd name="T37" fmla="*/ 93 h 128"/>
                <a:gd name="T38" fmla="*/ 121 w 148"/>
                <a:gd name="T39" fmla="*/ 89 h 128"/>
                <a:gd name="T40" fmla="*/ 125 w 148"/>
                <a:gd name="T41" fmla="*/ 91 h 128"/>
                <a:gd name="T42" fmla="*/ 123 w 148"/>
                <a:gd name="T43" fmla="*/ 98 h 128"/>
                <a:gd name="T44" fmla="*/ 132 w 148"/>
                <a:gd name="T45" fmla="*/ 93 h 128"/>
                <a:gd name="T46" fmla="*/ 132 w 148"/>
                <a:gd name="T47" fmla="*/ 98 h 128"/>
                <a:gd name="T48" fmla="*/ 132 w 148"/>
                <a:gd name="T49" fmla="*/ 103 h 128"/>
                <a:gd name="T50" fmla="*/ 128 w 148"/>
                <a:gd name="T51" fmla="*/ 105 h 128"/>
                <a:gd name="T52" fmla="*/ 125 w 148"/>
                <a:gd name="T53" fmla="*/ 110 h 128"/>
                <a:gd name="T54" fmla="*/ 137 w 148"/>
                <a:gd name="T55" fmla="*/ 117 h 128"/>
                <a:gd name="T56" fmla="*/ 144 w 148"/>
                <a:gd name="T57" fmla="*/ 121 h 128"/>
                <a:gd name="T58" fmla="*/ 142 w 148"/>
                <a:gd name="T59" fmla="*/ 124 h 128"/>
                <a:gd name="T60" fmla="*/ 135 w 148"/>
                <a:gd name="T61" fmla="*/ 128 h 128"/>
                <a:gd name="T62" fmla="*/ 132 w 148"/>
                <a:gd name="T63" fmla="*/ 121 h 128"/>
                <a:gd name="T64" fmla="*/ 121 w 148"/>
                <a:gd name="T65" fmla="*/ 117 h 128"/>
                <a:gd name="T66" fmla="*/ 111 w 148"/>
                <a:gd name="T67" fmla="*/ 110 h 128"/>
                <a:gd name="T68" fmla="*/ 114 w 148"/>
                <a:gd name="T69" fmla="*/ 114 h 128"/>
                <a:gd name="T70" fmla="*/ 114 w 148"/>
                <a:gd name="T71" fmla="*/ 119 h 128"/>
                <a:gd name="T72" fmla="*/ 111 w 148"/>
                <a:gd name="T73" fmla="*/ 126 h 128"/>
                <a:gd name="T74" fmla="*/ 104 w 148"/>
                <a:gd name="T75" fmla="*/ 119 h 128"/>
                <a:gd name="T76" fmla="*/ 97 w 148"/>
                <a:gd name="T77" fmla="*/ 126 h 128"/>
                <a:gd name="T78" fmla="*/ 90 w 148"/>
                <a:gd name="T79" fmla="*/ 124 h 128"/>
                <a:gd name="T80" fmla="*/ 79 w 148"/>
                <a:gd name="T81" fmla="*/ 119 h 128"/>
                <a:gd name="T82" fmla="*/ 86 w 148"/>
                <a:gd name="T83" fmla="*/ 119 h 128"/>
                <a:gd name="T84" fmla="*/ 81 w 148"/>
                <a:gd name="T85" fmla="*/ 112 h 128"/>
                <a:gd name="T86" fmla="*/ 72 w 148"/>
                <a:gd name="T87" fmla="*/ 110 h 128"/>
                <a:gd name="T88" fmla="*/ 60 w 148"/>
                <a:gd name="T89" fmla="*/ 103 h 128"/>
                <a:gd name="T90" fmla="*/ 55 w 148"/>
                <a:gd name="T91" fmla="*/ 107 h 128"/>
                <a:gd name="T92" fmla="*/ 53 w 148"/>
                <a:gd name="T93" fmla="*/ 114 h 128"/>
                <a:gd name="T94" fmla="*/ 32 w 148"/>
                <a:gd name="T95" fmla="*/ 110 h 128"/>
                <a:gd name="T96" fmla="*/ 14 w 148"/>
                <a:gd name="T97" fmla="*/ 107 h 128"/>
                <a:gd name="T98" fmla="*/ 9 w 148"/>
                <a:gd name="T99" fmla="*/ 105 h 128"/>
                <a:gd name="T100" fmla="*/ 9 w 148"/>
                <a:gd name="T101" fmla="*/ 93 h 128"/>
                <a:gd name="T102" fmla="*/ 11 w 148"/>
                <a:gd name="T103" fmla="*/ 77 h 128"/>
                <a:gd name="T104" fmla="*/ 14 w 148"/>
                <a:gd name="T105" fmla="*/ 61 h 128"/>
                <a:gd name="T106" fmla="*/ 9 w 148"/>
                <a:gd name="T107" fmla="*/ 51 h 128"/>
                <a:gd name="T108" fmla="*/ 4 w 148"/>
                <a:gd name="T109" fmla="*/ 40 h 128"/>
                <a:gd name="T110" fmla="*/ 0 w 148"/>
                <a:gd name="T111" fmla="*/ 21 h 128"/>
                <a:gd name="T112" fmla="*/ 14 w 148"/>
                <a:gd name="T113" fmla="*/ 2 h 128"/>
                <a:gd name="T114" fmla="*/ 51 w 148"/>
                <a:gd name="T115" fmla="*/ 2 h 128"/>
                <a:gd name="T116" fmla="*/ 79 w 148"/>
                <a:gd name="T117" fmla="*/ 5 h 128"/>
                <a:gd name="T118" fmla="*/ 79 w 148"/>
                <a:gd name="T119" fmla="*/ 16 h 128"/>
                <a:gd name="T120" fmla="*/ 83 w 148"/>
                <a:gd name="T121" fmla="*/ 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28">
                  <a:moveTo>
                    <a:pt x="93" y="128"/>
                  </a:moveTo>
                  <a:lnTo>
                    <a:pt x="90" y="128"/>
                  </a:lnTo>
                  <a:lnTo>
                    <a:pt x="93" y="128"/>
                  </a:lnTo>
                  <a:close/>
                  <a:moveTo>
                    <a:pt x="97" y="126"/>
                  </a:moveTo>
                  <a:lnTo>
                    <a:pt x="95" y="128"/>
                  </a:lnTo>
                  <a:lnTo>
                    <a:pt x="97" y="126"/>
                  </a:lnTo>
                  <a:close/>
                  <a:moveTo>
                    <a:pt x="104" y="126"/>
                  </a:moveTo>
                  <a:lnTo>
                    <a:pt x="102" y="126"/>
                  </a:lnTo>
                  <a:lnTo>
                    <a:pt x="104" y="126"/>
                  </a:lnTo>
                  <a:close/>
                  <a:moveTo>
                    <a:pt x="109" y="126"/>
                  </a:moveTo>
                  <a:lnTo>
                    <a:pt x="107" y="126"/>
                  </a:lnTo>
                  <a:lnTo>
                    <a:pt x="109" y="126"/>
                  </a:lnTo>
                  <a:close/>
                  <a:moveTo>
                    <a:pt x="104" y="121"/>
                  </a:moveTo>
                  <a:lnTo>
                    <a:pt x="104" y="119"/>
                  </a:lnTo>
                  <a:lnTo>
                    <a:pt x="104" y="121"/>
                  </a:lnTo>
                  <a:close/>
                  <a:moveTo>
                    <a:pt x="116" y="121"/>
                  </a:moveTo>
                  <a:lnTo>
                    <a:pt x="116" y="119"/>
                  </a:lnTo>
                  <a:lnTo>
                    <a:pt x="118" y="119"/>
                  </a:lnTo>
                  <a:lnTo>
                    <a:pt x="116" y="119"/>
                  </a:lnTo>
                  <a:lnTo>
                    <a:pt x="116" y="121"/>
                  </a:lnTo>
                  <a:close/>
                  <a:moveTo>
                    <a:pt x="139" y="110"/>
                  </a:moveTo>
                  <a:lnTo>
                    <a:pt x="139" y="112"/>
                  </a:lnTo>
                  <a:lnTo>
                    <a:pt x="137" y="112"/>
                  </a:lnTo>
                  <a:lnTo>
                    <a:pt x="139" y="110"/>
                  </a:lnTo>
                  <a:close/>
                  <a:moveTo>
                    <a:pt x="114" y="112"/>
                  </a:moveTo>
                  <a:lnTo>
                    <a:pt x="116" y="112"/>
                  </a:lnTo>
                  <a:lnTo>
                    <a:pt x="116" y="114"/>
                  </a:lnTo>
                  <a:lnTo>
                    <a:pt x="116" y="112"/>
                  </a:lnTo>
                  <a:lnTo>
                    <a:pt x="114" y="112"/>
                  </a:lnTo>
                  <a:lnTo>
                    <a:pt x="111" y="112"/>
                  </a:lnTo>
                  <a:lnTo>
                    <a:pt x="114" y="112"/>
                  </a:lnTo>
                  <a:close/>
                  <a:moveTo>
                    <a:pt x="142" y="110"/>
                  </a:moveTo>
                  <a:lnTo>
                    <a:pt x="142" y="107"/>
                  </a:lnTo>
                  <a:lnTo>
                    <a:pt x="142" y="110"/>
                  </a:lnTo>
                  <a:close/>
                  <a:moveTo>
                    <a:pt x="65" y="114"/>
                  </a:moveTo>
                  <a:lnTo>
                    <a:pt x="62" y="114"/>
                  </a:lnTo>
                  <a:lnTo>
                    <a:pt x="58" y="112"/>
                  </a:lnTo>
                  <a:lnTo>
                    <a:pt x="60" y="112"/>
                  </a:lnTo>
                  <a:lnTo>
                    <a:pt x="60" y="110"/>
                  </a:lnTo>
                  <a:lnTo>
                    <a:pt x="62" y="110"/>
                  </a:lnTo>
                  <a:lnTo>
                    <a:pt x="65" y="112"/>
                  </a:lnTo>
                  <a:lnTo>
                    <a:pt x="67" y="112"/>
                  </a:lnTo>
                  <a:lnTo>
                    <a:pt x="65" y="112"/>
                  </a:lnTo>
                  <a:lnTo>
                    <a:pt x="65" y="114"/>
                  </a:lnTo>
                  <a:close/>
                  <a:moveTo>
                    <a:pt x="146" y="103"/>
                  </a:moveTo>
                  <a:lnTo>
                    <a:pt x="146" y="100"/>
                  </a:lnTo>
                  <a:lnTo>
                    <a:pt x="146" y="103"/>
                  </a:lnTo>
                  <a:close/>
                  <a:moveTo>
                    <a:pt x="130" y="103"/>
                  </a:moveTo>
                  <a:lnTo>
                    <a:pt x="132" y="103"/>
                  </a:lnTo>
                  <a:lnTo>
                    <a:pt x="130" y="103"/>
                  </a:lnTo>
                  <a:lnTo>
                    <a:pt x="130" y="100"/>
                  </a:lnTo>
                  <a:lnTo>
                    <a:pt x="130" y="103"/>
                  </a:lnTo>
                  <a:close/>
                  <a:moveTo>
                    <a:pt x="135" y="96"/>
                  </a:moveTo>
                  <a:lnTo>
                    <a:pt x="137" y="96"/>
                  </a:lnTo>
                  <a:lnTo>
                    <a:pt x="135" y="96"/>
                  </a:lnTo>
                  <a:close/>
                  <a:moveTo>
                    <a:pt x="135" y="96"/>
                  </a:moveTo>
                  <a:lnTo>
                    <a:pt x="135" y="93"/>
                  </a:lnTo>
                  <a:lnTo>
                    <a:pt x="135" y="96"/>
                  </a:lnTo>
                  <a:close/>
                  <a:moveTo>
                    <a:pt x="148" y="98"/>
                  </a:moveTo>
                  <a:lnTo>
                    <a:pt x="146" y="100"/>
                  </a:lnTo>
                  <a:lnTo>
                    <a:pt x="148" y="100"/>
                  </a:lnTo>
                  <a:lnTo>
                    <a:pt x="146" y="100"/>
                  </a:lnTo>
                  <a:lnTo>
                    <a:pt x="148" y="98"/>
                  </a:lnTo>
                  <a:lnTo>
                    <a:pt x="148" y="96"/>
                  </a:lnTo>
                  <a:lnTo>
                    <a:pt x="148" y="93"/>
                  </a:lnTo>
                  <a:lnTo>
                    <a:pt x="146" y="93"/>
                  </a:lnTo>
                  <a:lnTo>
                    <a:pt x="148" y="93"/>
                  </a:lnTo>
                  <a:lnTo>
                    <a:pt x="146" y="93"/>
                  </a:lnTo>
                  <a:lnTo>
                    <a:pt x="146" y="91"/>
                  </a:lnTo>
                  <a:lnTo>
                    <a:pt x="148" y="93"/>
                  </a:lnTo>
                  <a:lnTo>
                    <a:pt x="148" y="96"/>
                  </a:lnTo>
                  <a:lnTo>
                    <a:pt x="148" y="98"/>
                  </a:lnTo>
                  <a:close/>
                  <a:moveTo>
                    <a:pt x="137" y="91"/>
                  </a:moveTo>
                  <a:lnTo>
                    <a:pt x="137" y="93"/>
                  </a:lnTo>
                  <a:lnTo>
                    <a:pt x="135" y="91"/>
                  </a:lnTo>
                  <a:lnTo>
                    <a:pt x="135" y="93"/>
                  </a:lnTo>
                  <a:lnTo>
                    <a:pt x="132" y="93"/>
                  </a:lnTo>
                  <a:lnTo>
                    <a:pt x="132" y="91"/>
                  </a:lnTo>
                  <a:lnTo>
                    <a:pt x="135" y="91"/>
                  </a:lnTo>
                  <a:lnTo>
                    <a:pt x="137" y="89"/>
                  </a:lnTo>
                  <a:lnTo>
                    <a:pt x="135" y="91"/>
                  </a:lnTo>
                  <a:lnTo>
                    <a:pt x="137" y="91"/>
                  </a:lnTo>
                  <a:close/>
                  <a:moveTo>
                    <a:pt x="83" y="26"/>
                  </a:moveTo>
                  <a:lnTo>
                    <a:pt x="81" y="28"/>
                  </a:lnTo>
                  <a:lnTo>
                    <a:pt x="79" y="28"/>
                  </a:lnTo>
                  <a:lnTo>
                    <a:pt x="81" y="30"/>
                  </a:lnTo>
                  <a:lnTo>
                    <a:pt x="81" y="33"/>
                  </a:lnTo>
                  <a:lnTo>
                    <a:pt x="79" y="33"/>
                  </a:lnTo>
                  <a:lnTo>
                    <a:pt x="79" y="35"/>
                  </a:lnTo>
                  <a:lnTo>
                    <a:pt x="76" y="37"/>
                  </a:lnTo>
                  <a:lnTo>
                    <a:pt x="74" y="37"/>
                  </a:lnTo>
                  <a:lnTo>
                    <a:pt x="74" y="40"/>
                  </a:lnTo>
                  <a:lnTo>
                    <a:pt x="72" y="40"/>
                  </a:lnTo>
                  <a:lnTo>
                    <a:pt x="72" y="42"/>
                  </a:lnTo>
                  <a:lnTo>
                    <a:pt x="72" y="47"/>
                  </a:lnTo>
                  <a:lnTo>
                    <a:pt x="69" y="49"/>
                  </a:lnTo>
                  <a:lnTo>
                    <a:pt x="69" y="51"/>
                  </a:lnTo>
                  <a:lnTo>
                    <a:pt x="69" y="54"/>
                  </a:lnTo>
                  <a:lnTo>
                    <a:pt x="69" y="56"/>
                  </a:lnTo>
                  <a:lnTo>
                    <a:pt x="67" y="56"/>
                  </a:lnTo>
                  <a:lnTo>
                    <a:pt x="67" y="58"/>
                  </a:lnTo>
                  <a:lnTo>
                    <a:pt x="67" y="61"/>
                  </a:lnTo>
                  <a:lnTo>
                    <a:pt x="67" y="63"/>
                  </a:lnTo>
                  <a:lnTo>
                    <a:pt x="69" y="63"/>
                  </a:lnTo>
                  <a:lnTo>
                    <a:pt x="67" y="65"/>
                  </a:lnTo>
                  <a:lnTo>
                    <a:pt x="69" y="65"/>
                  </a:lnTo>
                  <a:lnTo>
                    <a:pt x="72" y="65"/>
                  </a:lnTo>
                  <a:lnTo>
                    <a:pt x="76" y="65"/>
                  </a:lnTo>
                  <a:lnTo>
                    <a:pt x="79" y="65"/>
                  </a:lnTo>
                  <a:lnTo>
                    <a:pt x="83" y="65"/>
                  </a:lnTo>
                  <a:lnTo>
                    <a:pt x="88" y="65"/>
                  </a:lnTo>
                  <a:lnTo>
                    <a:pt x="93" y="65"/>
                  </a:lnTo>
                  <a:lnTo>
                    <a:pt x="97" y="63"/>
                  </a:lnTo>
                  <a:lnTo>
                    <a:pt x="102" y="63"/>
                  </a:lnTo>
                  <a:lnTo>
                    <a:pt x="107" y="63"/>
                  </a:lnTo>
                  <a:lnTo>
                    <a:pt x="109" y="63"/>
                  </a:lnTo>
                  <a:lnTo>
                    <a:pt x="114" y="63"/>
                  </a:lnTo>
                  <a:lnTo>
                    <a:pt x="116" y="63"/>
                  </a:lnTo>
                  <a:lnTo>
                    <a:pt x="118" y="63"/>
                  </a:lnTo>
                  <a:lnTo>
                    <a:pt x="121" y="63"/>
                  </a:lnTo>
                  <a:lnTo>
                    <a:pt x="118" y="65"/>
                  </a:lnTo>
                  <a:lnTo>
                    <a:pt x="118" y="68"/>
                  </a:lnTo>
                  <a:lnTo>
                    <a:pt x="118" y="70"/>
                  </a:lnTo>
                  <a:lnTo>
                    <a:pt x="118" y="72"/>
                  </a:lnTo>
                  <a:lnTo>
                    <a:pt x="118" y="75"/>
                  </a:lnTo>
                  <a:lnTo>
                    <a:pt x="118" y="77"/>
                  </a:lnTo>
                  <a:lnTo>
                    <a:pt x="121" y="77"/>
                  </a:lnTo>
                  <a:lnTo>
                    <a:pt x="121" y="79"/>
                  </a:lnTo>
                  <a:lnTo>
                    <a:pt x="123" y="79"/>
                  </a:lnTo>
                  <a:lnTo>
                    <a:pt x="123" y="82"/>
                  </a:lnTo>
                  <a:lnTo>
                    <a:pt x="123" y="84"/>
                  </a:lnTo>
                  <a:lnTo>
                    <a:pt x="125" y="86"/>
                  </a:lnTo>
                  <a:lnTo>
                    <a:pt x="125" y="89"/>
                  </a:lnTo>
                  <a:lnTo>
                    <a:pt x="128" y="89"/>
                  </a:lnTo>
                  <a:lnTo>
                    <a:pt x="125" y="89"/>
                  </a:lnTo>
                  <a:lnTo>
                    <a:pt x="123" y="89"/>
                  </a:lnTo>
                  <a:lnTo>
                    <a:pt x="121" y="89"/>
                  </a:lnTo>
                  <a:lnTo>
                    <a:pt x="121" y="86"/>
                  </a:lnTo>
                  <a:lnTo>
                    <a:pt x="118" y="86"/>
                  </a:lnTo>
                  <a:lnTo>
                    <a:pt x="116" y="86"/>
                  </a:lnTo>
                  <a:lnTo>
                    <a:pt x="114" y="86"/>
                  </a:lnTo>
                  <a:lnTo>
                    <a:pt x="114" y="84"/>
                  </a:lnTo>
                  <a:lnTo>
                    <a:pt x="111" y="84"/>
                  </a:lnTo>
                  <a:lnTo>
                    <a:pt x="109" y="84"/>
                  </a:lnTo>
                  <a:lnTo>
                    <a:pt x="107" y="84"/>
                  </a:lnTo>
                  <a:lnTo>
                    <a:pt x="104" y="86"/>
                  </a:lnTo>
                  <a:lnTo>
                    <a:pt x="102" y="89"/>
                  </a:lnTo>
                  <a:lnTo>
                    <a:pt x="102" y="91"/>
                  </a:lnTo>
                  <a:lnTo>
                    <a:pt x="102" y="93"/>
                  </a:lnTo>
                  <a:lnTo>
                    <a:pt x="104" y="93"/>
                  </a:lnTo>
                  <a:lnTo>
                    <a:pt x="107" y="93"/>
                  </a:lnTo>
                  <a:lnTo>
                    <a:pt x="109" y="93"/>
                  </a:lnTo>
                  <a:lnTo>
                    <a:pt x="109" y="96"/>
                  </a:lnTo>
                  <a:lnTo>
                    <a:pt x="111" y="96"/>
                  </a:lnTo>
                  <a:lnTo>
                    <a:pt x="111" y="93"/>
                  </a:lnTo>
                  <a:lnTo>
                    <a:pt x="114" y="93"/>
                  </a:lnTo>
                  <a:lnTo>
                    <a:pt x="116" y="91"/>
                  </a:lnTo>
                  <a:lnTo>
                    <a:pt x="118" y="91"/>
                  </a:lnTo>
                  <a:lnTo>
                    <a:pt x="121" y="91"/>
                  </a:lnTo>
                  <a:lnTo>
                    <a:pt x="121" y="89"/>
                  </a:lnTo>
                  <a:lnTo>
                    <a:pt x="123" y="89"/>
                  </a:lnTo>
                  <a:lnTo>
                    <a:pt x="121" y="91"/>
                  </a:lnTo>
                  <a:lnTo>
                    <a:pt x="123" y="91"/>
                  </a:lnTo>
                  <a:lnTo>
                    <a:pt x="123" y="89"/>
                  </a:lnTo>
                  <a:lnTo>
                    <a:pt x="123" y="91"/>
                  </a:lnTo>
                  <a:lnTo>
                    <a:pt x="123" y="89"/>
                  </a:lnTo>
                  <a:lnTo>
                    <a:pt x="123" y="91"/>
                  </a:lnTo>
                  <a:lnTo>
                    <a:pt x="125" y="91"/>
                  </a:lnTo>
                  <a:lnTo>
                    <a:pt x="123" y="91"/>
                  </a:lnTo>
                  <a:lnTo>
                    <a:pt x="123" y="93"/>
                  </a:lnTo>
                  <a:lnTo>
                    <a:pt x="121" y="93"/>
                  </a:lnTo>
                  <a:lnTo>
                    <a:pt x="118" y="93"/>
                  </a:lnTo>
                  <a:lnTo>
                    <a:pt x="118" y="96"/>
                  </a:lnTo>
                  <a:lnTo>
                    <a:pt x="121" y="96"/>
                  </a:lnTo>
                  <a:lnTo>
                    <a:pt x="123" y="96"/>
                  </a:lnTo>
                  <a:lnTo>
                    <a:pt x="123" y="98"/>
                  </a:lnTo>
                  <a:lnTo>
                    <a:pt x="125" y="98"/>
                  </a:lnTo>
                  <a:lnTo>
                    <a:pt x="128" y="96"/>
                  </a:lnTo>
                  <a:lnTo>
                    <a:pt x="128" y="93"/>
                  </a:lnTo>
                  <a:lnTo>
                    <a:pt x="130" y="93"/>
                  </a:lnTo>
                  <a:lnTo>
                    <a:pt x="128" y="91"/>
                  </a:lnTo>
                  <a:lnTo>
                    <a:pt x="130" y="91"/>
                  </a:lnTo>
                  <a:lnTo>
                    <a:pt x="130" y="93"/>
                  </a:lnTo>
                  <a:lnTo>
                    <a:pt x="132" y="93"/>
                  </a:lnTo>
                  <a:lnTo>
                    <a:pt x="132" y="91"/>
                  </a:lnTo>
                  <a:lnTo>
                    <a:pt x="132" y="93"/>
                  </a:lnTo>
                  <a:lnTo>
                    <a:pt x="130" y="93"/>
                  </a:lnTo>
                  <a:lnTo>
                    <a:pt x="130" y="96"/>
                  </a:lnTo>
                  <a:lnTo>
                    <a:pt x="132" y="96"/>
                  </a:lnTo>
                  <a:lnTo>
                    <a:pt x="130" y="96"/>
                  </a:lnTo>
                  <a:lnTo>
                    <a:pt x="130" y="98"/>
                  </a:lnTo>
                  <a:lnTo>
                    <a:pt x="132" y="98"/>
                  </a:lnTo>
                  <a:lnTo>
                    <a:pt x="132" y="96"/>
                  </a:lnTo>
                  <a:lnTo>
                    <a:pt x="132" y="98"/>
                  </a:lnTo>
                  <a:lnTo>
                    <a:pt x="135" y="98"/>
                  </a:lnTo>
                  <a:lnTo>
                    <a:pt x="132" y="98"/>
                  </a:lnTo>
                  <a:lnTo>
                    <a:pt x="132" y="100"/>
                  </a:lnTo>
                  <a:lnTo>
                    <a:pt x="135" y="100"/>
                  </a:lnTo>
                  <a:lnTo>
                    <a:pt x="132" y="100"/>
                  </a:lnTo>
                  <a:lnTo>
                    <a:pt x="132" y="103"/>
                  </a:lnTo>
                  <a:lnTo>
                    <a:pt x="132" y="100"/>
                  </a:lnTo>
                  <a:lnTo>
                    <a:pt x="130" y="100"/>
                  </a:lnTo>
                  <a:lnTo>
                    <a:pt x="128" y="100"/>
                  </a:lnTo>
                  <a:lnTo>
                    <a:pt x="128" y="103"/>
                  </a:lnTo>
                  <a:lnTo>
                    <a:pt x="125" y="103"/>
                  </a:lnTo>
                  <a:lnTo>
                    <a:pt x="128" y="105"/>
                  </a:lnTo>
                  <a:lnTo>
                    <a:pt x="130" y="105"/>
                  </a:lnTo>
                  <a:lnTo>
                    <a:pt x="128" y="105"/>
                  </a:lnTo>
                  <a:lnTo>
                    <a:pt x="130" y="105"/>
                  </a:lnTo>
                  <a:lnTo>
                    <a:pt x="128" y="105"/>
                  </a:lnTo>
                  <a:lnTo>
                    <a:pt x="125" y="105"/>
                  </a:lnTo>
                  <a:lnTo>
                    <a:pt x="123" y="105"/>
                  </a:lnTo>
                  <a:lnTo>
                    <a:pt x="125" y="105"/>
                  </a:lnTo>
                  <a:lnTo>
                    <a:pt x="125" y="107"/>
                  </a:lnTo>
                  <a:lnTo>
                    <a:pt x="123" y="107"/>
                  </a:lnTo>
                  <a:lnTo>
                    <a:pt x="125" y="110"/>
                  </a:lnTo>
                  <a:lnTo>
                    <a:pt x="128" y="110"/>
                  </a:lnTo>
                  <a:lnTo>
                    <a:pt x="128" y="112"/>
                  </a:lnTo>
                  <a:lnTo>
                    <a:pt x="130" y="112"/>
                  </a:lnTo>
                  <a:lnTo>
                    <a:pt x="130" y="114"/>
                  </a:lnTo>
                  <a:lnTo>
                    <a:pt x="132" y="114"/>
                  </a:lnTo>
                  <a:lnTo>
                    <a:pt x="135" y="114"/>
                  </a:lnTo>
                  <a:lnTo>
                    <a:pt x="137" y="114"/>
                  </a:lnTo>
                  <a:lnTo>
                    <a:pt x="137" y="117"/>
                  </a:lnTo>
                  <a:lnTo>
                    <a:pt x="139" y="114"/>
                  </a:lnTo>
                  <a:lnTo>
                    <a:pt x="139" y="117"/>
                  </a:lnTo>
                  <a:lnTo>
                    <a:pt x="139" y="114"/>
                  </a:lnTo>
                  <a:lnTo>
                    <a:pt x="139" y="117"/>
                  </a:lnTo>
                  <a:lnTo>
                    <a:pt x="142" y="117"/>
                  </a:lnTo>
                  <a:lnTo>
                    <a:pt x="142" y="119"/>
                  </a:lnTo>
                  <a:lnTo>
                    <a:pt x="144" y="119"/>
                  </a:lnTo>
                  <a:lnTo>
                    <a:pt x="144" y="121"/>
                  </a:lnTo>
                  <a:lnTo>
                    <a:pt x="144" y="119"/>
                  </a:lnTo>
                  <a:lnTo>
                    <a:pt x="142" y="119"/>
                  </a:lnTo>
                  <a:lnTo>
                    <a:pt x="142" y="121"/>
                  </a:lnTo>
                  <a:lnTo>
                    <a:pt x="144" y="121"/>
                  </a:lnTo>
                  <a:lnTo>
                    <a:pt x="144" y="124"/>
                  </a:lnTo>
                  <a:lnTo>
                    <a:pt x="144" y="121"/>
                  </a:lnTo>
                  <a:lnTo>
                    <a:pt x="142" y="121"/>
                  </a:lnTo>
                  <a:lnTo>
                    <a:pt x="142" y="124"/>
                  </a:lnTo>
                  <a:lnTo>
                    <a:pt x="142" y="126"/>
                  </a:lnTo>
                  <a:lnTo>
                    <a:pt x="139" y="126"/>
                  </a:lnTo>
                  <a:lnTo>
                    <a:pt x="139" y="124"/>
                  </a:lnTo>
                  <a:lnTo>
                    <a:pt x="137" y="124"/>
                  </a:lnTo>
                  <a:lnTo>
                    <a:pt x="139" y="124"/>
                  </a:lnTo>
                  <a:lnTo>
                    <a:pt x="137" y="124"/>
                  </a:lnTo>
                  <a:lnTo>
                    <a:pt x="137" y="126"/>
                  </a:lnTo>
                  <a:lnTo>
                    <a:pt x="135" y="128"/>
                  </a:lnTo>
                  <a:lnTo>
                    <a:pt x="135" y="126"/>
                  </a:lnTo>
                  <a:lnTo>
                    <a:pt x="135" y="124"/>
                  </a:lnTo>
                  <a:lnTo>
                    <a:pt x="137" y="124"/>
                  </a:lnTo>
                  <a:lnTo>
                    <a:pt x="137" y="121"/>
                  </a:lnTo>
                  <a:lnTo>
                    <a:pt x="135" y="121"/>
                  </a:lnTo>
                  <a:lnTo>
                    <a:pt x="135" y="124"/>
                  </a:lnTo>
                  <a:lnTo>
                    <a:pt x="135" y="121"/>
                  </a:lnTo>
                  <a:lnTo>
                    <a:pt x="132" y="121"/>
                  </a:lnTo>
                  <a:lnTo>
                    <a:pt x="130" y="119"/>
                  </a:lnTo>
                  <a:lnTo>
                    <a:pt x="132" y="119"/>
                  </a:lnTo>
                  <a:lnTo>
                    <a:pt x="130" y="119"/>
                  </a:lnTo>
                  <a:lnTo>
                    <a:pt x="128" y="119"/>
                  </a:lnTo>
                  <a:lnTo>
                    <a:pt x="128" y="117"/>
                  </a:lnTo>
                  <a:lnTo>
                    <a:pt x="125" y="117"/>
                  </a:lnTo>
                  <a:lnTo>
                    <a:pt x="123" y="117"/>
                  </a:lnTo>
                  <a:lnTo>
                    <a:pt x="121" y="117"/>
                  </a:lnTo>
                  <a:lnTo>
                    <a:pt x="123" y="117"/>
                  </a:lnTo>
                  <a:lnTo>
                    <a:pt x="123" y="114"/>
                  </a:lnTo>
                  <a:lnTo>
                    <a:pt x="121" y="114"/>
                  </a:lnTo>
                  <a:lnTo>
                    <a:pt x="121" y="112"/>
                  </a:lnTo>
                  <a:lnTo>
                    <a:pt x="118" y="112"/>
                  </a:lnTo>
                  <a:lnTo>
                    <a:pt x="116" y="112"/>
                  </a:lnTo>
                  <a:lnTo>
                    <a:pt x="114" y="110"/>
                  </a:lnTo>
                  <a:lnTo>
                    <a:pt x="111" y="110"/>
                  </a:lnTo>
                  <a:lnTo>
                    <a:pt x="111" y="112"/>
                  </a:lnTo>
                  <a:lnTo>
                    <a:pt x="111" y="110"/>
                  </a:lnTo>
                  <a:lnTo>
                    <a:pt x="109" y="110"/>
                  </a:lnTo>
                  <a:lnTo>
                    <a:pt x="111" y="110"/>
                  </a:lnTo>
                  <a:lnTo>
                    <a:pt x="109" y="112"/>
                  </a:lnTo>
                  <a:lnTo>
                    <a:pt x="111" y="112"/>
                  </a:lnTo>
                  <a:lnTo>
                    <a:pt x="114" y="112"/>
                  </a:lnTo>
                  <a:lnTo>
                    <a:pt x="114" y="114"/>
                  </a:lnTo>
                  <a:lnTo>
                    <a:pt x="116" y="114"/>
                  </a:lnTo>
                  <a:lnTo>
                    <a:pt x="114" y="114"/>
                  </a:lnTo>
                  <a:lnTo>
                    <a:pt x="116" y="114"/>
                  </a:lnTo>
                  <a:lnTo>
                    <a:pt x="116" y="117"/>
                  </a:lnTo>
                  <a:lnTo>
                    <a:pt x="114" y="117"/>
                  </a:lnTo>
                  <a:lnTo>
                    <a:pt x="116" y="117"/>
                  </a:lnTo>
                  <a:lnTo>
                    <a:pt x="116" y="119"/>
                  </a:lnTo>
                  <a:lnTo>
                    <a:pt x="114" y="119"/>
                  </a:lnTo>
                  <a:lnTo>
                    <a:pt x="114" y="117"/>
                  </a:lnTo>
                  <a:lnTo>
                    <a:pt x="114" y="119"/>
                  </a:lnTo>
                  <a:lnTo>
                    <a:pt x="114" y="121"/>
                  </a:lnTo>
                  <a:lnTo>
                    <a:pt x="116" y="121"/>
                  </a:lnTo>
                  <a:lnTo>
                    <a:pt x="114" y="121"/>
                  </a:lnTo>
                  <a:lnTo>
                    <a:pt x="114" y="124"/>
                  </a:lnTo>
                  <a:lnTo>
                    <a:pt x="111" y="124"/>
                  </a:lnTo>
                  <a:lnTo>
                    <a:pt x="111" y="126"/>
                  </a:lnTo>
                  <a:lnTo>
                    <a:pt x="109" y="126"/>
                  </a:lnTo>
                  <a:lnTo>
                    <a:pt x="109" y="124"/>
                  </a:lnTo>
                  <a:lnTo>
                    <a:pt x="109" y="121"/>
                  </a:lnTo>
                  <a:lnTo>
                    <a:pt x="109" y="119"/>
                  </a:lnTo>
                  <a:lnTo>
                    <a:pt x="109" y="121"/>
                  </a:lnTo>
                  <a:lnTo>
                    <a:pt x="107" y="119"/>
                  </a:lnTo>
                  <a:lnTo>
                    <a:pt x="104" y="121"/>
                  </a:lnTo>
                  <a:lnTo>
                    <a:pt x="104" y="119"/>
                  </a:lnTo>
                  <a:lnTo>
                    <a:pt x="104" y="117"/>
                  </a:lnTo>
                  <a:lnTo>
                    <a:pt x="104" y="119"/>
                  </a:lnTo>
                  <a:lnTo>
                    <a:pt x="102" y="119"/>
                  </a:lnTo>
                  <a:lnTo>
                    <a:pt x="100" y="119"/>
                  </a:lnTo>
                  <a:lnTo>
                    <a:pt x="100" y="121"/>
                  </a:lnTo>
                  <a:lnTo>
                    <a:pt x="97" y="121"/>
                  </a:lnTo>
                  <a:lnTo>
                    <a:pt x="97" y="124"/>
                  </a:lnTo>
                  <a:lnTo>
                    <a:pt x="97" y="126"/>
                  </a:lnTo>
                  <a:lnTo>
                    <a:pt x="95" y="126"/>
                  </a:lnTo>
                  <a:lnTo>
                    <a:pt x="93" y="126"/>
                  </a:lnTo>
                  <a:lnTo>
                    <a:pt x="93" y="124"/>
                  </a:lnTo>
                  <a:lnTo>
                    <a:pt x="95" y="124"/>
                  </a:lnTo>
                  <a:lnTo>
                    <a:pt x="93" y="124"/>
                  </a:lnTo>
                  <a:lnTo>
                    <a:pt x="93" y="126"/>
                  </a:lnTo>
                  <a:lnTo>
                    <a:pt x="90" y="126"/>
                  </a:lnTo>
                  <a:lnTo>
                    <a:pt x="90" y="124"/>
                  </a:lnTo>
                  <a:lnTo>
                    <a:pt x="88" y="124"/>
                  </a:lnTo>
                  <a:lnTo>
                    <a:pt x="88" y="121"/>
                  </a:lnTo>
                  <a:lnTo>
                    <a:pt x="86" y="121"/>
                  </a:lnTo>
                  <a:lnTo>
                    <a:pt x="86" y="124"/>
                  </a:lnTo>
                  <a:lnTo>
                    <a:pt x="83" y="121"/>
                  </a:lnTo>
                  <a:lnTo>
                    <a:pt x="81" y="121"/>
                  </a:lnTo>
                  <a:lnTo>
                    <a:pt x="79" y="121"/>
                  </a:lnTo>
                  <a:lnTo>
                    <a:pt x="79" y="119"/>
                  </a:lnTo>
                  <a:lnTo>
                    <a:pt x="81" y="119"/>
                  </a:lnTo>
                  <a:lnTo>
                    <a:pt x="81" y="117"/>
                  </a:lnTo>
                  <a:lnTo>
                    <a:pt x="81" y="119"/>
                  </a:lnTo>
                  <a:lnTo>
                    <a:pt x="83" y="119"/>
                  </a:lnTo>
                  <a:lnTo>
                    <a:pt x="83" y="121"/>
                  </a:lnTo>
                  <a:lnTo>
                    <a:pt x="86" y="121"/>
                  </a:lnTo>
                  <a:lnTo>
                    <a:pt x="83" y="121"/>
                  </a:lnTo>
                  <a:lnTo>
                    <a:pt x="86" y="119"/>
                  </a:lnTo>
                  <a:lnTo>
                    <a:pt x="83" y="119"/>
                  </a:lnTo>
                  <a:lnTo>
                    <a:pt x="83" y="117"/>
                  </a:lnTo>
                  <a:lnTo>
                    <a:pt x="81" y="117"/>
                  </a:lnTo>
                  <a:lnTo>
                    <a:pt x="81" y="114"/>
                  </a:lnTo>
                  <a:lnTo>
                    <a:pt x="79" y="114"/>
                  </a:lnTo>
                  <a:lnTo>
                    <a:pt x="81" y="112"/>
                  </a:lnTo>
                  <a:lnTo>
                    <a:pt x="81" y="110"/>
                  </a:lnTo>
                  <a:lnTo>
                    <a:pt x="81" y="112"/>
                  </a:lnTo>
                  <a:lnTo>
                    <a:pt x="79" y="112"/>
                  </a:lnTo>
                  <a:lnTo>
                    <a:pt x="79" y="114"/>
                  </a:lnTo>
                  <a:lnTo>
                    <a:pt x="76" y="114"/>
                  </a:lnTo>
                  <a:lnTo>
                    <a:pt x="74" y="112"/>
                  </a:lnTo>
                  <a:lnTo>
                    <a:pt x="76" y="112"/>
                  </a:lnTo>
                  <a:lnTo>
                    <a:pt x="74" y="112"/>
                  </a:lnTo>
                  <a:lnTo>
                    <a:pt x="72" y="112"/>
                  </a:lnTo>
                  <a:lnTo>
                    <a:pt x="72" y="110"/>
                  </a:lnTo>
                  <a:lnTo>
                    <a:pt x="69" y="110"/>
                  </a:lnTo>
                  <a:lnTo>
                    <a:pt x="69" y="107"/>
                  </a:lnTo>
                  <a:lnTo>
                    <a:pt x="67" y="105"/>
                  </a:lnTo>
                  <a:lnTo>
                    <a:pt x="65" y="107"/>
                  </a:lnTo>
                  <a:lnTo>
                    <a:pt x="62" y="107"/>
                  </a:lnTo>
                  <a:lnTo>
                    <a:pt x="62" y="105"/>
                  </a:lnTo>
                  <a:lnTo>
                    <a:pt x="62" y="103"/>
                  </a:lnTo>
                  <a:lnTo>
                    <a:pt x="60" y="103"/>
                  </a:lnTo>
                  <a:lnTo>
                    <a:pt x="60" y="105"/>
                  </a:lnTo>
                  <a:lnTo>
                    <a:pt x="58" y="105"/>
                  </a:lnTo>
                  <a:lnTo>
                    <a:pt x="55" y="105"/>
                  </a:lnTo>
                  <a:lnTo>
                    <a:pt x="55" y="107"/>
                  </a:lnTo>
                  <a:lnTo>
                    <a:pt x="53" y="105"/>
                  </a:lnTo>
                  <a:lnTo>
                    <a:pt x="53" y="107"/>
                  </a:lnTo>
                  <a:lnTo>
                    <a:pt x="53" y="110"/>
                  </a:lnTo>
                  <a:lnTo>
                    <a:pt x="55" y="107"/>
                  </a:lnTo>
                  <a:lnTo>
                    <a:pt x="55" y="110"/>
                  </a:lnTo>
                  <a:lnTo>
                    <a:pt x="55" y="112"/>
                  </a:lnTo>
                  <a:lnTo>
                    <a:pt x="55" y="110"/>
                  </a:lnTo>
                  <a:lnTo>
                    <a:pt x="58" y="110"/>
                  </a:lnTo>
                  <a:lnTo>
                    <a:pt x="58" y="112"/>
                  </a:lnTo>
                  <a:lnTo>
                    <a:pt x="55" y="112"/>
                  </a:lnTo>
                  <a:lnTo>
                    <a:pt x="53" y="112"/>
                  </a:lnTo>
                  <a:lnTo>
                    <a:pt x="53" y="114"/>
                  </a:lnTo>
                  <a:lnTo>
                    <a:pt x="51" y="114"/>
                  </a:lnTo>
                  <a:lnTo>
                    <a:pt x="46" y="114"/>
                  </a:lnTo>
                  <a:lnTo>
                    <a:pt x="44" y="114"/>
                  </a:lnTo>
                  <a:lnTo>
                    <a:pt x="44" y="112"/>
                  </a:lnTo>
                  <a:lnTo>
                    <a:pt x="39" y="112"/>
                  </a:lnTo>
                  <a:lnTo>
                    <a:pt x="37" y="112"/>
                  </a:lnTo>
                  <a:lnTo>
                    <a:pt x="34" y="110"/>
                  </a:lnTo>
                  <a:lnTo>
                    <a:pt x="32" y="110"/>
                  </a:lnTo>
                  <a:lnTo>
                    <a:pt x="30" y="107"/>
                  </a:lnTo>
                  <a:lnTo>
                    <a:pt x="27" y="107"/>
                  </a:lnTo>
                  <a:lnTo>
                    <a:pt x="25" y="107"/>
                  </a:lnTo>
                  <a:lnTo>
                    <a:pt x="23" y="107"/>
                  </a:lnTo>
                  <a:lnTo>
                    <a:pt x="20" y="107"/>
                  </a:lnTo>
                  <a:lnTo>
                    <a:pt x="18" y="107"/>
                  </a:lnTo>
                  <a:lnTo>
                    <a:pt x="16" y="107"/>
                  </a:lnTo>
                  <a:lnTo>
                    <a:pt x="14" y="107"/>
                  </a:lnTo>
                  <a:lnTo>
                    <a:pt x="11" y="107"/>
                  </a:lnTo>
                  <a:lnTo>
                    <a:pt x="11" y="110"/>
                  </a:lnTo>
                  <a:lnTo>
                    <a:pt x="9" y="110"/>
                  </a:lnTo>
                  <a:lnTo>
                    <a:pt x="7" y="110"/>
                  </a:lnTo>
                  <a:lnTo>
                    <a:pt x="4" y="107"/>
                  </a:lnTo>
                  <a:lnTo>
                    <a:pt x="7" y="107"/>
                  </a:lnTo>
                  <a:lnTo>
                    <a:pt x="7" y="105"/>
                  </a:lnTo>
                  <a:lnTo>
                    <a:pt x="9" y="105"/>
                  </a:lnTo>
                  <a:lnTo>
                    <a:pt x="9" y="103"/>
                  </a:lnTo>
                  <a:lnTo>
                    <a:pt x="9" y="100"/>
                  </a:lnTo>
                  <a:lnTo>
                    <a:pt x="7" y="100"/>
                  </a:lnTo>
                  <a:lnTo>
                    <a:pt x="9" y="100"/>
                  </a:lnTo>
                  <a:lnTo>
                    <a:pt x="9" y="98"/>
                  </a:lnTo>
                  <a:lnTo>
                    <a:pt x="9" y="96"/>
                  </a:lnTo>
                  <a:lnTo>
                    <a:pt x="11" y="96"/>
                  </a:lnTo>
                  <a:lnTo>
                    <a:pt x="9" y="93"/>
                  </a:lnTo>
                  <a:lnTo>
                    <a:pt x="9" y="91"/>
                  </a:lnTo>
                  <a:lnTo>
                    <a:pt x="9" y="89"/>
                  </a:lnTo>
                  <a:lnTo>
                    <a:pt x="9" y="86"/>
                  </a:lnTo>
                  <a:lnTo>
                    <a:pt x="9" y="84"/>
                  </a:lnTo>
                  <a:lnTo>
                    <a:pt x="9" y="82"/>
                  </a:lnTo>
                  <a:lnTo>
                    <a:pt x="11" y="82"/>
                  </a:lnTo>
                  <a:lnTo>
                    <a:pt x="11" y="79"/>
                  </a:lnTo>
                  <a:lnTo>
                    <a:pt x="11" y="77"/>
                  </a:lnTo>
                  <a:lnTo>
                    <a:pt x="11" y="75"/>
                  </a:lnTo>
                  <a:lnTo>
                    <a:pt x="14" y="75"/>
                  </a:lnTo>
                  <a:lnTo>
                    <a:pt x="14" y="72"/>
                  </a:lnTo>
                  <a:lnTo>
                    <a:pt x="14" y="70"/>
                  </a:lnTo>
                  <a:lnTo>
                    <a:pt x="14" y="68"/>
                  </a:lnTo>
                  <a:lnTo>
                    <a:pt x="14" y="65"/>
                  </a:lnTo>
                  <a:lnTo>
                    <a:pt x="14" y="63"/>
                  </a:lnTo>
                  <a:lnTo>
                    <a:pt x="14" y="61"/>
                  </a:lnTo>
                  <a:lnTo>
                    <a:pt x="11" y="61"/>
                  </a:lnTo>
                  <a:lnTo>
                    <a:pt x="11" y="58"/>
                  </a:lnTo>
                  <a:lnTo>
                    <a:pt x="9" y="58"/>
                  </a:lnTo>
                  <a:lnTo>
                    <a:pt x="9" y="56"/>
                  </a:lnTo>
                  <a:lnTo>
                    <a:pt x="11" y="56"/>
                  </a:lnTo>
                  <a:lnTo>
                    <a:pt x="9" y="56"/>
                  </a:lnTo>
                  <a:lnTo>
                    <a:pt x="9" y="54"/>
                  </a:lnTo>
                  <a:lnTo>
                    <a:pt x="9" y="51"/>
                  </a:lnTo>
                  <a:lnTo>
                    <a:pt x="7" y="51"/>
                  </a:lnTo>
                  <a:lnTo>
                    <a:pt x="7" y="49"/>
                  </a:lnTo>
                  <a:lnTo>
                    <a:pt x="4" y="49"/>
                  </a:lnTo>
                  <a:lnTo>
                    <a:pt x="7" y="47"/>
                  </a:lnTo>
                  <a:lnTo>
                    <a:pt x="7" y="44"/>
                  </a:lnTo>
                  <a:lnTo>
                    <a:pt x="4" y="44"/>
                  </a:lnTo>
                  <a:lnTo>
                    <a:pt x="4" y="42"/>
                  </a:lnTo>
                  <a:lnTo>
                    <a:pt x="4" y="40"/>
                  </a:lnTo>
                  <a:lnTo>
                    <a:pt x="2" y="40"/>
                  </a:lnTo>
                  <a:lnTo>
                    <a:pt x="2" y="37"/>
                  </a:lnTo>
                  <a:lnTo>
                    <a:pt x="0" y="37"/>
                  </a:lnTo>
                  <a:lnTo>
                    <a:pt x="0" y="35"/>
                  </a:lnTo>
                  <a:lnTo>
                    <a:pt x="0" y="33"/>
                  </a:lnTo>
                  <a:lnTo>
                    <a:pt x="0" y="30"/>
                  </a:lnTo>
                  <a:lnTo>
                    <a:pt x="0" y="26"/>
                  </a:lnTo>
                  <a:lnTo>
                    <a:pt x="0" y="21"/>
                  </a:lnTo>
                  <a:lnTo>
                    <a:pt x="0" y="19"/>
                  </a:lnTo>
                  <a:lnTo>
                    <a:pt x="0" y="14"/>
                  </a:lnTo>
                  <a:lnTo>
                    <a:pt x="0" y="12"/>
                  </a:lnTo>
                  <a:lnTo>
                    <a:pt x="0" y="7"/>
                  </a:lnTo>
                  <a:lnTo>
                    <a:pt x="0" y="2"/>
                  </a:lnTo>
                  <a:lnTo>
                    <a:pt x="4" y="2"/>
                  </a:lnTo>
                  <a:lnTo>
                    <a:pt x="9" y="2"/>
                  </a:lnTo>
                  <a:lnTo>
                    <a:pt x="14" y="2"/>
                  </a:lnTo>
                  <a:lnTo>
                    <a:pt x="18" y="2"/>
                  </a:lnTo>
                  <a:lnTo>
                    <a:pt x="23" y="2"/>
                  </a:lnTo>
                  <a:lnTo>
                    <a:pt x="27" y="2"/>
                  </a:lnTo>
                  <a:lnTo>
                    <a:pt x="32" y="2"/>
                  </a:lnTo>
                  <a:lnTo>
                    <a:pt x="37" y="2"/>
                  </a:lnTo>
                  <a:lnTo>
                    <a:pt x="41" y="2"/>
                  </a:lnTo>
                  <a:lnTo>
                    <a:pt x="46" y="2"/>
                  </a:lnTo>
                  <a:lnTo>
                    <a:pt x="51" y="2"/>
                  </a:lnTo>
                  <a:lnTo>
                    <a:pt x="58" y="0"/>
                  </a:lnTo>
                  <a:lnTo>
                    <a:pt x="62" y="0"/>
                  </a:lnTo>
                  <a:lnTo>
                    <a:pt x="67" y="0"/>
                  </a:lnTo>
                  <a:lnTo>
                    <a:pt x="72" y="0"/>
                  </a:lnTo>
                  <a:lnTo>
                    <a:pt x="76" y="0"/>
                  </a:lnTo>
                  <a:lnTo>
                    <a:pt x="76" y="2"/>
                  </a:lnTo>
                  <a:lnTo>
                    <a:pt x="79" y="2"/>
                  </a:lnTo>
                  <a:lnTo>
                    <a:pt x="79" y="5"/>
                  </a:lnTo>
                  <a:lnTo>
                    <a:pt x="76" y="7"/>
                  </a:lnTo>
                  <a:lnTo>
                    <a:pt x="76" y="9"/>
                  </a:lnTo>
                  <a:lnTo>
                    <a:pt x="79" y="9"/>
                  </a:lnTo>
                  <a:lnTo>
                    <a:pt x="79" y="12"/>
                  </a:lnTo>
                  <a:lnTo>
                    <a:pt x="76" y="12"/>
                  </a:lnTo>
                  <a:lnTo>
                    <a:pt x="76" y="14"/>
                  </a:lnTo>
                  <a:lnTo>
                    <a:pt x="79" y="14"/>
                  </a:lnTo>
                  <a:lnTo>
                    <a:pt x="79" y="16"/>
                  </a:lnTo>
                  <a:lnTo>
                    <a:pt x="79" y="19"/>
                  </a:lnTo>
                  <a:lnTo>
                    <a:pt x="81" y="19"/>
                  </a:lnTo>
                  <a:lnTo>
                    <a:pt x="81" y="21"/>
                  </a:lnTo>
                  <a:lnTo>
                    <a:pt x="83" y="21"/>
                  </a:lnTo>
                  <a:lnTo>
                    <a:pt x="86" y="21"/>
                  </a:lnTo>
                  <a:lnTo>
                    <a:pt x="86" y="23"/>
                  </a:lnTo>
                  <a:lnTo>
                    <a:pt x="83" y="23"/>
                  </a:lnTo>
                  <a:lnTo>
                    <a:pt x="83" y="26"/>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791">
              <a:extLst>
                <a:ext uri="{FF2B5EF4-FFF2-40B4-BE49-F238E27FC236}">
                  <a16:creationId xmlns:a16="http://schemas.microsoft.com/office/drawing/2014/main" id="{9D4DF6AF-FA51-4CB9-B868-7481F5BC4CED}"/>
                </a:ext>
              </a:extLst>
            </p:cNvPr>
            <p:cNvSpPr>
              <a:spLocks noEditPoints="1"/>
            </p:cNvSpPr>
            <p:nvPr/>
          </p:nvSpPr>
          <p:spPr bwMode="auto">
            <a:xfrm>
              <a:off x="6098381" y="4856163"/>
              <a:ext cx="573088" cy="557213"/>
            </a:xfrm>
            <a:custGeom>
              <a:avLst/>
              <a:gdLst>
                <a:gd name="T0" fmla="*/ 251 w 361"/>
                <a:gd name="T1" fmla="*/ 319 h 351"/>
                <a:gd name="T2" fmla="*/ 258 w 361"/>
                <a:gd name="T3" fmla="*/ 342 h 351"/>
                <a:gd name="T4" fmla="*/ 256 w 361"/>
                <a:gd name="T5" fmla="*/ 293 h 351"/>
                <a:gd name="T6" fmla="*/ 267 w 361"/>
                <a:gd name="T7" fmla="*/ 277 h 351"/>
                <a:gd name="T8" fmla="*/ 267 w 361"/>
                <a:gd name="T9" fmla="*/ 279 h 351"/>
                <a:gd name="T10" fmla="*/ 281 w 361"/>
                <a:gd name="T11" fmla="*/ 267 h 351"/>
                <a:gd name="T12" fmla="*/ 323 w 361"/>
                <a:gd name="T13" fmla="*/ 242 h 351"/>
                <a:gd name="T14" fmla="*/ 181 w 361"/>
                <a:gd name="T15" fmla="*/ 4 h 351"/>
                <a:gd name="T16" fmla="*/ 188 w 361"/>
                <a:gd name="T17" fmla="*/ 37 h 351"/>
                <a:gd name="T18" fmla="*/ 195 w 361"/>
                <a:gd name="T19" fmla="*/ 74 h 351"/>
                <a:gd name="T20" fmla="*/ 212 w 361"/>
                <a:gd name="T21" fmla="*/ 81 h 351"/>
                <a:gd name="T22" fmla="*/ 237 w 361"/>
                <a:gd name="T23" fmla="*/ 84 h 351"/>
                <a:gd name="T24" fmla="*/ 253 w 361"/>
                <a:gd name="T25" fmla="*/ 91 h 351"/>
                <a:gd name="T26" fmla="*/ 265 w 361"/>
                <a:gd name="T27" fmla="*/ 91 h 351"/>
                <a:gd name="T28" fmla="*/ 284 w 361"/>
                <a:gd name="T29" fmla="*/ 95 h 351"/>
                <a:gd name="T30" fmla="*/ 307 w 361"/>
                <a:gd name="T31" fmla="*/ 91 h 351"/>
                <a:gd name="T32" fmla="*/ 330 w 361"/>
                <a:gd name="T33" fmla="*/ 98 h 351"/>
                <a:gd name="T34" fmla="*/ 344 w 361"/>
                <a:gd name="T35" fmla="*/ 102 h 351"/>
                <a:gd name="T36" fmla="*/ 347 w 361"/>
                <a:gd name="T37" fmla="*/ 149 h 351"/>
                <a:gd name="T38" fmla="*/ 356 w 361"/>
                <a:gd name="T39" fmla="*/ 167 h 351"/>
                <a:gd name="T40" fmla="*/ 361 w 361"/>
                <a:gd name="T41" fmla="*/ 188 h 351"/>
                <a:gd name="T42" fmla="*/ 356 w 361"/>
                <a:gd name="T43" fmla="*/ 212 h 351"/>
                <a:gd name="T44" fmla="*/ 340 w 361"/>
                <a:gd name="T45" fmla="*/ 230 h 351"/>
                <a:gd name="T46" fmla="*/ 330 w 361"/>
                <a:gd name="T47" fmla="*/ 226 h 351"/>
                <a:gd name="T48" fmla="*/ 323 w 361"/>
                <a:gd name="T49" fmla="*/ 233 h 351"/>
                <a:gd name="T50" fmla="*/ 316 w 361"/>
                <a:gd name="T51" fmla="*/ 242 h 351"/>
                <a:gd name="T52" fmla="*/ 293 w 361"/>
                <a:gd name="T53" fmla="*/ 260 h 351"/>
                <a:gd name="T54" fmla="*/ 293 w 361"/>
                <a:gd name="T55" fmla="*/ 260 h 351"/>
                <a:gd name="T56" fmla="*/ 279 w 361"/>
                <a:gd name="T57" fmla="*/ 258 h 351"/>
                <a:gd name="T58" fmla="*/ 277 w 361"/>
                <a:gd name="T59" fmla="*/ 263 h 351"/>
                <a:gd name="T60" fmla="*/ 272 w 361"/>
                <a:gd name="T61" fmla="*/ 267 h 351"/>
                <a:gd name="T62" fmla="*/ 267 w 361"/>
                <a:gd name="T63" fmla="*/ 274 h 351"/>
                <a:gd name="T64" fmla="*/ 260 w 361"/>
                <a:gd name="T65" fmla="*/ 281 h 351"/>
                <a:gd name="T66" fmla="*/ 253 w 361"/>
                <a:gd name="T67" fmla="*/ 286 h 351"/>
                <a:gd name="T68" fmla="*/ 251 w 361"/>
                <a:gd name="T69" fmla="*/ 302 h 351"/>
                <a:gd name="T70" fmla="*/ 242 w 361"/>
                <a:gd name="T71" fmla="*/ 300 h 351"/>
                <a:gd name="T72" fmla="*/ 251 w 361"/>
                <a:gd name="T73" fmla="*/ 305 h 351"/>
                <a:gd name="T74" fmla="*/ 251 w 361"/>
                <a:gd name="T75" fmla="*/ 328 h 351"/>
                <a:gd name="T76" fmla="*/ 256 w 361"/>
                <a:gd name="T77" fmla="*/ 344 h 351"/>
                <a:gd name="T78" fmla="*/ 244 w 361"/>
                <a:gd name="T79" fmla="*/ 347 h 351"/>
                <a:gd name="T80" fmla="*/ 219 w 361"/>
                <a:gd name="T81" fmla="*/ 340 h 351"/>
                <a:gd name="T82" fmla="*/ 200 w 361"/>
                <a:gd name="T83" fmla="*/ 333 h 351"/>
                <a:gd name="T84" fmla="*/ 198 w 361"/>
                <a:gd name="T85" fmla="*/ 321 h 351"/>
                <a:gd name="T86" fmla="*/ 191 w 361"/>
                <a:gd name="T87" fmla="*/ 307 h 351"/>
                <a:gd name="T88" fmla="*/ 184 w 361"/>
                <a:gd name="T89" fmla="*/ 288 h 351"/>
                <a:gd name="T90" fmla="*/ 170 w 361"/>
                <a:gd name="T91" fmla="*/ 270 h 351"/>
                <a:gd name="T92" fmla="*/ 160 w 361"/>
                <a:gd name="T93" fmla="*/ 247 h 351"/>
                <a:gd name="T94" fmla="*/ 151 w 361"/>
                <a:gd name="T95" fmla="*/ 230 h 351"/>
                <a:gd name="T96" fmla="*/ 146 w 361"/>
                <a:gd name="T97" fmla="*/ 226 h 351"/>
                <a:gd name="T98" fmla="*/ 125 w 361"/>
                <a:gd name="T99" fmla="*/ 219 h 351"/>
                <a:gd name="T100" fmla="*/ 109 w 361"/>
                <a:gd name="T101" fmla="*/ 216 h 351"/>
                <a:gd name="T102" fmla="*/ 98 w 361"/>
                <a:gd name="T103" fmla="*/ 235 h 351"/>
                <a:gd name="T104" fmla="*/ 77 w 361"/>
                <a:gd name="T105" fmla="*/ 235 h 351"/>
                <a:gd name="T106" fmla="*/ 53 w 361"/>
                <a:gd name="T107" fmla="*/ 219 h 351"/>
                <a:gd name="T108" fmla="*/ 46 w 361"/>
                <a:gd name="T109" fmla="*/ 191 h 351"/>
                <a:gd name="T110" fmla="*/ 32 w 361"/>
                <a:gd name="T111" fmla="*/ 174 h 351"/>
                <a:gd name="T112" fmla="*/ 16 w 361"/>
                <a:gd name="T113" fmla="*/ 156 h 351"/>
                <a:gd name="T114" fmla="*/ 2 w 361"/>
                <a:gd name="T115" fmla="*/ 137 h 351"/>
                <a:gd name="T116" fmla="*/ 70 w 361"/>
                <a:gd name="T117" fmla="*/ 142 h 351"/>
                <a:gd name="T118" fmla="*/ 102 w 361"/>
                <a:gd name="T119" fmla="*/ 109 h 351"/>
                <a:gd name="T120" fmla="*/ 107 w 361"/>
                <a:gd name="T121" fmla="*/ 51 h 351"/>
                <a:gd name="T122" fmla="*/ 111 w 361"/>
                <a:gd name="T12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351">
                  <a:moveTo>
                    <a:pt x="258" y="344"/>
                  </a:moveTo>
                  <a:lnTo>
                    <a:pt x="258" y="342"/>
                  </a:lnTo>
                  <a:lnTo>
                    <a:pt x="256" y="337"/>
                  </a:lnTo>
                  <a:lnTo>
                    <a:pt x="256" y="335"/>
                  </a:lnTo>
                  <a:lnTo>
                    <a:pt x="256" y="333"/>
                  </a:lnTo>
                  <a:lnTo>
                    <a:pt x="256" y="330"/>
                  </a:lnTo>
                  <a:lnTo>
                    <a:pt x="253" y="330"/>
                  </a:lnTo>
                  <a:lnTo>
                    <a:pt x="253" y="328"/>
                  </a:lnTo>
                  <a:lnTo>
                    <a:pt x="253" y="326"/>
                  </a:lnTo>
                  <a:lnTo>
                    <a:pt x="253" y="323"/>
                  </a:lnTo>
                  <a:lnTo>
                    <a:pt x="253" y="321"/>
                  </a:lnTo>
                  <a:lnTo>
                    <a:pt x="251" y="321"/>
                  </a:lnTo>
                  <a:lnTo>
                    <a:pt x="251" y="319"/>
                  </a:lnTo>
                  <a:lnTo>
                    <a:pt x="251" y="314"/>
                  </a:lnTo>
                  <a:lnTo>
                    <a:pt x="251" y="312"/>
                  </a:lnTo>
                  <a:lnTo>
                    <a:pt x="251" y="309"/>
                  </a:lnTo>
                  <a:lnTo>
                    <a:pt x="251" y="307"/>
                  </a:lnTo>
                  <a:lnTo>
                    <a:pt x="253" y="307"/>
                  </a:lnTo>
                  <a:lnTo>
                    <a:pt x="251" y="307"/>
                  </a:lnTo>
                  <a:lnTo>
                    <a:pt x="251" y="316"/>
                  </a:lnTo>
                  <a:lnTo>
                    <a:pt x="253" y="323"/>
                  </a:lnTo>
                  <a:lnTo>
                    <a:pt x="256" y="333"/>
                  </a:lnTo>
                  <a:lnTo>
                    <a:pt x="256" y="335"/>
                  </a:lnTo>
                  <a:lnTo>
                    <a:pt x="258" y="337"/>
                  </a:lnTo>
                  <a:lnTo>
                    <a:pt x="258" y="340"/>
                  </a:lnTo>
                  <a:lnTo>
                    <a:pt x="258" y="342"/>
                  </a:lnTo>
                  <a:lnTo>
                    <a:pt x="258" y="344"/>
                  </a:lnTo>
                  <a:close/>
                  <a:moveTo>
                    <a:pt x="258" y="293"/>
                  </a:moveTo>
                  <a:lnTo>
                    <a:pt x="256" y="298"/>
                  </a:lnTo>
                  <a:lnTo>
                    <a:pt x="253" y="302"/>
                  </a:lnTo>
                  <a:lnTo>
                    <a:pt x="253" y="305"/>
                  </a:lnTo>
                  <a:lnTo>
                    <a:pt x="253" y="307"/>
                  </a:lnTo>
                  <a:lnTo>
                    <a:pt x="251" y="307"/>
                  </a:lnTo>
                  <a:lnTo>
                    <a:pt x="253" y="302"/>
                  </a:lnTo>
                  <a:lnTo>
                    <a:pt x="253" y="300"/>
                  </a:lnTo>
                  <a:lnTo>
                    <a:pt x="253" y="298"/>
                  </a:lnTo>
                  <a:lnTo>
                    <a:pt x="256" y="298"/>
                  </a:lnTo>
                  <a:lnTo>
                    <a:pt x="256" y="295"/>
                  </a:lnTo>
                  <a:lnTo>
                    <a:pt x="256" y="293"/>
                  </a:lnTo>
                  <a:lnTo>
                    <a:pt x="258" y="293"/>
                  </a:lnTo>
                  <a:lnTo>
                    <a:pt x="258" y="291"/>
                  </a:lnTo>
                  <a:lnTo>
                    <a:pt x="260" y="288"/>
                  </a:lnTo>
                  <a:lnTo>
                    <a:pt x="263" y="286"/>
                  </a:lnTo>
                  <a:lnTo>
                    <a:pt x="263" y="288"/>
                  </a:lnTo>
                  <a:lnTo>
                    <a:pt x="258" y="293"/>
                  </a:lnTo>
                  <a:close/>
                  <a:moveTo>
                    <a:pt x="263" y="286"/>
                  </a:moveTo>
                  <a:lnTo>
                    <a:pt x="263" y="284"/>
                  </a:lnTo>
                  <a:lnTo>
                    <a:pt x="265" y="284"/>
                  </a:lnTo>
                  <a:lnTo>
                    <a:pt x="265" y="281"/>
                  </a:lnTo>
                  <a:lnTo>
                    <a:pt x="265" y="279"/>
                  </a:lnTo>
                  <a:lnTo>
                    <a:pt x="267" y="279"/>
                  </a:lnTo>
                  <a:lnTo>
                    <a:pt x="267" y="277"/>
                  </a:lnTo>
                  <a:lnTo>
                    <a:pt x="267" y="279"/>
                  </a:lnTo>
                  <a:lnTo>
                    <a:pt x="265" y="281"/>
                  </a:lnTo>
                  <a:lnTo>
                    <a:pt x="265" y="284"/>
                  </a:lnTo>
                  <a:lnTo>
                    <a:pt x="263" y="286"/>
                  </a:lnTo>
                  <a:close/>
                  <a:moveTo>
                    <a:pt x="281" y="270"/>
                  </a:moveTo>
                  <a:lnTo>
                    <a:pt x="281" y="272"/>
                  </a:lnTo>
                  <a:lnTo>
                    <a:pt x="279" y="272"/>
                  </a:lnTo>
                  <a:lnTo>
                    <a:pt x="277" y="272"/>
                  </a:lnTo>
                  <a:lnTo>
                    <a:pt x="274" y="274"/>
                  </a:lnTo>
                  <a:lnTo>
                    <a:pt x="272" y="277"/>
                  </a:lnTo>
                  <a:lnTo>
                    <a:pt x="270" y="277"/>
                  </a:lnTo>
                  <a:lnTo>
                    <a:pt x="270" y="279"/>
                  </a:lnTo>
                  <a:lnTo>
                    <a:pt x="267" y="279"/>
                  </a:lnTo>
                  <a:lnTo>
                    <a:pt x="270" y="279"/>
                  </a:lnTo>
                  <a:lnTo>
                    <a:pt x="270" y="277"/>
                  </a:lnTo>
                  <a:lnTo>
                    <a:pt x="270" y="274"/>
                  </a:lnTo>
                  <a:lnTo>
                    <a:pt x="272" y="274"/>
                  </a:lnTo>
                  <a:lnTo>
                    <a:pt x="274" y="274"/>
                  </a:lnTo>
                  <a:lnTo>
                    <a:pt x="274" y="272"/>
                  </a:lnTo>
                  <a:lnTo>
                    <a:pt x="277" y="272"/>
                  </a:lnTo>
                  <a:lnTo>
                    <a:pt x="279" y="270"/>
                  </a:lnTo>
                  <a:lnTo>
                    <a:pt x="279" y="272"/>
                  </a:lnTo>
                  <a:lnTo>
                    <a:pt x="279" y="270"/>
                  </a:lnTo>
                  <a:lnTo>
                    <a:pt x="281" y="270"/>
                  </a:lnTo>
                  <a:close/>
                  <a:moveTo>
                    <a:pt x="281" y="270"/>
                  </a:moveTo>
                  <a:lnTo>
                    <a:pt x="281" y="267"/>
                  </a:lnTo>
                  <a:lnTo>
                    <a:pt x="284" y="267"/>
                  </a:lnTo>
                  <a:lnTo>
                    <a:pt x="286" y="265"/>
                  </a:lnTo>
                  <a:lnTo>
                    <a:pt x="286" y="267"/>
                  </a:lnTo>
                  <a:lnTo>
                    <a:pt x="284" y="267"/>
                  </a:lnTo>
                  <a:lnTo>
                    <a:pt x="281" y="270"/>
                  </a:lnTo>
                  <a:close/>
                  <a:moveTo>
                    <a:pt x="326" y="237"/>
                  </a:moveTo>
                  <a:lnTo>
                    <a:pt x="328" y="240"/>
                  </a:lnTo>
                  <a:lnTo>
                    <a:pt x="323" y="242"/>
                  </a:lnTo>
                  <a:lnTo>
                    <a:pt x="319" y="247"/>
                  </a:lnTo>
                  <a:lnTo>
                    <a:pt x="319" y="244"/>
                  </a:lnTo>
                  <a:lnTo>
                    <a:pt x="321" y="244"/>
                  </a:lnTo>
                  <a:lnTo>
                    <a:pt x="321" y="242"/>
                  </a:lnTo>
                  <a:lnTo>
                    <a:pt x="323" y="242"/>
                  </a:lnTo>
                  <a:lnTo>
                    <a:pt x="326" y="240"/>
                  </a:lnTo>
                  <a:lnTo>
                    <a:pt x="326" y="237"/>
                  </a:lnTo>
                  <a:close/>
                  <a:moveTo>
                    <a:pt x="118" y="2"/>
                  </a:moveTo>
                  <a:lnTo>
                    <a:pt x="123" y="2"/>
                  </a:lnTo>
                  <a:lnTo>
                    <a:pt x="130" y="2"/>
                  </a:lnTo>
                  <a:lnTo>
                    <a:pt x="137" y="2"/>
                  </a:lnTo>
                  <a:lnTo>
                    <a:pt x="144" y="2"/>
                  </a:lnTo>
                  <a:lnTo>
                    <a:pt x="151" y="4"/>
                  </a:lnTo>
                  <a:lnTo>
                    <a:pt x="158" y="4"/>
                  </a:lnTo>
                  <a:lnTo>
                    <a:pt x="165" y="4"/>
                  </a:lnTo>
                  <a:lnTo>
                    <a:pt x="170" y="4"/>
                  </a:lnTo>
                  <a:lnTo>
                    <a:pt x="177" y="4"/>
                  </a:lnTo>
                  <a:lnTo>
                    <a:pt x="181" y="4"/>
                  </a:lnTo>
                  <a:lnTo>
                    <a:pt x="184" y="7"/>
                  </a:lnTo>
                  <a:lnTo>
                    <a:pt x="186" y="7"/>
                  </a:lnTo>
                  <a:lnTo>
                    <a:pt x="188" y="7"/>
                  </a:lnTo>
                  <a:lnTo>
                    <a:pt x="191" y="7"/>
                  </a:lnTo>
                  <a:lnTo>
                    <a:pt x="188" y="7"/>
                  </a:lnTo>
                  <a:lnTo>
                    <a:pt x="188" y="11"/>
                  </a:lnTo>
                  <a:lnTo>
                    <a:pt x="188" y="14"/>
                  </a:lnTo>
                  <a:lnTo>
                    <a:pt x="188" y="18"/>
                  </a:lnTo>
                  <a:lnTo>
                    <a:pt x="188" y="23"/>
                  </a:lnTo>
                  <a:lnTo>
                    <a:pt x="188" y="25"/>
                  </a:lnTo>
                  <a:lnTo>
                    <a:pt x="188" y="30"/>
                  </a:lnTo>
                  <a:lnTo>
                    <a:pt x="188" y="32"/>
                  </a:lnTo>
                  <a:lnTo>
                    <a:pt x="188" y="37"/>
                  </a:lnTo>
                  <a:lnTo>
                    <a:pt x="188" y="39"/>
                  </a:lnTo>
                  <a:lnTo>
                    <a:pt x="188" y="44"/>
                  </a:lnTo>
                  <a:lnTo>
                    <a:pt x="188" y="46"/>
                  </a:lnTo>
                  <a:lnTo>
                    <a:pt x="188" y="51"/>
                  </a:lnTo>
                  <a:lnTo>
                    <a:pt x="188" y="56"/>
                  </a:lnTo>
                  <a:lnTo>
                    <a:pt x="186" y="58"/>
                  </a:lnTo>
                  <a:lnTo>
                    <a:pt x="186" y="63"/>
                  </a:lnTo>
                  <a:lnTo>
                    <a:pt x="186" y="65"/>
                  </a:lnTo>
                  <a:lnTo>
                    <a:pt x="186" y="67"/>
                  </a:lnTo>
                  <a:lnTo>
                    <a:pt x="188" y="67"/>
                  </a:lnTo>
                  <a:lnTo>
                    <a:pt x="191" y="67"/>
                  </a:lnTo>
                  <a:lnTo>
                    <a:pt x="193" y="72"/>
                  </a:lnTo>
                  <a:lnTo>
                    <a:pt x="195" y="74"/>
                  </a:lnTo>
                  <a:lnTo>
                    <a:pt x="198" y="74"/>
                  </a:lnTo>
                  <a:lnTo>
                    <a:pt x="198" y="72"/>
                  </a:lnTo>
                  <a:lnTo>
                    <a:pt x="200" y="74"/>
                  </a:lnTo>
                  <a:lnTo>
                    <a:pt x="202" y="74"/>
                  </a:lnTo>
                  <a:lnTo>
                    <a:pt x="202" y="72"/>
                  </a:lnTo>
                  <a:lnTo>
                    <a:pt x="205" y="72"/>
                  </a:lnTo>
                  <a:lnTo>
                    <a:pt x="205" y="74"/>
                  </a:lnTo>
                  <a:lnTo>
                    <a:pt x="207" y="74"/>
                  </a:lnTo>
                  <a:lnTo>
                    <a:pt x="207" y="77"/>
                  </a:lnTo>
                  <a:lnTo>
                    <a:pt x="207" y="79"/>
                  </a:lnTo>
                  <a:lnTo>
                    <a:pt x="209" y="79"/>
                  </a:lnTo>
                  <a:lnTo>
                    <a:pt x="212" y="79"/>
                  </a:lnTo>
                  <a:lnTo>
                    <a:pt x="212" y="81"/>
                  </a:lnTo>
                  <a:lnTo>
                    <a:pt x="214" y="79"/>
                  </a:lnTo>
                  <a:lnTo>
                    <a:pt x="214" y="81"/>
                  </a:lnTo>
                  <a:lnTo>
                    <a:pt x="216" y="81"/>
                  </a:lnTo>
                  <a:lnTo>
                    <a:pt x="221" y="84"/>
                  </a:lnTo>
                  <a:lnTo>
                    <a:pt x="221" y="81"/>
                  </a:lnTo>
                  <a:lnTo>
                    <a:pt x="223" y="81"/>
                  </a:lnTo>
                  <a:lnTo>
                    <a:pt x="226" y="84"/>
                  </a:lnTo>
                  <a:lnTo>
                    <a:pt x="226" y="86"/>
                  </a:lnTo>
                  <a:lnTo>
                    <a:pt x="228" y="86"/>
                  </a:lnTo>
                  <a:lnTo>
                    <a:pt x="228" y="84"/>
                  </a:lnTo>
                  <a:lnTo>
                    <a:pt x="230" y="84"/>
                  </a:lnTo>
                  <a:lnTo>
                    <a:pt x="235" y="84"/>
                  </a:lnTo>
                  <a:lnTo>
                    <a:pt x="237" y="84"/>
                  </a:lnTo>
                  <a:lnTo>
                    <a:pt x="237" y="86"/>
                  </a:lnTo>
                  <a:lnTo>
                    <a:pt x="237" y="88"/>
                  </a:lnTo>
                  <a:lnTo>
                    <a:pt x="239" y="88"/>
                  </a:lnTo>
                  <a:lnTo>
                    <a:pt x="239" y="91"/>
                  </a:lnTo>
                  <a:lnTo>
                    <a:pt x="242" y="91"/>
                  </a:lnTo>
                  <a:lnTo>
                    <a:pt x="242" y="93"/>
                  </a:lnTo>
                  <a:lnTo>
                    <a:pt x="244" y="93"/>
                  </a:lnTo>
                  <a:lnTo>
                    <a:pt x="244" y="91"/>
                  </a:lnTo>
                  <a:lnTo>
                    <a:pt x="246" y="88"/>
                  </a:lnTo>
                  <a:lnTo>
                    <a:pt x="249" y="88"/>
                  </a:lnTo>
                  <a:lnTo>
                    <a:pt x="251" y="88"/>
                  </a:lnTo>
                  <a:lnTo>
                    <a:pt x="251" y="91"/>
                  </a:lnTo>
                  <a:lnTo>
                    <a:pt x="253" y="91"/>
                  </a:lnTo>
                  <a:lnTo>
                    <a:pt x="253" y="93"/>
                  </a:lnTo>
                  <a:lnTo>
                    <a:pt x="256" y="93"/>
                  </a:lnTo>
                  <a:lnTo>
                    <a:pt x="258" y="93"/>
                  </a:lnTo>
                  <a:lnTo>
                    <a:pt x="260" y="91"/>
                  </a:lnTo>
                  <a:lnTo>
                    <a:pt x="260" y="93"/>
                  </a:lnTo>
                  <a:lnTo>
                    <a:pt x="260" y="95"/>
                  </a:lnTo>
                  <a:lnTo>
                    <a:pt x="260" y="98"/>
                  </a:lnTo>
                  <a:lnTo>
                    <a:pt x="263" y="98"/>
                  </a:lnTo>
                  <a:lnTo>
                    <a:pt x="263" y="95"/>
                  </a:lnTo>
                  <a:lnTo>
                    <a:pt x="265" y="93"/>
                  </a:lnTo>
                  <a:lnTo>
                    <a:pt x="263" y="93"/>
                  </a:lnTo>
                  <a:lnTo>
                    <a:pt x="265" y="93"/>
                  </a:lnTo>
                  <a:lnTo>
                    <a:pt x="265" y="91"/>
                  </a:lnTo>
                  <a:lnTo>
                    <a:pt x="267" y="91"/>
                  </a:lnTo>
                  <a:lnTo>
                    <a:pt x="270" y="91"/>
                  </a:lnTo>
                  <a:lnTo>
                    <a:pt x="270" y="93"/>
                  </a:lnTo>
                  <a:lnTo>
                    <a:pt x="272" y="93"/>
                  </a:lnTo>
                  <a:lnTo>
                    <a:pt x="274" y="93"/>
                  </a:lnTo>
                  <a:lnTo>
                    <a:pt x="274" y="91"/>
                  </a:lnTo>
                  <a:lnTo>
                    <a:pt x="277" y="91"/>
                  </a:lnTo>
                  <a:lnTo>
                    <a:pt x="277" y="93"/>
                  </a:lnTo>
                  <a:lnTo>
                    <a:pt x="279" y="93"/>
                  </a:lnTo>
                  <a:lnTo>
                    <a:pt x="279" y="95"/>
                  </a:lnTo>
                  <a:lnTo>
                    <a:pt x="281" y="95"/>
                  </a:lnTo>
                  <a:lnTo>
                    <a:pt x="284" y="98"/>
                  </a:lnTo>
                  <a:lnTo>
                    <a:pt x="284" y="95"/>
                  </a:lnTo>
                  <a:lnTo>
                    <a:pt x="286" y="95"/>
                  </a:lnTo>
                  <a:lnTo>
                    <a:pt x="288" y="95"/>
                  </a:lnTo>
                  <a:lnTo>
                    <a:pt x="288" y="93"/>
                  </a:lnTo>
                  <a:lnTo>
                    <a:pt x="291" y="93"/>
                  </a:lnTo>
                  <a:lnTo>
                    <a:pt x="293" y="93"/>
                  </a:lnTo>
                  <a:lnTo>
                    <a:pt x="295" y="91"/>
                  </a:lnTo>
                  <a:lnTo>
                    <a:pt x="295" y="93"/>
                  </a:lnTo>
                  <a:lnTo>
                    <a:pt x="298" y="93"/>
                  </a:lnTo>
                  <a:lnTo>
                    <a:pt x="298" y="91"/>
                  </a:lnTo>
                  <a:lnTo>
                    <a:pt x="300" y="91"/>
                  </a:lnTo>
                  <a:lnTo>
                    <a:pt x="302" y="91"/>
                  </a:lnTo>
                  <a:lnTo>
                    <a:pt x="305" y="91"/>
                  </a:lnTo>
                  <a:lnTo>
                    <a:pt x="307" y="91"/>
                  </a:lnTo>
                  <a:lnTo>
                    <a:pt x="307" y="93"/>
                  </a:lnTo>
                  <a:lnTo>
                    <a:pt x="309" y="93"/>
                  </a:lnTo>
                  <a:lnTo>
                    <a:pt x="312" y="91"/>
                  </a:lnTo>
                  <a:lnTo>
                    <a:pt x="314" y="88"/>
                  </a:lnTo>
                  <a:lnTo>
                    <a:pt x="316" y="91"/>
                  </a:lnTo>
                  <a:lnTo>
                    <a:pt x="319" y="93"/>
                  </a:lnTo>
                  <a:lnTo>
                    <a:pt x="321" y="93"/>
                  </a:lnTo>
                  <a:lnTo>
                    <a:pt x="321" y="95"/>
                  </a:lnTo>
                  <a:lnTo>
                    <a:pt x="323" y="95"/>
                  </a:lnTo>
                  <a:lnTo>
                    <a:pt x="326" y="95"/>
                  </a:lnTo>
                  <a:lnTo>
                    <a:pt x="326" y="98"/>
                  </a:lnTo>
                  <a:lnTo>
                    <a:pt x="328" y="98"/>
                  </a:lnTo>
                  <a:lnTo>
                    <a:pt x="330" y="98"/>
                  </a:lnTo>
                  <a:lnTo>
                    <a:pt x="333" y="100"/>
                  </a:lnTo>
                  <a:lnTo>
                    <a:pt x="335" y="100"/>
                  </a:lnTo>
                  <a:lnTo>
                    <a:pt x="335" y="102"/>
                  </a:lnTo>
                  <a:lnTo>
                    <a:pt x="335" y="100"/>
                  </a:lnTo>
                  <a:lnTo>
                    <a:pt x="335" y="102"/>
                  </a:lnTo>
                  <a:lnTo>
                    <a:pt x="337" y="102"/>
                  </a:lnTo>
                  <a:lnTo>
                    <a:pt x="337" y="100"/>
                  </a:lnTo>
                  <a:lnTo>
                    <a:pt x="340" y="100"/>
                  </a:lnTo>
                  <a:lnTo>
                    <a:pt x="340" y="102"/>
                  </a:lnTo>
                  <a:lnTo>
                    <a:pt x="340" y="100"/>
                  </a:lnTo>
                  <a:lnTo>
                    <a:pt x="342" y="100"/>
                  </a:lnTo>
                  <a:lnTo>
                    <a:pt x="342" y="102"/>
                  </a:lnTo>
                  <a:lnTo>
                    <a:pt x="344" y="102"/>
                  </a:lnTo>
                  <a:lnTo>
                    <a:pt x="344" y="105"/>
                  </a:lnTo>
                  <a:lnTo>
                    <a:pt x="344" y="107"/>
                  </a:lnTo>
                  <a:lnTo>
                    <a:pt x="344" y="112"/>
                  </a:lnTo>
                  <a:lnTo>
                    <a:pt x="347" y="116"/>
                  </a:lnTo>
                  <a:lnTo>
                    <a:pt x="347" y="118"/>
                  </a:lnTo>
                  <a:lnTo>
                    <a:pt x="347" y="123"/>
                  </a:lnTo>
                  <a:lnTo>
                    <a:pt x="347" y="128"/>
                  </a:lnTo>
                  <a:lnTo>
                    <a:pt x="347" y="130"/>
                  </a:lnTo>
                  <a:lnTo>
                    <a:pt x="347" y="135"/>
                  </a:lnTo>
                  <a:lnTo>
                    <a:pt x="347" y="137"/>
                  </a:lnTo>
                  <a:lnTo>
                    <a:pt x="347" y="142"/>
                  </a:lnTo>
                  <a:lnTo>
                    <a:pt x="347" y="146"/>
                  </a:lnTo>
                  <a:lnTo>
                    <a:pt x="347" y="149"/>
                  </a:lnTo>
                  <a:lnTo>
                    <a:pt x="347" y="151"/>
                  </a:lnTo>
                  <a:lnTo>
                    <a:pt x="347" y="153"/>
                  </a:lnTo>
                  <a:lnTo>
                    <a:pt x="349" y="153"/>
                  </a:lnTo>
                  <a:lnTo>
                    <a:pt x="349" y="156"/>
                  </a:lnTo>
                  <a:lnTo>
                    <a:pt x="351" y="156"/>
                  </a:lnTo>
                  <a:lnTo>
                    <a:pt x="351" y="158"/>
                  </a:lnTo>
                  <a:lnTo>
                    <a:pt x="351" y="160"/>
                  </a:lnTo>
                  <a:lnTo>
                    <a:pt x="354" y="160"/>
                  </a:lnTo>
                  <a:lnTo>
                    <a:pt x="354" y="163"/>
                  </a:lnTo>
                  <a:lnTo>
                    <a:pt x="351" y="165"/>
                  </a:lnTo>
                  <a:lnTo>
                    <a:pt x="354" y="165"/>
                  </a:lnTo>
                  <a:lnTo>
                    <a:pt x="354" y="167"/>
                  </a:lnTo>
                  <a:lnTo>
                    <a:pt x="356" y="167"/>
                  </a:lnTo>
                  <a:lnTo>
                    <a:pt x="356" y="170"/>
                  </a:lnTo>
                  <a:lnTo>
                    <a:pt x="356" y="172"/>
                  </a:lnTo>
                  <a:lnTo>
                    <a:pt x="358" y="172"/>
                  </a:lnTo>
                  <a:lnTo>
                    <a:pt x="356" y="172"/>
                  </a:lnTo>
                  <a:lnTo>
                    <a:pt x="356" y="174"/>
                  </a:lnTo>
                  <a:lnTo>
                    <a:pt x="358" y="174"/>
                  </a:lnTo>
                  <a:lnTo>
                    <a:pt x="358" y="177"/>
                  </a:lnTo>
                  <a:lnTo>
                    <a:pt x="361" y="177"/>
                  </a:lnTo>
                  <a:lnTo>
                    <a:pt x="361" y="179"/>
                  </a:lnTo>
                  <a:lnTo>
                    <a:pt x="361" y="181"/>
                  </a:lnTo>
                  <a:lnTo>
                    <a:pt x="361" y="184"/>
                  </a:lnTo>
                  <a:lnTo>
                    <a:pt x="361" y="186"/>
                  </a:lnTo>
                  <a:lnTo>
                    <a:pt x="361" y="188"/>
                  </a:lnTo>
                  <a:lnTo>
                    <a:pt x="361" y="191"/>
                  </a:lnTo>
                  <a:lnTo>
                    <a:pt x="358" y="191"/>
                  </a:lnTo>
                  <a:lnTo>
                    <a:pt x="358" y="193"/>
                  </a:lnTo>
                  <a:lnTo>
                    <a:pt x="358" y="195"/>
                  </a:lnTo>
                  <a:lnTo>
                    <a:pt x="358" y="198"/>
                  </a:lnTo>
                  <a:lnTo>
                    <a:pt x="356" y="198"/>
                  </a:lnTo>
                  <a:lnTo>
                    <a:pt x="356" y="200"/>
                  </a:lnTo>
                  <a:lnTo>
                    <a:pt x="356" y="202"/>
                  </a:lnTo>
                  <a:lnTo>
                    <a:pt x="356" y="205"/>
                  </a:lnTo>
                  <a:lnTo>
                    <a:pt x="356" y="207"/>
                  </a:lnTo>
                  <a:lnTo>
                    <a:pt x="356" y="209"/>
                  </a:lnTo>
                  <a:lnTo>
                    <a:pt x="358" y="212"/>
                  </a:lnTo>
                  <a:lnTo>
                    <a:pt x="356" y="212"/>
                  </a:lnTo>
                  <a:lnTo>
                    <a:pt x="356" y="214"/>
                  </a:lnTo>
                  <a:lnTo>
                    <a:pt x="356" y="216"/>
                  </a:lnTo>
                  <a:lnTo>
                    <a:pt x="354" y="216"/>
                  </a:lnTo>
                  <a:lnTo>
                    <a:pt x="354" y="219"/>
                  </a:lnTo>
                  <a:lnTo>
                    <a:pt x="351" y="221"/>
                  </a:lnTo>
                  <a:lnTo>
                    <a:pt x="351" y="223"/>
                  </a:lnTo>
                  <a:lnTo>
                    <a:pt x="354" y="226"/>
                  </a:lnTo>
                  <a:lnTo>
                    <a:pt x="354" y="228"/>
                  </a:lnTo>
                  <a:lnTo>
                    <a:pt x="351" y="226"/>
                  </a:lnTo>
                  <a:lnTo>
                    <a:pt x="349" y="226"/>
                  </a:lnTo>
                  <a:lnTo>
                    <a:pt x="347" y="228"/>
                  </a:lnTo>
                  <a:lnTo>
                    <a:pt x="344" y="228"/>
                  </a:lnTo>
                  <a:lnTo>
                    <a:pt x="340" y="230"/>
                  </a:lnTo>
                  <a:lnTo>
                    <a:pt x="330" y="235"/>
                  </a:lnTo>
                  <a:lnTo>
                    <a:pt x="328" y="237"/>
                  </a:lnTo>
                  <a:lnTo>
                    <a:pt x="330" y="235"/>
                  </a:lnTo>
                  <a:lnTo>
                    <a:pt x="330" y="233"/>
                  </a:lnTo>
                  <a:lnTo>
                    <a:pt x="333" y="233"/>
                  </a:lnTo>
                  <a:lnTo>
                    <a:pt x="335" y="233"/>
                  </a:lnTo>
                  <a:lnTo>
                    <a:pt x="335" y="230"/>
                  </a:lnTo>
                  <a:lnTo>
                    <a:pt x="333" y="230"/>
                  </a:lnTo>
                  <a:lnTo>
                    <a:pt x="330" y="233"/>
                  </a:lnTo>
                  <a:lnTo>
                    <a:pt x="328" y="233"/>
                  </a:lnTo>
                  <a:lnTo>
                    <a:pt x="328" y="230"/>
                  </a:lnTo>
                  <a:lnTo>
                    <a:pt x="330" y="228"/>
                  </a:lnTo>
                  <a:lnTo>
                    <a:pt x="330" y="226"/>
                  </a:lnTo>
                  <a:lnTo>
                    <a:pt x="328" y="226"/>
                  </a:lnTo>
                  <a:lnTo>
                    <a:pt x="328" y="223"/>
                  </a:lnTo>
                  <a:lnTo>
                    <a:pt x="326" y="223"/>
                  </a:lnTo>
                  <a:lnTo>
                    <a:pt x="326" y="226"/>
                  </a:lnTo>
                  <a:lnTo>
                    <a:pt x="326" y="228"/>
                  </a:lnTo>
                  <a:lnTo>
                    <a:pt x="323" y="228"/>
                  </a:lnTo>
                  <a:lnTo>
                    <a:pt x="321" y="226"/>
                  </a:lnTo>
                  <a:lnTo>
                    <a:pt x="319" y="226"/>
                  </a:lnTo>
                  <a:lnTo>
                    <a:pt x="321" y="226"/>
                  </a:lnTo>
                  <a:lnTo>
                    <a:pt x="321" y="228"/>
                  </a:lnTo>
                  <a:lnTo>
                    <a:pt x="321" y="230"/>
                  </a:lnTo>
                  <a:lnTo>
                    <a:pt x="321" y="233"/>
                  </a:lnTo>
                  <a:lnTo>
                    <a:pt x="323" y="233"/>
                  </a:lnTo>
                  <a:lnTo>
                    <a:pt x="323" y="235"/>
                  </a:lnTo>
                  <a:lnTo>
                    <a:pt x="323" y="233"/>
                  </a:lnTo>
                  <a:lnTo>
                    <a:pt x="323" y="235"/>
                  </a:lnTo>
                  <a:lnTo>
                    <a:pt x="321" y="235"/>
                  </a:lnTo>
                  <a:lnTo>
                    <a:pt x="323" y="235"/>
                  </a:lnTo>
                  <a:lnTo>
                    <a:pt x="323" y="237"/>
                  </a:lnTo>
                  <a:lnTo>
                    <a:pt x="326" y="237"/>
                  </a:lnTo>
                  <a:lnTo>
                    <a:pt x="323" y="237"/>
                  </a:lnTo>
                  <a:lnTo>
                    <a:pt x="323" y="240"/>
                  </a:lnTo>
                  <a:lnTo>
                    <a:pt x="321" y="240"/>
                  </a:lnTo>
                  <a:lnTo>
                    <a:pt x="319" y="242"/>
                  </a:lnTo>
                  <a:lnTo>
                    <a:pt x="319" y="244"/>
                  </a:lnTo>
                  <a:lnTo>
                    <a:pt x="316" y="242"/>
                  </a:lnTo>
                  <a:lnTo>
                    <a:pt x="316" y="244"/>
                  </a:lnTo>
                  <a:lnTo>
                    <a:pt x="316" y="247"/>
                  </a:lnTo>
                  <a:lnTo>
                    <a:pt x="316" y="249"/>
                  </a:lnTo>
                  <a:lnTo>
                    <a:pt x="314" y="249"/>
                  </a:lnTo>
                  <a:lnTo>
                    <a:pt x="312" y="251"/>
                  </a:lnTo>
                  <a:lnTo>
                    <a:pt x="312" y="254"/>
                  </a:lnTo>
                  <a:lnTo>
                    <a:pt x="309" y="254"/>
                  </a:lnTo>
                  <a:lnTo>
                    <a:pt x="307" y="256"/>
                  </a:lnTo>
                  <a:lnTo>
                    <a:pt x="305" y="258"/>
                  </a:lnTo>
                  <a:lnTo>
                    <a:pt x="302" y="258"/>
                  </a:lnTo>
                  <a:lnTo>
                    <a:pt x="300" y="258"/>
                  </a:lnTo>
                  <a:lnTo>
                    <a:pt x="298" y="258"/>
                  </a:lnTo>
                  <a:lnTo>
                    <a:pt x="293" y="260"/>
                  </a:lnTo>
                  <a:lnTo>
                    <a:pt x="293" y="263"/>
                  </a:lnTo>
                  <a:lnTo>
                    <a:pt x="295" y="260"/>
                  </a:lnTo>
                  <a:lnTo>
                    <a:pt x="298" y="258"/>
                  </a:lnTo>
                  <a:lnTo>
                    <a:pt x="300" y="258"/>
                  </a:lnTo>
                  <a:lnTo>
                    <a:pt x="298" y="260"/>
                  </a:lnTo>
                  <a:lnTo>
                    <a:pt x="295" y="263"/>
                  </a:lnTo>
                  <a:lnTo>
                    <a:pt x="293" y="263"/>
                  </a:lnTo>
                  <a:lnTo>
                    <a:pt x="291" y="265"/>
                  </a:lnTo>
                  <a:lnTo>
                    <a:pt x="288" y="265"/>
                  </a:lnTo>
                  <a:lnTo>
                    <a:pt x="286" y="265"/>
                  </a:lnTo>
                  <a:lnTo>
                    <a:pt x="288" y="265"/>
                  </a:lnTo>
                  <a:lnTo>
                    <a:pt x="293" y="263"/>
                  </a:lnTo>
                  <a:lnTo>
                    <a:pt x="293" y="260"/>
                  </a:lnTo>
                  <a:lnTo>
                    <a:pt x="291" y="260"/>
                  </a:lnTo>
                  <a:lnTo>
                    <a:pt x="291" y="263"/>
                  </a:lnTo>
                  <a:lnTo>
                    <a:pt x="288" y="263"/>
                  </a:lnTo>
                  <a:lnTo>
                    <a:pt x="286" y="263"/>
                  </a:lnTo>
                  <a:lnTo>
                    <a:pt x="288" y="263"/>
                  </a:lnTo>
                  <a:lnTo>
                    <a:pt x="288" y="260"/>
                  </a:lnTo>
                  <a:lnTo>
                    <a:pt x="286" y="260"/>
                  </a:lnTo>
                  <a:lnTo>
                    <a:pt x="288" y="260"/>
                  </a:lnTo>
                  <a:lnTo>
                    <a:pt x="286" y="260"/>
                  </a:lnTo>
                  <a:lnTo>
                    <a:pt x="284" y="260"/>
                  </a:lnTo>
                  <a:lnTo>
                    <a:pt x="281" y="260"/>
                  </a:lnTo>
                  <a:lnTo>
                    <a:pt x="281" y="258"/>
                  </a:lnTo>
                  <a:lnTo>
                    <a:pt x="279" y="258"/>
                  </a:lnTo>
                  <a:lnTo>
                    <a:pt x="281" y="258"/>
                  </a:lnTo>
                  <a:lnTo>
                    <a:pt x="281" y="260"/>
                  </a:lnTo>
                  <a:lnTo>
                    <a:pt x="281" y="263"/>
                  </a:lnTo>
                  <a:lnTo>
                    <a:pt x="279" y="263"/>
                  </a:lnTo>
                  <a:lnTo>
                    <a:pt x="279" y="260"/>
                  </a:lnTo>
                  <a:lnTo>
                    <a:pt x="279" y="263"/>
                  </a:lnTo>
                  <a:lnTo>
                    <a:pt x="279" y="260"/>
                  </a:lnTo>
                  <a:lnTo>
                    <a:pt x="277" y="260"/>
                  </a:lnTo>
                  <a:lnTo>
                    <a:pt x="277" y="258"/>
                  </a:lnTo>
                  <a:lnTo>
                    <a:pt x="274" y="258"/>
                  </a:lnTo>
                  <a:lnTo>
                    <a:pt x="274" y="260"/>
                  </a:lnTo>
                  <a:lnTo>
                    <a:pt x="274" y="263"/>
                  </a:lnTo>
                  <a:lnTo>
                    <a:pt x="277" y="263"/>
                  </a:lnTo>
                  <a:lnTo>
                    <a:pt x="277" y="265"/>
                  </a:lnTo>
                  <a:lnTo>
                    <a:pt x="279" y="265"/>
                  </a:lnTo>
                  <a:lnTo>
                    <a:pt x="277" y="265"/>
                  </a:lnTo>
                  <a:lnTo>
                    <a:pt x="277" y="267"/>
                  </a:lnTo>
                  <a:lnTo>
                    <a:pt x="279" y="265"/>
                  </a:lnTo>
                  <a:lnTo>
                    <a:pt x="279" y="267"/>
                  </a:lnTo>
                  <a:lnTo>
                    <a:pt x="281" y="267"/>
                  </a:lnTo>
                  <a:lnTo>
                    <a:pt x="279" y="270"/>
                  </a:lnTo>
                  <a:lnTo>
                    <a:pt x="277" y="270"/>
                  </a:lnTo>
                  <a:lnTo>
                    <a:pt x="274" y="272"/>
                  </a:lnTo>
                  <a:lnTo>
                    <a:pt x="272" y="272"/>
                  </a:lnTo>
                  <a:lnTo>
                    <a:pt x="272" y="270"/>
                  </a:lnTo>
                  <a:lnTo>
                    <a:pt x="272" y="267"/>
                  </a:lnTo>
                  <a:lnTo>
                    <a:pt x="270" y="267"/>
                  </a:lnTo>
                  <a:lnTo>
                    <a:pt x="270" y="265"/>
                  </a:lnTo>
                  <a:lnTo>
                    <a:pt x="270" y="267"/>
                  </a:lnTo>
                  <a:lnTo>
                    <a:pt x="270" y="270"/>
                  </a:lnTo>
                  <a:lnTo>
                    <a:pt x="270" y="267"/>
                  </a:lnTo>
                  <a:lnTo>
                    <a:pt x="267" y="267"/>
                  </a:lnTo>
                  <a:lnTo>
                    <a:pt x="270" y="270"/>
                  </a:lnTo>
                  <a:lnTo>
                    <a:pt x="270" y="272"/>
                  </a:lnTo>
                  <a:lnTo>
                    <a:pt x="270" y="274"/>
                  </a:lnTo>
                  <a:lnTo>
                    <a:pt x="267" y="274"/>
                  </a:lnTo>
                  <a:lnTo>
                    <a:pt x="267" y="277"/>
                  </a:lnTo>
                  <a:lnTo>
                    <a:pt x="265" y="277"/>
                  </a:lnTo>
                  <a:lnTo>
                    <a:pt x="267" y="274"/>
                  </a:lnTo>
                  <a:lnTo>
                    <a:pt x="265" y="274"/>
                  </a:lnTo>
                  <a:lnTo>
                    <a:pt x="267" y="274"/>
                  </a:lnTo>
                  <a:lnTo>
                    <a:pt x="267" y="272"/>
                  </a:lnTo>
                  <a:lnTo>
                    <a:pt x="265" y="274"/>
                  </a:lnTo>
                  <a:lnTo>
                    <a:pt x="265" y="277"/>
                  </a:lnTo>
                  <a:lnTo>
                    <a:pt x="263" y="277"/>
                  </a:lnTo>
                  <a:lnTo>
                    <a:pt x="263" y="274"/>
                  </a:lnTo>
                  <a:lnTo>
                    <a:pt x="263" y="277"/>
                  </a:lnTo>
                  <a:lnTo>
                    <a:pt x="260" y="277"/>
                  </a:lnTo>
                  <a:lnTo>
                    <a:pt x="258" y="277"/>
                  </a:lnTo>
                  <a:lnTo>
                    <a:pt x="258" y="279"/>
                  </a:lnTo>
                  <a:lnTo>
                    <a:pt x="258" y="281"/>
                  </a:lnTo>
                  <a:lnTo>
                    <a:pt x="260" y="281"/>
                  </a:lnTo>
                  <a:lnTo>
                    <a:pt x="260" y="279"/>
                  </a:lnTo>
                  <a:lnTo>
                    <a:pt x="263" y="279"/>
                  </a:lnTo>
                  <a:lnTo>
                    <a:pt x="263" y="277"/>
                  </a:lnTo>
                  <a:lnTo>
                    <a:pt x="263" y="279"/>
                  </a:lnTo>
                  <a:lnTo>
                    <a:pt x="263" y="281"/>
                  </a:lnTo>
                  <a:lnTo>
                    <a:pt x="260" y="284"/>
                  </a:lnTo>
                  <a:lnTo>
                    <a:pt x="258" y="286"/>
                  </a:lnTo>
                  <a:lnTo>
                    <a:pt x="258" y="288"/>
                  </a:lnTo>
                  <a:lnTo>
                    <a:pt x="256" y="288"/>
                  </a:lnTo>
                  <a:lnTo>
                    <a:pt x="256" y="286"/>
                  </a:lnTo>
                  <a:lnTo>
                    <a:pt x="258" y="286"/>
                  </a:lnTo>
                  <a:lnTo>
                    <a:pt x="256" y="286"/>
                  </a:lnTo>
                  <a:lnTo>
                    <a:pt x="253" y="286"/>
                  </a:lnTo>
                  <a:lnTo>
                    <a:pt x="251" y="286"/>
                  </a:lnTo>
                  <a:lnTo>
                    <a:pt x="249" y="286"/>
                  </a:lnTo>
                  <a:lnTo>
                    <a:pt x="251" y="286"/>
                  </a:lnTo>
                  <a:lnTo>
                    <a:pt x="253" y="286"/>
                  </a:lnTo>
                  <a:lnTo>
                    <a:pt x="251" y="288"/>
                  </a:lnTo>
                  <a:lnTo>
                    <a:pt x="253" y="291"/>
                  </a:lnTo>
                  <a:lnTo>
                    <a:pt x="256" y="291"/>
                  </a:lnTo>
                  <a:lnTo>
                    <a:pt x="256" y="293"/>
                  </a:lnTo>
                  <a:lnTo>
                    <a:pt x="256" y="295"/>
                  </a:lnTo>
                  <a:lnTo>
                    <a:pt x="253" y="295"/>
                  </a:lnTo>
                  <a:lnTo>
                    <a:pt x="253" y="298"/>
                  </a:lnTo>
                  <a:lnTo>
                    <a:pt x="253" y="300"/>
                  </a:lnTo>
                  <a:lnTo>
                    <a:pt x="251" y="302"/>
                  </a:lnTo>
                  <a:lnTo>
                    <a:pt x="251" y="305"/>
                  </a:lnTo>
                  <a:lnTo>
                    <a:pt x="249" y="305"/>
                  </a:lnTo>
                  <a:lnTo>
                    <a:pt x="246" y="305"/>
                  </a:lnTo>
                  <a:lnTo>
                    <a:pt x="249" y="305"/>
                  </a:lnTo>
                  <a:lnTo>
                    <a:pt x="249" y="302"/>
                  </a:lnTo>
                  <a:lnTo>
                    <a:pt x="251" y="302"/>
                  </a:lnTo>
                  <a:lnTo>
                    <a:pt x="249" y="302"/>
                  </a:lnTo>
                  <a:lnTo>
                    <a:pt x="249" y="300"/>
                  </a:lnTo>
                  <a:lnTo>
                    <a:pt x="249" y="302"/>
                  </a:lnTo>
                  <a:lnTo>
                    <a:pt x="246" y="302"/>
                  </a:lnTo>
                  <a:lnTo>
                    <a:pt x="246" y="305"/>
                  </a:lnTo>
                  <a:lnTo>
                    <a:pt x="244" y="305"/>
                  </a:lnTo>
                  <a:lnTo>
                    <a:pt x="242" y="300"/>
                  </a:lnTo>
                  <a:lnTo>
                    <a:pt x="242" y="298"/>
                  </a:lnTo>
                  <a:lnTo>
                    <a:pt x="242" y="300"/>
                  </a:lnTo>
                  <a:lnTo>
                    <a:pt x="242" y="302"/>
                  </a:lnTo>
                  <a:lnTo>
                    <a:pt x="244" y="302"/>
                  </a:lnTo>
                  <a:lnTo>
                    <a:pt x="242" y="302"/>
                  </a:lnTo>
                  <a:lnTo>
                    <a:pt x="242" y="305"/>
                  </a:lnTo>
                  <a:lnTo>
                    <a:pt x="244" y="305"/>
                  </a:lnTo>
                  <a:lnTo>
                    <a:pt x="242" y="305"/>
                  </a:lnTo>
                  <a:lnTo>
                    <a:pt x="244" y="305"/>
                  </a:lnTo>
                  <a:lnTo>
                    <a:pt x="244" y="307"/>
                  </a:lnTo>
                  <a:lnTo>
                    <a:pt x="246" y="307"/>
                  </a:lnTo>
                  <a:lnTo>
                    <a:pt x="249" y="307"/>
                  </a:lnTo>
                  <a:lnTo>
                    <a:pt x="251" y="305"/>
                  </a:lnTo>
                  <a:lnTo>
                    <a:pt x="251" y="307"/>
                  </a:lnTo>
                  <a:lnTo>
                    <a:pt x="251" y="309"/>
                  </a:lnTo>
                  <a:lnTo>
                    <a:pt x="249" y="312"/>
                  </a:lnTo>
                  <a:lnTo>
                    <a:pt x="249" y="314"/>
                  </a:lnTo>
                  <a:lnTo>
                    <a:pt x="246" y="314"/>
                  </a:lnTo>
                  <a:lnTo>
                    <a:pt x="246" y="316"/>
                  </a:lnTo>
                  <a:lnTo>
                    <a:pt x="249" y="319"/>
                  </a:lnTo>
                  <a:lnTo>
                    <a:pt x="246" y="319"/>
                  </a:lnTo>
                  <a:lnTo>
                    <a:pt x="246" y="321"/>
                  </a:lnTo>
                  <a:lnTo>
                    <a:pt x="249" y="321"/>
                  </a:lnTo>
                  <a:lnTo>
                    <a:pt x="249" y="323"/>
                  </a:lnTo>
                  <a:lnTo>
                    <a:pt x="249" y="326"/>
                  </a:lnTo>
                  <a:lnTo>
                    <a:pt x="251" y="328"/>
                  </a:lnTo>
                  <a:lnTo>
                    <a:pt x="251" y="330"/>
                  </a:lnTo>
                  <a:lnTo>
                    <a:pt x="249" y="330"/>
                  </a:lnTo>
                  <a:lnTo>
                    <a:pt x="251" y="330"/>
                  </a:lnTo>
                  <a:lnTo>
                    <a:pt x="251" y="333"/>
                  </a:lnTo>
                  <a:lnTo>
                    <a:pt x="249" y="333"/>
                  </a:lnTo>
                  <a:lnTo>
                    <a:pt x="251" y="333"/>
                  </a:lnTo>
                  <a:lnTo>
                    <a:pt x="251" y="335"/>
                  </a:lnTo>
                  <a:lnTo>
                    <a:pt x="253" y="335"/>
                  </a:lnTo>
                  <a:lnTo>
                    <a:pt x="253" y="337"/>
                  </a:lnTo>
                  <a:lnTo>
                    <a:pt x="253" y="340"/>
                  </a:lnTo>
                  <a:lnTo>
                    <a:pt x="253" y="342"/>
                  </a:lnTo>
                  <a:lnTo>
                    <a:pt x="253" y="344"/>
                  </a:lnTo>
                  <a:lnTo>
                    <a:pt x="256" y="344"/>
                  </a:lnTo>
                  <a:lnTo>
                    <a:pt x="256" y="347"/>
                  </a:lnTo>
                  <a:lnTo>
                    <a:pt x="258" y="347"/>
                  </a:lnTo>
                  <a:lnTo>
                    <a:pt x="258" y="344"/>
                  </a:lnTo>
                  <a:lnTo>
                    <a:pt x="258" y="347"/>
                  </a:lnTo>
                  <a:lnTo>
                    <a:pt x="258" y="349"/>
                  </a:lnTo>
                  <a:lnTo>
                    <a:pt x="256" y="349"/>
                  </a:lnTo>
                  <a:lnTo>
                    <a:pt x="253" y="349"/>
                  </a:lnTo>
                  <a:lnTo>
                    <a:pt x="253" y="351"/>
                  </a:lnTo>
                  <a:lnTo>
                    <a:pt x="251" y="351"/>
                  </a:lnTo>
                  <a:lnTo>
                    <a:pt x="249" y="351"/>
                  </a:lnTo>
                  <a:lnTo>
                    <a:pt x="246" y="349"/>
                  </a:lnTo>
                  <a:lnTo>
                    <a:pt x="244" y="349"/>
                  </a:lnTo>
                  <a:lnTo>
                    <a:pt x="244" y="347"/>
                  </a:lnTo>
                  <a:lnTo>
                    <a:pt x="242" y="347"/>
                  </a:lnTo>
                  <a:lnTo>
                    <a:pt x="239" y="347"/>
                  </a:lnTo>
                  <a:lnTo>
                    <a:pt x="239" y="344"/>
                  </a:lnTo>
                  <a:lnTo>
                    <a:pt x="237" y="344"/>
                  </a:lnTo>
                  <a:lnTo>
                    <a:pt x="235" y="344"/>
                  </a:lnTo>
                  <a:lnTo>
                    <a:pt x="233" y="344"/>
                  </a:lnTo>
                  <a:lnTo>
                    <a:pt x="230" y="344"/>
                  </a:lnTo>
                  <a:lnTo>
                    <a:pt x="228" y="344"/>
                  </a:lnTo>
                  <a:lnTo>
                    <a:pt x="226" y="342"/>
                  </a:lnTo>
                  <a:lnTo>
                    <a:pt x="223" y="342"/>
                  </a:lnTo>
                  <a:lnTo>
                    <a:pt x="223" y="340"/>
                  </a:lnTo>
                  <a:lnTo>
                    <a:pt x="221" y="340"/>
                  </a:lnTo>
                  <a:lnTo>
                    <a:pt x="219" y="340"/>
                  </a:lnTo>
                  <a:lnTo>
                    <a:pt x="219" y="337"/>
                  </a:lnTo>
                  <a:lnTo>
                    <a:pt x="216" y="337"/>
                  </a:lnTo>
                  <a:lnTo>
                    <a:pt x="214" y="337"/>
                  </a:lnTo>
                  <a:lnTo>
                    <a:pt x="212" y="337"/>
                  </a:lnTo>
                  <a:lnTo>
                    <a:pt x="214" y="337"/>
                  </a:lnTo>
                  <a:lnTo>
                    <a:pt x="212" y="337"/>
                  </a:lnTo>
                  <a:lnTo>
                    <a:pt x="212" y="335"/>
                  </a:lnTo>
                  <a:lnTo>
                    <a:pt x="209" y="335"/>
                  </a:lnTo>
                  <a:lnTo>
                    <a:pt x="207" y="335"/>
                  </a:lnTo>
                  <a:lnTo>
                    <a:pt x="207" y="333"/>
                  </a:lnTo>
                  <a:lnTo>
                    <a:pt x="205" y="333"/>
                  </a:lnTo>
                  <a:lnTo>
                    <a:pt x="202" y="333"/>
                  </a:lnTo>
                  <a:lnTo>
                    <a:pt x="200" y="333"/>
                  </a:lnTo>
                  <a:lnTo>
                    <a:pt x="202" y="330"/>
                  </a:lnTo>
                  <a:lnTo>
                    <a:pt x="202" y="328"/>
                  </a:lnTo>
                  <a:lnTo>
                    <a:pt x="200" y="328"/>
                  </a:lnTo>
                  <a:lnTo>
                    <a:pt x="200" y="326"/>
                  </a:lnTo>
                  <a:lnTo>
                    <a:pt x="200" y="323"/>
                  </a:lnTo>
                  <a:lnTo>
                    <a:pt x="200" y="326"/>
                  </a:lnTo>
                  <a:lnTo>
                    <a:pt x="200" y="323"/>
                  </a:lnTo>
                  <a:lnTo>
                    <a:pt x="200" y="321"/>
                  </a:lnTo>
                  <a:lnTo>
                    <a:pt x="202" y="321"/>
                  </a:lnTo>
                  <a:lnTo>
                    <a:pt x="200" y="321"/>
                  </a:lnTo>
                  <a:lnTo>
                    <a:pt x="200" y="323"/>
                  </a:lnTo>
                  <a:lnTo>
                    <a:pt x="200" y="321"/>
                  </a:lnTo>
                  <a:lnTo>
                    <a:pt x="198" y="321"/>
                  </a:lnTo>
                  <a:lnTo>
                    <a:pt x="198" y="319"/>
                  </a:lnTo>
                  <a:lnTo>
                    <a:pt x="198" y="316"/>
                  </a:lnTo>
                  <a:lnTo>
                    <a:pt x="200" y="314"/>
                  </a:lnTo>
                  <a:lnTo>
                    <a:pt x="198" y="314"/>
                  </a:lnTo>
                  <a:lnTo>
                    <a:pt x="198" y="316"/>
                  </a:lnTo>
                  <a:lnTo>
                    <a:pt x="195" y="316"/>
                  </a:lnTo>
                  <a:lnTo>
                    <a:pt x="195" y="314"/>
                  </a:lnTo>
                  <a:lnTo>
                    <a:pt x="193" y="314"/>
                  </a:lnTo>
                  <a:lnTo>
                    <a:pt x="193" y="312"/>
                  </a:lnTo>
                  <a:lnTo>
                    <a:pt x="191" y="312"/>
                  </a:lnTo>
                  <a:lnTo>
                    <a:pt x="193" y="309"/>
                  </a:lnTo>
                  <a:lnTo>
                    <a:pt x="191" y="309"/>
                  </a:lnTo>
                  <a:lnTo>
                    <a:pt x="191" y="307"/>
                  </a:lnTo>
                  <a:lnTo>
                    <a:pt x="193" y="307"/>
                  </a:lnTo>
                  <a:lnTo>
                    <a:pt x="193" y="305"/>
                  </a:lnTo>
                  <a:lnTo>
                    <a:pt x="191" y="305"/>
                  </a:lnTo>
                  <a:lnTo>
                    <a:pt x="191" y="302"/>
                  </a:lnTo>
                  <a:lnTo>
                    <a:pt x="191" y="300"/>
                  </a:lnTo>
                  <a:lnTo>
                    <a:pt x="191" y="298"/>
                  </a:lnTo>
                  <a:lnTo>
                    <a:pt x="191" y="295"/>
                  </a:lnTo>
                  <a:lnTo>
                    <a:pt x="191" y="293"/>
                  </a:lnTo>
                  <a:lnTo>
                    <a:pt x="188" y="293"/>
                  </a:lnTo>
                  <a:lnTo>
                    <a:pt x="188" y="291"/>
                  </a:lnTo>
                  <a:lnTo>
                    <a:pt x="186" y="291"/>
                  </a:lnTo>
                  <a:lnTo>
                    <a:pt x="184" y="291"/>
                  </a:lnTo>
                  <a:lnTo>
                    <a:pt x="184" y="288"/>
                  </a:lnTo>
                  <a:lnTo>
                    <a:pt x="181" y="286"/>
                  </a:lnTo>
                  <a:lnTo>
                    <a:pt x="181" y="284"/>
                  </a:lnTo>
                  <a:lnTo>
                    <a:pt x="179" y="284"/>
                  </a:lnTo>
                  <a:lnTo>
                    <a:pt x="181" y="284"/>
                  </a:lnTo>
                  <a:lnTo>
                    <a:pt x="181" y="281"/>
                  </a:lnTo>
                  <a:lnTo>
                    <a:pt x="179" y="281"/>
                  </a:lnTo>
                  <a:lnTo>
                    <a:pt x="179" y="279"/>
                  </a:lnTo>
                  <a:lnTo>
                    <a:pt x="177" y="279"/>
                  </a:lnTo>
                  <a:lnTo>
                    <a:pt x="177" y="277"/>
                  </a:lnTo>
                  <a:lnTo>
                    <a:pt x="177" y="274"/>
                  </a:lnTo>
                  <a:lnTo>
                    <a:pt x="174" y="274"/>
                  </a:lnTo>
                  <a:lnTo>
                    <a:pt x="172" y="272"/>
                  </a:lnTo>
                  <a:lnTo>
                    <a:pt x="170" y="270"/>
                  </a:lnTo>
                  <a:lnTo>
                    <a:pt x="170" y="267"/>
                  </a:lnTo>
                  <a:lnTo>
                    <a:pt x="167" y="267"/>
                  </a:lnTo>
                  <a:lnTo>
                    <a:pt x="167" y="265"/>
                  </a:lnTo>
                  <a:lnTo>
                    <a:pt x="167" y="263"/>
                  </a:lnTo>
                  <a:lnTo>
                    <a:pt x="167" y="260"/>
                  </a:lnTo>
                  <a:lnTo>
                    <a:pt x="167" y="258"/>
                  </a:lnTo>
                  <a:lnTo>
                    <a:pt x="165" y="258"/>
                  </a:lnTo>
                  <a:lnTo>
                    <a:pt x="165" y="256"/>
                  </a:lnTo>
                  <a:lnTo>
                    <a:pt x="163" y="254"/>
                  </a:lnTo>
                  <a:lnTo>
                    <a:pt x="163" y="251"/>
                  </a:lnTo>
                  <a:lnTo>
                    <a:pt x="163" y="249"/>
                  </a:lnTo>
                  <a:lnTo>
                    <a:pt x="160" y="249"/>
                  </a:lnTo>
                  <a:lnTo>
                    <a:pt x="160" y="247"/>
                  </a:lnTo>
                  <a:lnTo>
                    <a:pt x="160" y="244"/>
                  </a:lnTo>
                  <a:lnTo>
                    <a:pt x="160" y="242"/>
                  </a:lnTo>
                  <a:lnTo>
                    <a:pt x="158" y="242"/>
                  </a:lnTo>
                  <a:lnTo>
                    <a:pt x="158" y="240"/>
                  </a:lnTo>
                  <a:lnTo>
                    <a:pt x="156" y="240"/>
                  </a:lnTo>
                  <a:lnTo>
                    <a:pt x="158" y="240"/>
                  </a:lnTo>
                  <a:lnTo>
                    <a:pt x="156" y="237"/>
                  </a:lnTo>
                  <a:lnTo>
                    <a:pt x="153" y="237"/>
                  </a:lnTo>
                  <a:lnTo>
                    <a:pt x="153" y="235"/>
                  </a:lnTo>
                  <a:lnTo>
                    <a:pt x="151" y="233"/>
                  </a:lnTo>
                  <a:lnTo>
                    <a:pt x="151" y="230"/>
                  </a:lnTo>
                  <a:lnTo>
                    <a:pt x="149" y="230"/>
                  </a:lnTo>
                  <a:lnTo>
                    <a:pt x="151" y="230"/>
                  </a:lnTo>
                  <a:lnTo>
                    <a:pt x="153" y="230"/>
                  </a:lnTo>
                  <a:lnTo>
                    <a:pt x="151" y="228"/>
                  </a:lnTo>
                  <a:lnTo>
                    <a:pt x="151" y="226"/>
                  </a:lnTo>
                  <a:lnTo>
                    <a:pt x="153" y="226"/>
                  </a:lnTo>
                  <a:lnTo>
                    <a:pt x="151" y="226"/>
                  </a:lnTo>
                  <a:lnTo>
                    <a:pt x="151" y="228"/>
                  </a:lnTo>
                  <a:lnTo>
                    <a:pt x="149" y="230"/>
                  </a:lnTo>
                  <a:lnTo>
                    <a:pt x="149" y="228"/>
                  </a:lnTo>
                  <a:lnTo>
                    <a:pt x="146" y="228"/>
                  </a:lnTo>
                  <a:lnTo>
                    <a:pt x="146" y="226"/>
                  </a:lnTo>
                  <a:lnTo>
                    <a:pt x="146" y="228"/>
                  </a:lnTo>
                  <a:lnTo>
                    <a:pt x="144" y="228"/>
                  </a:lnTo>
                  <a:lnTo>
                    <a:pt x="146" y="226"/>
                  </a:lnTo>
                  <a:lnTo>
                    <a:pt x="144" y="226"/>
                  </a:lnTo>
                  <a:lnTo>
                    <a:pt x="144" y="223"/>
                  </a:lnTo>
                  <a:lnTo>
                    <a:pt x="142" y="226"/>
                  </a:lnTo>
                  <a:lnTo>
                    <a:pt x="142" y="223"/>
                  </a:lnTo>
                  <a:lnTo>
                    <a:pt x="142" y="221"/>
                  </a:lnTo>
                  <a:lnTo>
                    <a:pt x="139" y="221"/>
                  </a:lnTo>
                  <a:lnTo>
                    <a:pt x="139" y="219"/>
                  </a:lnTo>
                  <a:lnTo>
                    <a:pt x="137" y="219"/>
                  </a:lnTo>
                  <a:lnTo>
                    <a:pt x="135" y="219"/>
                  </a:lnTo>
                  <a:lnTo>
                    <a:pt x="132" y="219"/>
                  </a:lnTo>
                  <a:lnTo>
                    <a:pt x="130" y="219"/>
                  </a:lnTo>
                  <a:lnTo>
                    <a:pt x="128" y="219"/>
                  </a:lnTo>
                  <a:lnTo>
                    <a:pt x="125" y="219"/>
                  </a:lnTo>
                  <a:lnTo>
                    <a:pt x="125" y="216"/>
                  </a:lnTo>
                  <a:lnTo>
                    <a:pt x="123" y="216"/>
                  </a:lnTo>
                  <a:lnTo>
                    <a:pt x="123" y="219"/>
                  </a:lnTo>
                  <a:lnTo>
                    <a:pt x="123" y="216"/>
                  </a:lnTo>
                  <a:lnTo>
                    <a:pt x="121" y="216"/>
                  </a:lnTo>
                  <a:lnTo>
                    <a:pt x="118" y="216"/>
                  </a:lnTo>
                  <a:lnTo>
                    <a:pt x="116" y="216"/>
                  </a:lnTo>
                  <a:lnTo>
                    <a:pt x="116" y="214"/>
                  </a:lnTo>
                  <a:lnTo>
                    <a:pt x="114" y="214"/>
                  </a:lnTo>
                  <a:lnTo>
                    <a:pt x="114" y="216"/>
                  </a:lnTo>
                  <a:lnTo>
                    <a:pt x="111" y="216"/>
                  </a:lnTo>
                  <a:lnTo>
                    <a:pt x="111" y="219"/>
                  </a:lnTo>
                  <a:lnTo>
                    <a:pt x="109" y="216"/>
                  </a:lnTo>
                  <a:lnTo>
                    <a:pt x="109" y="219"/>
                  </a:lnTo>
                  <a:lnTo>
                    <a:pt x="107" y="219"/>
                  </a:lnTo>
                  <a:lnTo>
                    <a:pt x="105" y="219"/>
                  </a:lnTo>
                  <a:lnTo>
                    <a:pt x="102" y="221"/>
                  </a:lnTo>
                  <a:lnTo>
                    <a:pt x="102" y="223"/>
                  </a:lnTo>
                  <a:lnTo>
                    <a:pt x="100" y="223"/>
                  </a:lnTo>
                  <a:lnTo>
                    <a:pt x="100" y="226"/>
                  </a:lnTo>
                  <a:lnTo>
                    <a:pt x="100" y="228"/>
                  </a:lnTo>
                  <a:lnTo>
                    <a:pt x="98" y="228"/>
                  </a:lnTo>
                  <a:lnTo>
                    <a:pt x="100" y="228"/>
                  </a:lnTo>
                  <a:lnTo>
                    <a:pt x="98" y="230"/>
                  </a:lnTo>
                  <a:lnTo>
                    <a:pt x="98" y="233"/>
                  </a:lnTo>
                  <a:lnTo>
                    <a:pt x="98" y="235"/>
                  </a:lnTo>
                  <a:lnTo>
                    <a:pt x="95" y="235"/>
                  </a:lnTo>
                  <a:lnTo>
                    <a:pt x="93" y="235"/>
                  </a:lnTo>
                  <a:lnTo>
                    <a:pt x="93" y="237"/>
                  </a:lnTo>
                  <a:lnTo>
                    <a:pt x="91" y="237"/>
                  </a:lnTo>
                  <a:lnTo>
                    <a:pt x="91" y="240"/>
                  </a:lnTo>
                  <a:lnTo>
                    <a:pt x="91" y="242"/>
                  </a:lnTo>
                  <a:lnTo>
                    <a:pt x="88" y="242"/>
                  </a:lnTo>
                  <a:lnTo>
                    <a:pt x="86" y="242"/>
                  </a:lnTo>
                  <a:lnTo>
                    <a:pt x="84" y="240"/>
                  </a:lnTo>
                  <a:lnTo>
                    <a:pt x="81" y="240"/>
                  </a:lnTo>
                  <a:lnTo>
                    <a:pt x="79" y="237"/>
                  </a:lnTo>
                  <a:lnTo>
                    <a:pt x="79" y="235"/>
                  </a:lnTo>
                  <a:lnTo>
                    <a:pt x="77" y="235"/>
                  </a:lnTo>
                  <a:lnTo>
                    <a:pt x="74" y="235"/>
                  </a:lnTo>
                  <a:lnTo>
                    <a:pt x="74" y="233"/>
                  </a:lnTo>
                  <a:lnTo>
                    <a:pt x="72" y="233"/>
                  </a:lnTo>
                  <a:lnTo>
                    <a:pt x="72" y="230"/>
                  </a:lnTo>
                  <a:lnTo>
                    <a:pt x="70" y="230"/>
                  </a:lnTo>
                  <a:lnTo>
                    <a:pt x="67" y="230"/>
                  </a:lnTo>
                  <a:lnTo>
                    <a:pt x="65" y="228"/>
                  </a:lnTo>
                  <a:lnTo>
                    <a:pt x="63" y="226"/>
                  </a:lnTo>
                  <a:lnTo>
                    <a:pt x="60" y="226"/>
                  </a:lnTo>
                  <a:lnTo>
                    <a:pt x="60" y="223"/>
                  </a:lnTo>
                  <a:lnTo>
                    <a:pt x="58" y="221"/>
                  </a:lnTo>
                  <a:lnTo>
                    <a:pt x="56" y="221"/>
                  </a:lnTo>
                  <a:lnTo>
                    <a:pt x="53" y="219"/>
                  </a:lnTo>
                  <a:lnTo>
                    <a:pt x="51" y="216"/>
                  </a:lnTo>
                  <a:lnTo>
                    <a:pt x="51" y="214"/>
                  </a:lnTo>
                  <a:lnTo>
                    <a:pt x="51" y="212"/>
                  </a:lnTo>
                  <a:lnTo>
                    <a:pt x="49" y="209"/>
                  </a:lnTo>
                  <a:lnTo>
                    <a:pt x="49" y="207"/>
                  </a:lnTo>
                  <a:lnTo>
                    <a:pt x="49" y="205"/>
                  </a:lnTo>
                  <a:lnTo>
                    <a:pt x="49" y="202"/>
                  </a:lnTo>
                  <a:lnTo>
                    <a:pt x="49" y="200"/>
                  </a:lnTo>
                  <a:lnTo>
                    <a:pt x="49" y="198"/>
                  </a:lnTo>
                  <a:lnTo>
                    <a:pt x="49" y="195"/>
                  </a:lnTo>
                  <a:lnTo>
                    <a:pt x="46" y="195"/>
                  </a:lnTo>
                  <a:lnTo>
                    <a:pt x="46" y="193"/>
                  </a:lnTo>
                  <a:lnTo>
                    <a:pt x="46" y="191"/>
                  </a:lnTo>
                  <a:lnTo>
                    <a:pt x="44" y="191"/>
                  </a:lnTo>
                  <a:lnTo>
                    <a:pt x="44" y="188"/>
                  </a:lnTo>
                  <a:lnTo>
                    <a:pt x="44" y="186"/>
                  </a:lnTo>
                  <a:lnTo>
                    <a:pt x="44" y="184"/>
                  </a:lnTo>
                  <a:lnTo>
                    <a:pt x="42" y="184"/>
                  </a:lnTo>
                  <a:lnTo>
                    <a:pt x="42" y="181"/>
                  </a:lnTo>
                  <a:lnTo>
                    <a:pt x="39" y="181"/>
                  </a:lnTo>
                  <a:lnTo>
                    <a:pt x="39" y="179"/>
                  </a:lnTo>
                  <a:lnTo>
                    <a:pt x="37" y="179"/>
                  </a:lnTo>
                  <a:lnTo>
                    <a:pt x="37" y="177"/>
                  </a:lnTo>
                  <a:lnTo>
                    <a:pt x="35" y="177"/>
                  </a:lnTo>
                  <a:lnTo>
                    <a:pt x="32" y="177"/>
                  </a:lnTo>
                  <a:lnTo>
                    <a:pt x="32" y="174"/>
                  </a:lnTo>
                  <a:lnTo>
                    <a:pt x="30" y="174"/>
                  </a:lnTo>
                  <a:lnTo>
                    <a:pt x="30" y="172"/>
                  </a:lnTo>
                  <a:lnTo>
                    <a:pt x="28" y="170"/>
                  </a:lnTo>
                  <a:lnTo>
                    <a:pt x="28" y="167"/>
                  </a:lnTo>
                  <a:lnTo>
                    <a:pt x="25" y="167"/>
                  </a:lnTo>
                  <a:lnTo>
                    <a:pt x="25" y="165"/>
                  </a:lnTo>
                  <a:lnTo>
                    <a:pt x="23" y="165"/>
                  </a:lnTo>
                  <a:lnTo>
                    <a:pt x="23" y="163"/>
                  </a:lnTo>
                  <a:lnTo>
                    <a:pt x="21" y="163"/>
                  </a:lnTo>
                  <a:lnTo>
                    <a:pt x="21" y="160"/>
                  </a:lnTo>
                  <a:lnTo>
                    <a:pt x="18" y="160"/>
                  </a:lnTo>
                  <a:lnTo>
                    <a:pt x="18" y="158"/>
                  </a:lnTo>
                  <a:lnTo>
                    <a:pt x="16" y="156"/>
                  </a:lnTo>
                  <a:lnTo>
                    <a:pt x="14" y="156"/>
                  </a:lnTo>
                  <a:lnTo>
                    <a:pt x="14" y="153"/>
                  </a:lnTo>
                  <a:lnTo>
                    <a:pt x="11" y="153"/>
                  </a:lnTo>
                  <a:lnTo>
                    <a:pt x="11" y="151"/>
                  </a:lnTo>
                  <a:lnTo>
                    <a:pt x="9" y="149"/>
                  </a:lnTo>
                  <a:lnTo>
                    <a:pt x="9" y="146"/>
                  </a:lnTo>
                  <a:lnTo>
                    <a:pt x="9" y="144"/>
                  </a:lnTo>
                  <a:lnTo>
                    <a:pt x="7" y="144"/>
                  </a:lnTo>
                  <a:lnTo>
                    <a:pt x="4" y="144"/>
                  </a:lnTo>
                  <a:lnTo>
                    <a:pt x="4" y="142"/>
                  </a:lnTo>
                  <a:lnTo>
                    <a:pt x="2" y="142"/>
                  </a:lnTo>
                  <a:lnTo>
                    <a:pt x="2" y="139"/>
                  </a:lnTo>
                  <a:lnTo>
                    <a:pt x="2" y="137"/>
                  </a:lnTo>
                  <a:lnTo>
                    <a:pt x="0" y="135"/>
                  </a:lnTo>
                  <a:lnTo>
                    <a:pt x="2" y="135"/>
                  </a:lnTo>
                  <a:lnTo>
                    <a:pt x="9" y="135"/>
                  </a:lnTo>
                  <a:lnTo>
                    <a:pt x="14" y="137"/>
                  </a:lnTo>
                  <a:lnTo>
                    <a:pt x="21" y="137"/>
                  </a:lnTo>
                  <a:lnTo>
                    <a:pt x="25" y="137"/>
                  </a:lnTo>
                  <a:lnTo>
                    <a:pt x="32" y="137"/>
                  </a:lnTo>
                  <a:lnTo>
                    <a:pt x="39" y="139"/>
                  </a:lnTo>
                  <a:lnTo>
                    <a:pt x="44" y="139"/>
                  </a:lnTo>
                  <a:lnTo>
                    <a:pt x="51" y="139"/>
                  </a:lnTo>
                  <a:lnTo>
                    <a:pt x="56" y="142"/>
                  </a:lnTo>
                  <a:lnTo>
                    <a:pt x="63" y="142"/>
                  </a:lnTo>
                  <a:lnTo>
                    <a:pt x="70" y="142"/>
                  </a:lnTo>
                  <a:lnTo>
                    <a:pt x="74" y="142"/>
                  </a:lnTo>
                  <a:lnTo>
                    <a:pt x="81" y="144"/>
                  </a:lnTo>
                  <a:lnTo>
                    <a:pt x="86" y="144"/>
                  </a:lnTo>
                  <a:lnTo>
                    <a:pt x="93" y="144"/>
                  </a:lnTo>
                  <a:lnTo>
                    <a:pt x="100" y="144"/>
                  </a:lnTo>
                  <a:lnTo>
                    <a:pt x="100" y="139"/>
                  </a:lnTo>
                  <a:lnTo>
                    <a:pt x="100" y="135"/>
                  </a:lnTo>
                  <a:lnTo>
                    <a:pt x="100" y="130"/>
                  </a:lnTo>
                  <a:lnTo>
                    <a:pt x="100" y="128"/>
                  </a:lnTo>
                  <a:lnTo>
                    <a:pt x="100" y="123"/>
                  </a:lnTo>
                  <a:lnTo>
                    <a:pt x="102" y="118"/>
                  </a:lnTo>
                  <a:lnTo>
                    <a:pt x="102" y="114"/>
                  </a:lnTo>
                  <a:lnTo>
                    <a:pt x="102" y="109"/>
                  </a:lnTo>
                  <a:lnTo>
                    <a:pt x="102" y="105"/>
                  </a:lnTo>
                  <a:lnTo>
                    <a:pt x="102" y="100"/>
                  </a:lnTo>
                  <a:lnTo>
                    <a:pt x="102" y="95"/>
                  </a:lnTo>
                  <a:lnTo>
                    <a:pt x="105" y="91"/>
                  </a:lnTo>
                  <a:lnTo>
                    <a:pt x="105" y="86"/>
                  </a:lnTo>
                  <a:lnTo>
                    <a:pt x="105" y="81"/>
                  </a:lnTo>
                  <a:lnTo>
                    <a:pt x="105" y="79"/>
                  </a:lnTo>
                  <a:lnTo>
                    <a:pt x="105" y="74"/>
                  </a:lnTo>
                  <a:lnTo>
                    <a:pt x="105" y="70"/>
                  </a:lnTo>
                  <a:lnTo>
                    <a:pt x="107" y="65"/>
                  </a:lnTo>
                  <a:lnTo>
                    <a:pt x="107" y="60"/>
                  </a:lnTo>
                  <a:lnTo>
                    <a:pt x="107" y="56"/>
                  </a:lnTo>
                  <a:lnTo>
                    <a:pt x="107" y="51"/>
                  </a:lnTo>
                  <a:lnTo>
                    <a:pt x="107" y="46"/>
                  </a:lnTo>
                  <a:lnTo>
                    <a:pt x="107" y="42"/>
                  </a:lnTo>
                  <a:lnTo>
                    <a:pt x="109" y="37"/>
                  </a:lnTo>
                  <a:lnTo>
                    <a:pt x="109" y="32"/>
                  </a:lnTo>
                  <a:lnTo>
                    <a:pt x="109" y="30"/>
                  </a:lnTo>
                  <a:lnTo>
                    <a:pt x="109" y="25"/>
                  </a:lnTo>
                  <a:lnTo>
                    <a:pt x="109" y="21"/>
                  </a:lnTo>
                  <a:lnTo>
                    <a:pt x="109" y="16"/>
                  </a:lnTo>
                  <a:lnTo>
                    <a:pt x="111" y="11"/>
                  </a:lnTo>
                  <a:lnTo>
                    <a:pt x="111" y="7"/>
                  </a:lnTo>
                  <a:lnTo>
                    <a:pt x="111" y="2"/>
                  </a:lnTo>
                  <a:lnTo>
                    <a:pt x="111" y="0"/>
                  </a:lnTo>
                  <a:lnTo>
                    <a:pt x="111" y="2"/>
                  </a:lnTo>
                  <a:lnTo>
                    <a:pt x="114" y="2"/>
                  </a:lnTo>
                  <a:lnTo>
                    <a:pt x="116" y="2"/>
                  </a:lnTo>
                  <a:lnTo>
                    <a:pt x="118" y="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792">
              <a:extLst>
                <a:ext uri="{FF2B5EF4-FFF2-40B4-BE49-F238E27FC236}">
                  <a16:creationId xmlns:a16="http://schemas.microsoft.com/office/drawing/2014/main" id="{C8C379BD-8810-41B1-BA0D-91D6E949FA14}"/>
                </a:ext>
              </a:extLst>
            </p:cNvPr>
            <p:cNvSpPr>
              <a:spLocks/>
            </p:cNvSpPr>
            <p:nvPr/>
          </p:nvSpPr>
          <p:spPr bwMode="auto">
            <a:xfrm>
              <a:off x="7401719" y="4464051"/>
              <a:ext cx="71438" cy="66675"/>
            </a:xfrm>
            <a:custGeom>
              <a:avLst/>
              <a:gdLst>
                <a:gd name="T0" fmla="*/ 40 w 45"/>
                <a:gd name="T1" fmla="*/ 5 h 42"/>
                <a:gd name="T2" fmla="*/ 42 w 45"/>
                <a:gd name="T3" fmla="*/ 12 h 42"/>
                <a:gd name="T4" fmla="*/ 45 w 45"/>
                <a:gd name="T5" fmla="*/ 19 h 42"/>
                <a:gd name="T6" fmla="*/ 45 w 45"/>
                <a:gd name="T7" fmla="*/ 21 h 42"/>
                <a:gd name="T8" fmla="*/ 45 w 45"/>
                <a:gd name="T9" fmla="*/ 23 h 42"/>
                <a:gd name="T10" fmla="*/ 42 w 45"/>
                <a:gd name="T11" fmla="*/ 21 h 42"/>
                <a:gd name="T12" fmla="*/ 40 w 45"/>
                <a:gd name="T13" fmla="*/ 23 h 42"/>
                <a:gd name="T14" fmla="*/ 38 w 45"/>
                <a:gd name="T15" fmla="*/ 23 h 42"/>
                <a:gd name="T16" fmla="*/ 38 w 45"/>
                <a:gd name="T17" fmla="*/ 26 h 42"/>
                <a:gd name="T18" fmla="*/ 33 w 45"/>
                <a:gd name="T19" fmla="*/ 26 h 42"/>
                <a:gd name="T20" fmla="*/ 33 w 45"/>
                <a:gd name="T21" fmla="*/ 26 h 42"/>
                <a:gd name="T22" fmla="*/ 33 w 45"/>
                <a:gd name="T23" fmla="*/ 23 h 42"/>
                <a:gd name="T24" fmla="*/ 33 w 45"/>
                <a:gd name="T25" fmla="*/ 26 h 42"/>
                <a:gd name="T26" fmla="*/ 33 w 45"/>
                <a:gd name="T27" fmla="*/ 26 h 42"/>
                <a:gd name="T28" fmla="*/ 31 w 45"/>
                <a:gd name="T29" fmla="*/ 26 h 42"/>
                <a:gd name="T30" fmla="*/ 31 w 45"/>
                <a:gd name="T31" fmla="*/ 28 h 42"/>
                <a:gd name="T32" fmla="*/ 28 w 45"/>
                <a:gd name="T33" fmla="*/ 28 h 42"/>
                <a:gd name="T34" fmla="*/ 26 w 45"/>
                <a:gd name="T35" fmla="*/ 28 h 42"/>
                <a:gd name="T36" fmla="*/ 26 w 45"/>
                <a:gd name="T37" fmla="*/ 30 h 42"/>
                <a:gd name="T38" fmla="*/ 24 w 45"/>
                <a:gd name="T39" fmla="*/ 28 h 42"/>
                <a:gd name="T40" fmla="*/ 24 w 45"/>
                <a:gd name="T41" fmla="*/ 30 h 42"/>
                <a:gd name="T42" fmla="*/ 21 w 45"/>
                <a:gd name="T43" fmla="*/ 30 h 42"/>
                <a:gd name="T44" fmla="*/ 19 w 45"/>
                <a:gd name="T45" fmla="*/ 28 h 42"/>
                <a:gd name="T46" fmla="*/ 19 w 45"/>
                <a:gd name="T47" fmla="*/ 30 h 42"/>
                <a:gd name="T48" fmla="*/ 19 w 45"/>
                <a:gd name="T49" fmla="*/ 33 h 42"/>
                <a:gd name="T50" fmla="*/ 17 w 45"/>
                <a:gd name="T51" fmla="*/ 33 h 42"/>
                <a:gd name="T52" fmla="*/ 17 w 45"/>
                <a:gd name="T53" fmla="*/ 35 h 42"/>
                <a:gd name="T54" fmla="*/ 14 w 45"/>
                <a:gd name="T55" fmla="*/ 35 h 42"/>
                <a:gd name="T56" fmla="*/ 14 w 45"/>
                <a:gd name="T57" fmla="*/ 35 h 42"/>
                <a:gd name="T58" fmla="*/ 14 w 45"/>
                <a:gd name="T59" fmla="*/ 35 h 42"/>
                <a:gd name="T60" fmla="*/ 14 w 45"/>
                <a:gd name="T61" fmla="*/ 37 h 42"/>
                <a:gd name="T62" fmla="*/ 12 w 45"/>
                <a:gd name="T63" fmla="*/ 37 h 42"/>
                <a:gd name="T64" fmla="*/ 12 w 45"/>
                <a:gd name="T65" fmla="*/ 37 h 42"/>
                <a:gd name="T66" fmla="*/ 10 w 45"/>
                <a:gd name="T67" fmla="*/ 37 h 42"/>
                <a:gd name="T68" fmla="*/ 10 w 45"/>
                <a:gd name="T69" fmla="*/ 40 h 42"/>
                <a:gd name="T70" fmla="*/ 7 w 45"/>
                <a:gd name="T71" fmla="*/ 42 h 42"/>
                <a:gd name="T72" fmla="*/ 5 w 45"/>
                <a:gd name="T73" fmla="*/ 42 h 42"/>
                <a:gd name="T74" fmla="*/ 5 w 45"/>
                <a:gd name="T75" fmla="*/ 42 h 42"/>
                <a:gd name="T76" fmla="*/ 5 w 45"/>
                <a:gd name="T77" fmla="*/ 42 h 42"/>
                <a:gd name="T78" fmla="*/ 5 w 45"/>
                <a:gd name="T79" fmla="*/ 42 h 42"/>
                <a:gd name="T80" fmla="*/ 3 w 45"/>
                <a:gd name="T81" fmla="*/ 40 h 42"/>
                <a:gd name="T82" fmla="*/ 7 w 45"/>
                <a:gd name="T83" fmla="*/ 35 h 42"/>
                <a:gd name="T84" fmla="*/ 5 w 45"/>
                <a:gd name="T85" fmla="*/ 35 h 42"/>
                <a:gd name="T86" fmla="*/ 5 w 45"/>
                <a:gd name="T87" fmla="*/ 30 h 42"/>
                <a:gd name="T88" fmla="*/ 3 w 45"/>
                <a:gd name="T89" fmla="*/ 23 h 42"/>
                <a:gd name="T90" fmla="*/ 3 w 45"/>
                <a:gd name="T91" fmla="*/ 19 h 42"/>
                <a:gd name="T92" fmla="*/ 0 w 45"/>
                <a:gd name="T93" fmla="*/ 12 h 42"/>
                <a:gd name="T94" fmla="*/ 7 w 45"/>
                <a:gd name="T95" fmla="*/ 7 h 42"/>
                <a:gd name="T96" fmla="*/ 14 w 45"/>
                <a:gd name="T97" fmla="*/ 7 h 42"/>
                <a:gd name="T98" fmla="*/ 17 w 45"/>
                <a:gd name="T99" fmla="*/ 5 h 42"/>
                <a:gd name="T100" fmla="*/ 21 w 45"/>
                <a:gd name="T101" fmla="*/ 5 h 42"/>
                <a:gd name="T102" fmla="*/ 31 w 45"/>
                <a:gd name="T103" fmla="*/ 2 h 42"/>
                <a:gd name="T104" fmla="*/ 40 w 45"/>
                <a:gd name="T10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 h="42">
                  <a:moveTo>
                    <a:pt x="40" y="0"/>
                  </a:moveTo>
                  <a:lnTo>
                    <a:pt x="40" y="2"/>
                  </a:lnTo>
                  <a:lnTo>
                    <a:pt x="40" y="5"/>
                  </a:lnTo>
                  <a:lnTo>
                    <a:pt x="40" y="5"/>
                  </a:lnTo>
                  <a:lnTo>
                    <a:pt x="42" y="7"/>
                  </a:lnTo>
                  <a:lnTo>
                    <a:pt x="42" y="9"/>
                  </a:lnTo>
                  <a:lnTo>
                    <a:pt x="42" y="12"/>
                  </a:lnTo>
                  <a:lnTo>
                    <a:pt x="42" y="12"/>
                  </a:lnTo>
                  <a:lnTo>
                    <a:pt x="45" y="14"/>
                  </a:lnTo>
                  <a:lnTo>
                    <a:pt x="45" y="16"/>
                  </a:lnTo>
                  <a:lnTo>
                    <a:pt x="45" y="16"/>
                  </a:lnTo>
                  <a:lnTo>
                    <a:pt x="45" y="19"/>
                  </a:lnTo>
                  <a:lnTo>
                    <a:pt x="45" y="19"/>
                  </a:lnTo>
                  <a:lnTo>
                    <a:pt x="45" y="19"/>
                  </a:lnTo>
                  <a:lnTo>
                    <a:pt x="45" y="19"/>
                  </a:lnTo>
                  <a:lnTo>
                    <a:pt x="45" y="21"/>
                  </a:lnTo>
                  <a:lnTo>
                    <a:pt x="45" y="21"/>
                  </a:lnTo>
                  <a:lnTo>
                    <a:pt x="45" y="21"/>
                  </a:lnTo>
                  <a:lnTo>
                    <a:pt x="45" y="23"/>
                  </a:lnTo>
                  <a:lnTo>
                    <a:pt x="45" y="23"/>
                  </a:lnTo>
                  <a:lnTo>
                    <a:pt x="45" y="21"/>
                  </a:lnTo>
                  <a:lnTo>
                    <a:pt x="45" y="21"/>
                  </a:lnTo>
                  <a:lnTo>
                    <a:pt x="45" y="21"/>
                  </a:lnTo>
                  <a:lnTo>
                    <a:pt x="42" y="21"/>
                  </a:lnTo>
                  <a:lnTo>
                    <a:pt x="42" y="21"/>
                  </a:lnTo>
                  <a:lnTo>
                    <a:pt x="42" y="21"/>
                  </a:lnTo>
                  <a:lnTo>
                    <a:pt x="42" y="21"/>
                  </a:lnTo>
                  <a:lnTo>
                    <a:pt x="40" y="23"/>
                  </a:lnTo>
                  <a:lnTo>
                    <a:pt x="38" y="23"/>
                  </a:lnTo>
                  <a:lnTo>
                    <a:pt x="38" y="23"/>
                  </a:lnTo>
                  <a:lnTo>
                    <a:pt x="38" y="23"/>
                  </a:lnTo>
                  <a:lnTo>
                    <a:pt x="38" y="23"/>
                  </a:lnTo>
                  <a:lnTo>
                    <a:pt x="38" y="23"/>
                  </a:lnTo>
                  <a:lnTo>
                    <a:pt x="38" y="23"/>
                  </a:lnTo>
                  <a:lnTo>
                    <a:pt x="35" y="23"/>
                  </a:lnTo>
                  <a:lnTo>
                    <a:pt x="38" y="26"/>
                  </a:lnTo>
                  <a:lnTo>
                    <a:pt x="35" y="23"/>
                  </a:lnTo>
                  <a:lnTo>
                    <a:pt x="35" y="26"/>
                  </a:lnTo>
                  <a:lnTo>
                    <a:pt x="33" y="26"/>
                  </a:lnTo>
                  <a:lnTo>
                    <a:pt x="33" y="26"/>
                  </a:lnTo>
                  <a:lnTo>
                    <a:pt x="33" y="26"/>
                  </a:lnTo>
                  <a:lnTo>
                    <a:pt x="33" y="26"/>
                  </a:lnTo>
                  <a:lnTo>
                    <a:pt x="33" y="26"/>
                  </a:lnTo>
                  <a:lnTo>
                    <a:pt x="33" y="26"/>
                  </a:lnTo>
                  <a:lnTo>
                    <a:pt x="33" y="26"/>
                  </a:lnTo>
                  <a:lnTo>
                    <a:pt x="33" y="23"/>
                  </a:lnTo>
                  <a:lnTo>
                    <a:pt x="33" y="23"/>
                  </a:lnTo>
                  <a:lnTo>
                    <a:pt x="33" y="23"/>
                  </a:lnTo>
                  <a:lnTo>
                    <a:pt x="33" y="23"/>
                  </a:lnTo>
                  <a:lnTo>
                    <a:pt x="31" y="23"/>
                  </a:lnTo>
                  <a:lnTo>
                    <a:pt x="33" y="23"/>
                  </a:lnTo>
                  <a:lnTo>
                    <a:pt x="33" y="26"/>
                  </a:lnTo>
                  <a:lnTo>
                    <a:pt x="33" y="26"/>
                  </a:lnTo>
                  <a:lnTo>
                    <a:pt x="33" y="26"/>
                  </a:lnTo>
                  <a:lnTo>
                    <a:pt x="33" y="26"/>
                  </a:lnTo>
                  <a:lnTo>
                    <a:pt x="33" y="26"/>
                  </a:lnTo>
                  <a:lnTo>
                    <a:pt x="33" y="26"/>
                  </a:lnTo>
                  <a:lnTo>
                    <a:pt x="33" y="26"/>
                  </a:lnTo>
                  <a:lnTo>
                    <a:pt x="31" y="26"/>
                  </a:lnTo>
                  <a:lnTo>
                    <a:pt x="31" y="26"/>
                  </a:lnTo>
                  <a:lnTo>
                    <a:pt x="31" y="28"/>
                  </a:lnTo>
                  <a:lnTo>
                    <a:pt x="31" y="28"/>
                  </a:lnTo>
                  <a:lnTo>
                    <a:pt x="31" y="28"/>
                  </a:lnTo>
                  <a:lnTo>
                    <a:pt x="31" y="28"/>
                  </a:lnTo>
                  <a:lnTo>
                    <a:pt x="28" y="28"/>
                  </a:lnTo>
                  <a:lnTo>
                    <a:pt x="28" y="28"/>
                  </a:lnTo>
                  <a:lnTo>
                    <a:pt x="28" y="28"/>
                  </a:lnTo>
                  <a:lnTo>
                    <a:pt x="28" y="28"/>
                  </a:lnTo>
                  <a:lnTo>
                    <a:pt x="28" y="28"/>
                  </a:lnTo>
                  <a:lnTo>
                    <a:pt x="28" y="28"/>
                  </a:lnTo>
                  <a:lnTo>
                    <a:pt x="28" y="28"/>
                  </a:lnTo>
                  <a:lnTo>
                    <a:pt x="26" y="28"/>
                  </a:lnTo>
                  <a:lnTo>
                    <a:pt x="26" y="28"/>
                  </a:lnTo>
                  <a:lnTo>
                    <a:pt x="26" y="28"/>
                  </a:lnTo>
                  <a:lnTo>
                    <a:pt x="26" y="28"/>
                  </a:lnTo>
                  <a:lnTo>
                    <a:pt x="26" y="30"/>
                  </a:lnTo>
                  <a:lnTo>
                    <a:pt x="26" y="28"/>
                  </a:lnTo>
                  <a:lnTo>
                    <a:pt x="24" y="28"/>
                  </a:lnTo>
                  <a:lnTo>
                    <a:pt x="24" y="28"/>
                  </a:lnTo>
                  <a:lnTo>
                    <a:pt x="24" y="28"/>
                  </a:lnTo>
                  <a:lnTo>
                    <a:pt x="24" y="30"/>
                  </a:lnTo>
                  <a:lnTo>
                    <a:pt x="24" y="30"/>
                  </a:lnTo>
                  <a:lnTo>
                    <a:pt x="24" y="30"/>
                  </a:lnTo>
                  <a:lnTo>
                    <a:pt x="24" y="30"/>
                  </a:lnTo>
                  <a:lnTo>
                    <a:pt x="21" y="30"/>
                  </a:lnTo>
                  <a:lnTo>
                    <a:pt x="21" y="30"/>
                  </a:lnTo>
                  <a:lnTo>
                    <a:pt x="21" y="30"/>
                  </a:lnTo>
                  <a:lnTo>
                    <a:pt x="21" y="30"/>
                  </a:lnTo>
                  <a:lnTo>
                    <a:pt x="21" y="30"/>
                  </a:lnTo>
                  <a:lnTo>
                    <a:pt x="21" y="30"/>
                  </a:lnTo>
                  <a:lnTo>
                    <a:pt x="21" y="30"/>
                  </a:lnTo>
                  <a:lnTo>
                    <a:pt x="19" y="28"/>
                  </a:lnTo>
                  <a:lnTo>
                    <a:pt x="19" y="28"/>
                  </a:lnTo>
                  <a:lnTo>
                    <a:pt x="19" y="30"/>
                  </a:lnTo>
                  <a:lnTo>
                    <a:pt x="19" y="30"/>
                  </a:lnTo>
                  <a:lnTo>
                    <a:pt x="19" y="30"/>
                  </a:lnTo>
                  <a:lnTo>
                    <a:pt x="19" y="30"/>
                  </a:lnTo>
                  <a:lnTo>
                    <a:pt x="19" y="33"/>
                  </a:lnTo>
                  <a:lnTo>
                    <a:pt x="19" y="33"/>
                  </a:lnTo>
                  <a:lnTo>
                    <a:pt x="19" y="33"/>
                  </a:lnTo>
                  <a:lnTo>
                    <a:pt x="17" y="33"/>
                  </a:lnTo>
                  <a:lnTo>
                    <a:pt x="17" y="33"/>
                  </a:lnTo>
                  <a:lnTo>
                    <a:pt x="17" y="33"/>
                  </a:lnTo>
                  <a:lnTo>
                    <a:pt x="17" y="33"/>
                  </a:lnTo>
                  <a:lnTo>
                    <a:pt x="17" y="33"/>
                  </a:lnTo>
                  <a:lnTo>
                    <a:pt x="17" y="35"/>
                  </a:lnTo>
                  <a:lnTo>
                    <a:pt x="17" y="35"/>
                  </a:lnTo>
                  <a:lnTo>
                    <a:pt x="17" y="35"/>
                  </a:lnTo>
                  <a:lnTo>
                    <a:pt x="17" y="35"/>
                  </a:lnTo>
                  <a:lnTo>
                    <a:pt x="17" y="35"/>
                  </a:lnTo>
                  <a:lnTo>
                    <a:pt x="14" y="35"/>
                  </a:lnTo>
                  <a:lnTo>
                    <a:pt x="14" y="35"/>
                  </a:lnTo>
                  <a:lnTo>
                    <a:pt x="14" y="35"/>
                  </a:lnTo>
                  <a:lnTo>
                    <a:pt x="14" y="35"/>
                  </a:lnTo>
                  <a:lnTo>
                    <a:pt x="14" y="35"/>
                  </a:lnTo>
                  <a:lnTo>
                    <a:pt x="14" y="35"/>
                  </a:lnTo>
                  <a:lnTo>
                    <a:pt x="14" y="35"/>
                  </a:lnTo>
                  <a:lnTo>
                    <a:pt x="14" y="35"/>
                  </a:lnTo>
                  <a:lnTo>
                    <a:pt x="14" y="35"/>
                  </a:lnTo>
                  <a:lnTo>
                    <a:pt x="14" y="35"/>
                  </a:lnTo>
                  <a:lnTo>
                    <a:pt x="14" y="35"/>
                  </a:lnTo>
                  <a:lnTo>
                    <a:pt x="14" y="35"/>
                  </a:lnTo>
                  <a:lnTo>
                    <a:pt x="14" y="37"/>
                  </a:lnTo>
                  <a:lnTo>
                    <a:pt x="14" y="37"/>
                  </a:lnTo>
                  <a:lnTo>
                    <a:pt x="14" y="37"/>
                  </a:lnTo>
                  <a:lnTo>
                    <a:pt x="12" y="37"/>
                  </a:lnTo>
                  <a:lnTo>
                    <a:pt x="12" y="37"/>
                  </a:lnTo>
                  <a:lnTo>
                    <a:pt x="12" y="37"/>
                  </a:lnTo>
                  <a:lnTo>
                    <a:pt x="12" y="37"/>
                  </a:lnTo>
                  <a:lnTo>
                    <a:pt x="12" y="37"/>
                  </a:lnTo>
                  <a:lnTo>
                    <a:pt x="12" y="37"/>
                  </a:lnTo>
                  <a:lnTo>
                    <a:pt x="12" y="37"/>
                  </a:lnTo>
                  <a:lnTo>
                    <a:pt x="12" y="37"/>
                  </a:lnTo>
                  <a:lnTo>
                    <a:pt x="12" y="37"/>
                  </a:lnTo>
                  <a:lnTo>
                    <a:pt x="12" y="37"/>
                  </a:lnTo>
                  <a:lnTo>
                    <a:pt x="10" y="37"/>
                  </a:lnTo>
                  <a:lnTo>
                    <a:pt x="10" y="40"/>
                  </a:lnTo>
                  <a:lnTo>
                    <a:pt x="10" y="40"/>
                  </a:lnTo>
                  <a:lnTo>
                    <a:pt x="10" y="40"/>
                  </a:lnTo>
                  <a:lnTo>
                    <a:pt x="10" y="40"/>
                  </a:lnTo>
                  <a:lnTo>
                    <a:pt x="7" y="40"/>
                  </a:lnTo>
                  <a:lnTo>
                    <a:pt x="7" y="42"/>
                  </a:lnTo>
                  <a:lnTo>
                    <a:pt x="7" y="42"/>
                  </a:lnTo>
                  <a:lnTo>
                    <a:pt x="7" y="42"/>
                  </a:lnTo>
                  <a:lnTo>
                    <a:pt x="7" y="42"/>
                  </a:lnTo>
                  <a:lnTo>
                    <a:pt x="7" y="42"/>
                  </a:lnTo>
                  <a:lnTo>
                    <a:pt x="7" y="42"/>
                  </a:lnTo>
                  <a:lnTo>
                    <a:pt x="5" y="42"/>
                  </a:lnTo>
                  <a:lnTo>
                    <a:pt x="5" y="42"/>
                  </a:lnTo>
                  <a:lnTo>
                    <a:pt x="5" y="42"/>
                  </a:lnTo>
                  <a:lnTo>
                    <a:pt x="5" y="42"/>
                  </a:lnTo>
                  <a:lnTo>
                    <a:pt x="5" y="42"/>
                  </a:lnTo>
                  <a:lnTo>
                    <a:pt x="5" y="42"/>
                  </a:lnTo>
                  <a:lnTo>
                    <a:pt x="5" y="42"/>
                  </a:lnTo>
                  <a:lnTo>
                    <a:pt x="5" y="42"/>
                  </a:lnTo>
                  <a:lnTo>
                    <a:pt x="5" y="42"/>
                  </a:lnTo>
                  <a:lnTo>
                    <a:pt x="5" y="42"/>
                  </a:lnTo>
                  <a:lnTo>
                    <a:pt x="5" y="42"/>
                  </a:lnTo>
                  <a:lnTo>
                    <a:pt x="5" y="42"/>
                  </a:lnTo>
                  <a:lnTo>
                    <a:pt x="5" y="42"/>
                  </a:lnTo>
                  <a:lnTo>
                    <a:pt x="3" y="42"/>
                  </a:lnTo>
                  <a:lnTo>
                    <a:pt x="3" y="40"/>
                  </a:lnTo>
                  <a:lnTo>
                    <a:pt x="3" y="40"/>
                  </a:lnTo>
                  <a:lnTo>
                    <a:pt x="3" y="40"/>
                  </a:lnTo>
                  <a:lnTo>
                    <a:pt x="3" y="40"/>
                  </a:lnTo>
                  <a:lnTo>
                    <a:pt x="5" y="37"/>
                  </a:lnTo>
                  <a:lnTo>
                    <a:pt x="5" y="37"/>
                  </a:lnTo>
                  <a:lnTo>
                    <a:pt x="7" y="35"/>
                  </a:lnTo>
                  <a:lnTo>
                    <a:pt x="7" y="35"/>
                  </a:lnTo>
                  <a:lnTo>
                    <a:pt x="7" y="35"/>
                  </a:lnTo>
                  <a:lnTo>
                    <a:pt x="7" y="35"/>
                  </a:lnTo>
                  <a:lnTo>
                    <a:pt x="5" y="35"/>
                  </a:lnTo>
                  <a:lnTo>
                    <a:pt x="5" y="33"/>
                  </a:lnTo>
                  <a:lnTo>
                    <a:pt x="5" y="33"/>
                  </a:lnTo>
                  <a:lnTo>
                    <a:pt x="5" y="30"/>
                  </a:lnTo>
                  <a:lnTo>
                    <a:pt x="5" y="30"/>
                  </a:lnTo>
                  <a:lnTo>
                    <a:pt x="5" y="28"/>
                  </a:lnTo>
                  <a:lnTo>
                    <a:pt x="5" y="28"/>
                  </a:lnTo>
                  <a:lnTo>
                    <a:pt x="3" y="26"/>
                  </a:lnTo>
                  <a:lnTo>
                    <a:pt x="3" y="23"/>
                  </a:lnTo>
                  <a:lnTo>
                    <a:pt x="3" y="23"/>
                  </a:lnTo>
                  <a:lnTo>
                    <a:pt x="3" y="21"/>
                  </a:lnTo>
                  <a:lnTo>
                    <a:pt x="3" y="19"/>
                  </a:lnTo>
                  <a:lnTo>
                    <a:pt x="3" y="19"/>
                  </a:lnTo>
                  <a:lnTo>
                    <a:pt x="3" y="16"/>
                  </a:lnTo>
                  <a:lnTo>
                    <a:pt x="3" y="16"/>
                  </a:lnTo>
                  <a:lnTo>
                    <a:pt x="0" y="14"/>
                  </a:lnTo>
                  <a:lnTo>
                    <a:pt x="0" y="12"/>
                  </a:lnTo>
                  <a:lnTo>
                    <a:pt x="0" y="12"/>
                  </a:lnTo>
                  <a:lnTo>
                    <a:pt x="0" y="9"/>
                  </a:lnTo>
                  <a:lnTo>
                    <a:pt x="3" y="9"/>
                  </a:lnTo>
                  <a:lnTo>
                    <a:pt x="7" y="7"/>
                  </a:lnTo>
                  <a:lnTo>
                    <a:pt x="10" y="7"/>
                  </a:lnTo>
                  <a:lnTo>
                    <a:pt x="12" y="7"/>
                  </a:lnTo>
                  <a:lnTo>
                    <a:pt x="14" y="7"/>
                  </a:lnTo>
                  <a:lnTo>
                    <a:pt x="14" y="7"/>
                  </a:lnTo>
                  <a:lnTo>
                    <a:pt x="17" y="7"/>
                  </a:lnTo>
                  <a:lnTo>
                    <a:pt x="17" y="7"/>
                  </a:lnTo>
                  <a:lnTo>
                    <a:pt x="17" y="7"/>
                  </a:lnTo>
                  <a:lnTo>
                    <a:pt x="17" y="5"/>
                  </a:lnTo>
                  <a:lnTo>
                    <a:pt x="21" y="5"/>
                  </a:lnTo>
                  <a:lnTo>
                    <a:pt x="21" y="5"/>
                  </a:lnTo>
                  <a:lnTo>
                    <a:pt x="21" y="5"/>
                  </a:lnTo>
                  <a:lnTo>
                    <a:pt x="21" y="5"/>
                  </a:lnTo>
                  <a:lnTo>
                    <a:pt x="21" y="5"/>
                  </a:lnTo>
                  <a:lnTo>
                    <a:pt x="24" y="5"/>
                  </a:lnTo>
                  <a:lnTo>
                    <a:pt x="26" y="2"/>
                  </a:lnTo>
                  <a:lnTo>
                    <a:pt x="31" y="2"/>
                  </a:lnTo>
                  <a:lnTo>
                    <a:pt x="33" y="2"/>
                  </a:lnTo>
                  <a:lnTo>
                    <a:pt x="38" y="0"/>
                  </a:lnTo>
                  <a:lnTo>
                    <a:pt x="40" y="0"/>
                  </a:lnTo>
                  <a:lnTo>
                    <a:pt x="40"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793">
              <a:extLst>
                <a:ext uri="{FF2B5EF4-FFF2-40B4-BE49-F238E27FC236}">
                  <a16:creationId xmlns:a16="http://schemas.microsoft.com/office/drawing/2014/main" id="{D640F484-BB91-4028-B6E2-90EF73F53E13}"/>
                </a:ext>
              </a:extLst>
            </p:cNvPr>
            <p:cNvSpPr>
              <a:spLocks/>
            </p:cNvSpPr>
            <p:nvPr/>
          </p:nvSpPr>
          <p:spPr bwMode="auto">
            <a:xfrm>
              <a:off x="7420769" y="4297363"/>
              <a:ext cx="66675" cy="136525"/>
            </a:xfrm>
            <a:custGeom>
              <a:avLst/>
              <a:gdLst>
                <a:gd name="T0" fmla="*/ 42 w 42"/>
                <a:gd name="T1" fmla="*/ 65 h 86"/>
                <a:gd name="T2" fmla="*/ 42 w 42"/>
                <a:gd name="T3" fmla="*/ 70 h 86"/>
                <a:gd name="T4" fmla="*/ 42 w 42"/>
                <a:gd name="T5" fmla="*/ 72 h 86"/>
                <a:gd name="T6" fmla="*/ 37 w 42"/>
                <a:gd name="T7" fmla="*/ 75 h 86"/>
                <a:gd name="T8" fmla="*/ 37 w 42"/>
                <a:gd name="T9" fmla="*/ 75 h 86"/>
                <a:gd name="T10" fmla="*/ 35 w 42"/>
                <a:gd name="T11" fmla="*/ 77 h 86"/>
                <a:gd name="T12" fmla="*/ 35 w 42"/>
                <a:gd name="T13" fmla="*/ 77 h 86"/>
                <a:gd name="T14" fmla="*/ 35 w 42"/>
                <a:gd name="T15" fmla="*/ 79 h 86"/>
                <a:gd name="T16" fmla="*/ 33 w 42"/>
                <a:gd name="T17" fmla="*/ 79 h 86"/>
                <a:gd name="T18" fmla="*/ 30 w 42"/>
                <a:gd name="T19" fmla="*/ 82 h 86"/>
                <a:gd name="T20" fmla="*/ 23 w 42"/>
                <a:gd name="T21" fmla="*/ 84 h 86"/>
                <a:gd name="T22" fmla="*/ 14 w 42"/>
                <a:gd name="T23" fmla="*/ 86 h 86"/>
                <a:gd name="T24" fmla="*/ 7 w 42"/>
                <a:gd name="T25" fmla="*/ 86 h 86"/>
                <a:gd name="T26" fmla="*/ 7 w 42"/>
                <a:gd name="T27" fmla="*/ 86 h 86"/>
                <a:gd name="T28" fmla="*/ 7 w 42"/>
                <a:gd name="T29" fmla="*/ 86 h 86"/>
                <a:gd name="T30" fmla="*/ 7 w 42"/>
                <a:gd name="T31" fmla="*/ 86 h 86"/>
                <a:gd name="T32" fmla="*/ 5 w 42"/>
                <a:gd name="T33" fmla="*/ 86 h 86"/>
                <a:gd name="T34" fmla="*/ 2 w 42"/>
                <a:gd name="T35" fmla="*/ 84 h 86"/>
                <a:gd name="T36" fmla="*/ 2 w 42"/>
                <a:gd name="T37" fmla="*/ 79 h 86"/>
                <a:gd name="T38" fmla="*/ 2 w 42"/>
                <a:gd name="T39" fmla="*/ 75 h 86"/>
                <a:gd name="T40" fmla="*/ 2 w 42"/>
                <a:gd name="T41" fmla="*/ 72 h 86"/>
                <a:gd name="T42" fmla="*/ 2 w 42"/>
                <a:gd name="T43" fmla="*/ 72 h 86"/>
                <a:gd name="T44" fmla="*/ 2 w 42"/>
                <a:gd name="T45" fmla="*/ 70 h 86"/>
                <a:gd name="T46" fmla="*/ 0 w 42"/>
                <a:gd name="T47" fmla="*/ 61 h 86"/>
                <a:gd name="T48" fmla="*/ 2 w 42"/>
                <a:gd name="T49" fmla="*/ 58 h 86"/>
                <a:gd name="T50" fmla="*/ 2 w 42"/>
                <a:gd name="T51" fmla="*/ 54 h 86"/>
                <a:gd name="T52" fmla="*/ 2 w 42"/>
                <a:gd name="T53" fmla="*/ 49 h 86"/>
                <a:gd name="T54" fmla="*/ 2 w 42"/>
                <a:gd name="T55" fmla="*/ 47 h 86"/>
                <a:gd name="T56" fmla="*/ 2 w 42"/>
                <a:gd name="T57" fmla="*/ 42 h 86"/>
                <a:gd name="T58" fmla="*/ 5 w 42"/>
                <a:gd name="T59" fmla="*/ 35 h 86"/>
                <a:gd name="T60" fmla="*/ 7 w 42"/>
                <a:gd name="T61" fmla="*/ 33 h 86"/>
                <a:gd name="T62" fmla="*/ 9 w 42"/>
                <a:gd name="T63" fmla="*/ 28 h 86"/>
                <a:gd name="T64" fmla="*/ 9 w 42"/>
                <a:gd name="T65" fmla="*/ 26 h 86"/>
                <a:gd name="T66" fmla="*/ 9 w 42"/>
                <a:gd name="T67" fmla="*/ 24 h 86"/>
                <a:gd name="T68" fmla="*/ 7 w 42"/>
                <a:gd name="T69" fmla="*/ 21 h 86"/>
                <a:gd name="T70" fmla="*/ 9 w 42"/>
                <a:gd name="T71" fmla="*/ 14 h 86"/>
                <a:gd name="T72" fmla="*/ 7 w 42"/>
                <a:gd name="T73" fmla="*/ 12 h 86"/>
                <a:gd name="T74" fmla="*/ 7 w 42"/>
                <a:gd name="T75" fmla="*/ 10 h 86"/>
                <a:gd name="T76" fmla="*/ 7 w 42"/>
                <a:gd name="T77" fmla="*/ 7 h 86"/>
                <a:gd name="T78" fmla="*/ 7 w 42"/>
                <a:gd name="T79" fmla="*/ 5 h 86"/>
                <a:gd name="T80" fmla="*/ 9 w 42"/>
                <a:gd name="T81" fmla="*/ 0 h 86"/>
                <a:gd name="T82" fmla="*/ 14 w 42"/>
                <a:gd name="T83" fmla="*/ 3 h 86"/>
                <a:gd name="T84" fmla="*/ 14 w 42"/>
                <a:gd name="T85" fmla="*/ 0 h 86"/>
                <a:gd name="T86" fmla="*/ 19 w 42"/>
                <a:gd name="T87" fmla="*/ 10 h 86"/>
                <a:gd name="T88" fmla="*/ 21 w 42"/>
                <a:gd name="T89" fmla="*/ 17 h 86"/>
                <a:gd name="T90" fmla="*/ 23 w 42"/>
                <a:gd name="T91" fmla="*/ 26 h 86"/>
                <a:gd name="T92" fmla="*/ 26 w 42"/>
                <a:gd name="T93" fmla="*/ 33 h 86"/>
                <a:gd name="T94" fmla="*/ 28 w 42"/>
                <a:gd name="T95" fmla="*/ 42 h 86"/>
                <a:gd name="T96" fmla="*/ 33 w 42"/>
                <a:gd name="T97" fmla="*/ 49 h 86"/>
                <a:gd name="T98" fmla="*/ 33 w 42"/>
                <a:gd name="T99" fmla="*/ 54 h 86"/>
                <a:gd name="T100" fmla="*/ 33 w 42"/>
                <a:gd name="T101" fmla="*/ 56 h 86"/>
                <a:gd name="T102" fmla="*/ 35 w 42"/>
                <a:gd name="T103" fmla="*/ 58 h 86"/>
                <a:gd name="T104" fmla="*/ 37 w 42"/>
                <a:gd name="T105" fmla="*/ 61 h 86"/>
                <a:gd name="T106" fmla="*/ 40 w 42"/>
                <a:gd name="T107" fmla="*/ 61 h 86"/>
                <a:gd name="T108" fmla="*/ 40 w 42"/>
                <a:gd name="T109"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 h="86">
                  <a:moveTo>
                    <a:pt x="42" y="65"/>
                  </a:moveTo>
                  <a:lnTo>
                    <a:pt x="42" y="65"/>
                  </a:lnTo>
                  <a:lnTo>
                    <a:pt x="42" y="65"/>
                  </a:lnTo>
                  <a:lnTo>
                    <a:pt x="42" y="65"/>
                  </a:lnTo>
                  <a:lnTo>
                    <a:pt x="42" y="65"/>
                  </a:lnTo>
                  <a:lnTo>
                    <a:pt x="42" y="65"/>
                  </a:lnTo>
                  <a:lnTo>
                    <a:pt x="42" y="68"/>
                  </a:lnTo>
                  <a:lnTo>
                    <a:pt x="42" y="68"/>
                  </a:lnTo>
                  <a:lnTo>
                    <a:pt x="42" y="68"/>
                  </a:lnTo>
                  <a:lnTo>
                    <a:pt x="42" y="70"/>
                  </a:lnTo>
                  <a:lnTo>
                    <a:pt x="42" y="70"/>
                  </a:lnTo>
                  <a:lnTo>
                    <a:pt x="42" y="72"/>
                  </a:lnTo>
                  <a:lnTo>
                    <a:pt x="42" y="72"/>
                  </a:lnTo>
                  <a:lnTo>
                    <a:pt x="42" y="72"/>
                  </a:lnTo>
                  <a:lnTo>
                    <a:pt x="42" y="72"/>
                  </a:lnTo>
                  <a:lnTo>
                    <a:pt x="42" y="72"/>
                  </a:lnTo>
                  <a:lnTo>
                    <a:pt x="40" y="72"/>
                  </a:lnTo>
                  <a:lnTo>
                    <a:pt x="40" y="72"/>
                  </a:lnTo>
                  <a:lnTo>
                    <a:pt x="40" y="72"/>
                  </a:lnTo>
                  <a:lnTo>
                    <a:pt x="37" y="75"/>
                  </a:lnTo>
                  <a:lnTo>
                    <a:pt x="37" y="75"/>
                  </a:lnTo>
                  <a:lnTo>
                    <a:pt x="37" y="75"/>
                  </a:lnTo>
                  <a:lnTo>
                    <a:pt x="37" y="75"/>
                  </a:lnTo>
                  <a:lnTo>
                    <a:pt x="37" y="75"/>
                  </a:lnTo>
                  <a:lnTo>
                    <a:pt x="37" y="75"/>
                  </a:lnTo>
                  <a:lnTo>
                    <a:pt x="37" y="75"/>
                  </a:lnTo>
                  <a:lnTo>
                    <a:pt x="37" y="75"/>
                  </a:lnTo>
                  <a:lnTo>
                    <a:pt x="35" y="75"/>
                  </a:lnTo>
                  <a:lnTo>
                    <a:pt x="35" y="77"/>
                  </a:lnTo>
                  <a:lnTo>
                    <a:pt x="35" y="77"/>
                  </a:lnTo>
                  <a:lnTo>
                    <a:pt x="35" y="77"/>
                  </a:lnTo>
                  <a:lnTo>
                    <a:pt x="35" y="77"/>
                  </a:lnTo>
                  <a:lnTo>
                    <a:pt x="35" y="77"/>
                  </a:lnTo>
                  <a:lnTo>
                    <a:pt x="35" y="77"/>
                  </a:lnTo>
                  <a:lnTo>
                    <a:pt x="35" y="77"/>
                  </a:lnTo>
                  <a:lnTo>
                    <a:pt x="35" y="77"/>
                  </a:lnTo>
                  <a:lnTo>
                    <a:pt x="35" y="77"/>
                  </a:lnTo>
                  <a:lnTo>
                    <a:pt x="35" y="77"/>
                  </a:lnTo>
                  <a:lnTo>
                    <a:pt x="35" y="79"/>
                  </a:lnTo>
                  <a:lnTo>
                    <a:pt x="35" y="79"/>
                  </a:lnTo>
                  <a:lnTo>
                    <a:pt x="35" y="79"/>
                  </a:lnTo>
                  <a:lnTo>
                    <a:pt x="35" y="79"/>
                  </a:lnTo>
                  <a:lnTo>
                    <a:pt x="33" y="79"/>
                  </a:lnTo>
                  <a:lnTo>
                    <a:pt x="33" y="79"/>
                  </a:lnTo>
                  <a:lnTo>
                    <a:pt x="33" y="79"/>
                  </a:lnTo>
                  <a:lnTo>
                    <a:pt x="33" y="82"/>
                  </a:lnTo>
                  <a:lnTo>
                    <a:pt x="33" y="82"/>
                  </a:lnTo>
                  <a:lnTo>
                    <a:pt x="33" y="82"/>
                  </a:lnTo>
                  <a:lnTo>
                    <a:pt x="33" y="82"/>
                  </a:lnTo>
                  <a:lnTo>
                    <a:pt x="30" y="82"/>
                  </a:lnTo>
                  <a:lnTo>
                    <a:pt x="28" y="82"/>
                  </a:lnTo>
                  <a:lnTo>
                    <a:pt x="28" y="82"/>
                  </a:lnTo>
                  <a:lnTo>
                    <a:pt x="26" y="82"/>
                  </a:lnTo>
                  <a:lnTo>
                    <a:pt x="23" y="84"/>
                  </a:lnTo>
                  <a:lnTo>
                    <a:pt x="23" y="84"/>
                  </a:lnTo>
                  <a:lnTo>
                    <a:pt x="21" y="84"/>
                  </a:lnTo>
                  <a:lnTo>
                    <a:pt x="19" y="84"/>
                  </a:lnTo>
                  <a:lnTo>
                    <a:pt x="19" y="84"/>
                  </a:lnTo>
                  <a:lnTo>
                    <a:pt x="16" y="84"/>
                  </a:lnTo>
                  <a:lnTo>
                    <a:pt x="14" y="86"/>
                  </a:lnTo>
                  <a:lnTo>
                    <a:pt x="12" y="86"/>
                  </a:lnTo>
                  <a:lnTo>
                    <a:pt x="12" y="86"/>
                  </a:lnTo>
                  <a:lnTo>
                    <a:pt x="9"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7" y="86"/>
                  </a:lnTo>
                  <a:lnTo>
                    <a:pt x="5" y="86"/>
                  </a:lnTo>
                  <a:lnTo>
                    <a:pt x="5" y="86"/>
                  </a:lnTo>
                  <a:lnTo>
                    <a:pt x="5" y="86"/>
                  </a:lnTo>
                  <a:lnTo>
                    <a:pt x="5" y="84"/>
                  </a:lnTo>
                  <a:lnTo>
                    <a:pt x="2" y="84"/>
                  </a:lnTo>
                  <a:lnTo>
                    <a:pt x="2" y="84"/>
                  </a:lnTo>
                  <a:lnTo>
                    <a:pt x="2" y="84"/>
                  </a:lnTo>
                  <a:lnTo>
                    <a:pt x="2" y="84"/>
                  </a:lnTo>
                  <a:lnTo>
                    <a:pt x="2" y="84"/>
                  </a:lnTo>
                  <a:lnTo>
                    <a:pt x="2" y="82"/>
                  </a:lnTo>
                  <a:lnTo>
                    <a:pt x="2" y="82"/>
                  </a:lnTo>
                  <a:lnTo>
                    <a:pt x="2" y="82"/>
                  </a:lnTo>
                  <a:lnTo>
                    <a:pt x="2" y="79"/>
                  </a:lnTo>
                  <a:lnTo>
                    <a:pt x="2" y="79"/>
                  </a:lnTo>
                  <a:lnTo>
                    <a:pt x="5" y="79"/>
                  </a:lnTo>
                  <a:lnTo>
                    <a:pt x="5" y="79"/>
                  </a:lnTo>
                  <a:lnTo>
                    <a:pt x="2" y="77"/>
                  </a:lnTo>
                  <a:lnTo>
                    <a:pt x="2" y="75"/>
                  </a:lnTo>
                  <a:lnTo>
                    <a:pt x="2" y="75"/>
                  </a:lnTo>
                  <a:lnTo>
                    <a:pt x="2" y="75"/>
                  </a:lnTo>
                  <a:lnTo>
                    <a:pt x="2" y="75"/>
                  </a:lnTo>
                  <a:lnTo>
                    <a:pt x="2" y="72"/>
                  </a:lnTo>
                  <a:lnTo>
                    <a:pt x="2" y="72"/>
                  </a:lnTo>
                  <a:lnTo>
                    <a:pt x="2" y="72"/>
                  </a:lnTo>
                  <a:lnTo>
                    <a:pt x="2" y="72"/>
                  </a:lnTo>
                  <a:lnTo>
                    <a:pt x="2" y="72"/>
                  </a:lnTo>
                  <a:lnTo>
                    <a:pt x="2" y="72"/>
                  </a:lnTo>
                  <a:lnTo>
                    <a:pt x="2" y="72"/>
                  </a:lnTo>
                  <a:lnTo>
                    <a:pt x="2" y="72"/>
                  </a:lnTo>
                  <a:lnTo>
                    <a:pt x="2" y="70"/>
                  </a:lnTo>
                  <a:lnTo>
                    <a:pt x="2" y="70"/>
                  </a:lnTo>
                  <a:lnTo>
                    <a:pt x="2" y="70"/>
                  </a:lnTo>
                  <a:lnTo>
                    <a:pt x="2" y="70"/>
                  </a:lnTo>
                  <a:lnTo>
                    <a:pt x="2" y="70"/>
                  </a:lnTo>
                  <a:lnTo>
                    <a:pt x="2" y="68"/>
                  </a:lnTo>
                  <a:lnTo>
                    <a:pt x="2" y="68"/>
                  </a:lnTo>
                  <a:lnTo>
                    <a:pt x="0" y="63"/>
                  </a:lnTo>
                  <a:lnTo>
                    <a:pt x="0" y="61"/>
                  </a:lnTo>
                  <a:lnTo>
                    <a:pt x="0" y="61"/>
                  </a:lnTo>
                  <a:lnTo>
                    <a:pt x="2" y="61"/>
                  </a:lnTo>
                  <a:lnTo>
                    <a:pt x="2" y="58"/>
                  </a:lnTo>
                  <a:lnTo>
                    <a:pt x="2" y="58"/>
                  </a:lnTo>
                  <a:lnTo>
                    <a:pt x="2" y="58"/>
                  </a:lnTo>
                  <a:lnTo>
                    <a:pt x="2" y="56"/>
                  </a:lnTo>
                  <a:lnTo>
                    <a:pt x="2" y="56"/>
                  </a:lnTo>
                  <a:lnTo>
                    <a:pt x="2" y="56"/>
                  </a:lnTo>
                  <a:lnTo>
                    <a:pt x="2" y="54"/>
                  </a:lnTo>
                  <a:lnTo>
                    <a:pt x="2" y="54"/>
                  </a:lnTo>
                  <a:lnTo>
                    <a:pt x="2" y="54"/>
                  </a:lnTo>
                  <a:lnTo>
                    <a:pt x="2" y="51"/>
                  </a:lnTo>
                  <a:lnTo>
                    <a:pt x="2" y="51"/>
                  </a:lnTo>
                  <a:lnTo>
                    <a:pt x="2" y="51"/>
                  </a:lnTo>
                  <a:lnTo>
                    <a:pt x="2" y="49"/>
                  </a:lnTo>
                  <a:lnTo>
                    <a:pt x="2" y="49"/>
                  </a:lnTo>
                  <a:lnTo>
                    <a:pt x="5" y="47"/>
                  </a:lnTo>
                  <a:lnTo>
                    <a:pt x="5" y="47"/>
                  </a:lnTo>
                  <a:lnTo>
                    <a:pt x="2" y="47"/>
                  </a:lnTo>
                  <a:lnTo>
                    <a:pt x="2" y="47"/>
                  </a:lnTo>
                  <a:lnTo>
                    <a:pt x="2" y="47"/>
                  </a:lnTo>
                  <a:lnTo>
                    <a:pt x="2" y="44"/>
                  </a:lnTo>
                  <a:lnTo>
                    <a:pt x="2" y="44"/>
                  </a:lnTo>
                  <a:lnTo>
                    <a:pt x="5" y="42"/>
                  </a:lnTo>
                  <a:lnTo>
                    <a:pt x="2" y="42"/>
                  </a:lnTo>
                  <a:lnTo>
                    <a:pt x="2" y="37"/>
                  </a:lnTo>
                  <a:lnTo>
                    <a:pt x="2" y="37"/>
                  </a:lnTo>
                  <a:lnTo>
                    <a:pt x="2" y="35"/>
                  </a:lnTo>
                  <a:lnTo>
                    <a:pt x="2" y="35"/>
                  </a:lnTo>
                  <a:lnTo>
                    <a:pt x="5" y="35"/>
                  </a:lnTo>
                  <a:lnTo>
                    <a:pt x="5" y="35"/>
                  </a:lnTo>
                  <a:lnTo>
                    <a:pt x="5" y="33"/>
                  </a:lnTo>
                  <a:lnTo>
                    <a:pt x="7" y="33"/>
                  </a:lnTo>
                  <a:lnTo>
                    <a:pt x="7" y="33"/>
                  </a:lnTo>
                  <a:lnTo>
                    <a:pt x="7" y="33"/>
                  </a:lnTo>
                  <a:lnTo>
                    <a:pt x="9" y="31"/>
                  </a:lnTo>
                  <a:lnTo>
                    <a:pt x="9" y="31"/>
                  </a:lnTo>
                  <a:lnTo>
                    <a:pt x="9" y="31"/>
                  </a:lnTo>
                  <a:lnTo>
                    <a:pt x="9" y="28"/>
                  </a:lnTo>
                  <a:lnTo>
                    <a:pt x="9" y="28"/>
                  </a:lnTo>
                  <a:lnTo>
                    <a:pt x="9" y="28"/>
                  </a:lnTo>
                  <a:lnTo>
                    <a:pt x="9" y="26"/>
                  </a:lnTo>
                  <a:lnTo>
                    <a:pt x="9" y="26"/>
                  </a:lnTo>
                  <a:lnTo>
                    <a:pt x="9" y="26"/>
                  </a:lnTo>
                  <a:lnTo>
                    <a:pt x="9" y="26"/>
                  </a:lnTo>
                  <a:lnTo>
                    <a:pt x="9" y="26"/>
                  </a:lnTo>
                  <a:lnTo>
                    <a:pt x="9" y="26"/>
                  </a:lnTo>
                  <a:lnTo>
                    <a:pt x="9" y="24"/>
                  </a:lnTo>
                  <a:lnTo>
                    <a:pt x="9" y="24"/>
                  </a:lnTo>
                  <a:lnTo>
                    <a:pt x="9" y="24"/>
                  </a:lnTo>
                  <a:lnTo>
                    <a:pt x="9" y="24"/>
                  </a:lnTo>
                  <a:lnTo>
                    <a:pt x="9" y="21"/>
                  </a:lnTo>
                  <a:lnTo>
                    <a:pt x="9" y="21"/>
                  </a:lnTo>
                  <a:lnTo>
                    <a:pt x="7" y="21"/>
                  </a:lnTo>
                  <a:lnTo>
                    <a:pt x="7" y="21"/>
                  </a:lnTo>
                  <a:lnTo>
                    <a:pt x="7" y="21"/>
                  </a:lnTo>
                  <a:lnTo>
                    <a:pt x="7" y="19"/>
                  </a:lnTo>
                  <a:lnTo>
                    <a:pt x="7" y="19"/>
                  </a:lnTo>
                  <a:lnTo>
                    <a:pt x="7" y="17"/>
                  </a:lnTo>
                  <a:lnTo>
                    <a:pt x="9" y="14"/>
                  </a:lnTo>
                  <a:lnTo>
                    <a:pt x="9" y="14"/>
                  </a:lnTo>
                  <a:lnTo>
                    <a:pt x="7" y="14"/>
                  </a:lnTo>
                  <a:lnTo>
                    <a:pt x="7" y="14"/>
                  </a:lnTo>
                  <a:lnTo>
                    <a:pt x="7" y="12"/>
                  </a:lnTo>
                  <a:lnTo>
                    <a:pt x="7" y="12"/>
                  </a:lnTo>
                  <a:lnTo>
                    <a:pt x="7" y="12"/>
                  </a:lnTo>
                  <a:lnTo>
                    <a:pt x="7" y="12"/>
                  </a:lnTo>
                  <a:lnTo>
                    <a:pt x="7" y="12"/>
                  </a:lnTo>
                  <a:lnTo>
                    <a:pt x="7" y="10"/>
                  </a:lnTo>
                  <a:lnTo>
                    <a:pt x="7" y="10"/>
                  </a:lnTo>
                  <a:lnTo>
                    <a:pt x="7" y="10"/>
                  </a:lnTo>
                  <a:lnTo>
                    <a:pt x="7" y="7"/>
                  </a:lnTo>
                  <a:lnTo>
                    <a:pt x="7" y="7"/>
                  </a:lnTo>
                  <a:lnTo>
                    <a:pt x="7" y="7"/>
                  </a:lnTo>
                  <a:lnTo>
                    <a:pt x="7" y="7"/>
                  </a:lnTo>
                  <a:lnTo>
                    <a:pt x="7" y="5"/>
                  </a:lnTo>
                  <a:lnTo>
                    <a:pt x="7" y="5"/>
                  </a:lnTo>
                  <a:lnTo>
                    <a:pt x="7" y="5"/>
                  </a:lnTo>
                  <a:lnTo>
                    <a:pt x="7" y="5"/>
                  </a:lnTo>
                  <a:lnTo>
                    <a:pt x="7" y="5"/>
                  </a:lnTo>
                  <a:lnTo>
                    <a:pt x="7" y="3"/>
                  </a:lnTo>
                  <a:lnTo>
                    <a:pt x="9" y="3"/>
                  </a:lnTo>
                  <a:lnTo>
                    <a:pt x="9" y="3"/>
                  </a:lnTo>
                  <a:lnTo>
                    <a:pt x="9" y="3"/>
                  </a:lnTo>
                  <a:lnTo>
                    <a:pt x="9" y="0"/>
                  </a:lnTo>
                  <a:lnTo>
                    <a:pt x="9" y="0"/>
                  </a:lnTo>
                  <a:lnTo>
                    <a:pt x="12" y="3"/>
                  </a:lnTo>
                  <a:lnTo>
                    <a:pt x="12" y="3"/>
                  </a:lnTo>
                  <a:lnTo>
                    <a:pt x="14" y="3"/>
                  </a:lnTo>
                  <a:lnTo>
                    <a:pt x="14" y="3"/>
                  </a:lnTo>
                  <a:lnTo>
                    <a:pt x="14" y="0"/>
                  </a:lnTo>
                  <a:lnTo>
                    <a:pt x="14" y="0"/>
                  </a:lnTo>
                  <a:lnTo>
                    <a:pt x="14" y="0"/>
                  </a:lnTo>
                  <a:lnTo>
                    <a:pt x="14" y="0"/>
                  </a:lnTo>
                  <a:lnTo>
                    <a:pt x="14" y="0"/>
                  </a:lnTo>
                  <a:lnTo>
                    <a:pt x="16" y="3"/>
                  </a:lnTo>
                  <a:lnTo>
                    <a:pt x="16" y="5"/>
                  </a:lnTo>
                  <a:lnTo>
                    <a:pt x="16" y="5"/>
                  </a:lnTo>
                  <a:lnTo>
                    <a:pt x="16" y="7"/>
                  </a:lnTo>
                  <a:lnTo>
                    <a:pt x="19" y="10"/>
                  </a:lnTo>
                  <a:lnTo>
                    <a:pt x="19" y="12"/>
                  </a:lnTo>
                  <a:lnTo>
                    <a:pt x="19" y="12"/>
                  </a:lnTo>
                  <a:lnTo>
                    <a:pt x="19" y="14"/>
                  </a:lnTo>
                  <a:lnTo>
                    <a:pt x="21" y="17"/>
                  </a:lnTo>
                  <a:lnTo>
                    <a:pt x="21" y="17"/>
                  </a:lnTo>
                  <a:lnTo>
                    <a:pt x="21" y="19"/>
                  </a:lnTo>
                  <a:lnTo>
                    <a:pt x="21" y="21"/>
                  </a:lnTo>
                  <a:lnTo>
                    <a:pt x="23" y="21"/>
                  </a:lnTo>
                  <a:lnTo>
                    <a:pt x="23" y="24"/>
                  </a:lnTo>
                  <a:lnTo>
                    <a:pt x="23" y="26"/>
                  </a:lnTo>
                  <a:lnTo>
                    <a:pt x="23" y="28"/>
                  </a:lnTo>
                  <a:lnTo>
                    <a:pt x="23" y="28"/>
                  </a:lnTo>
                  <a:lnTo>
                    <a:pt x="26" y="31"/>
                  </a:lnTo>
                  <a:lnTo>
                    <a:pt x="26" y="33"/>
                  </a:lnTo>
                  <a:lnTo>
                    <a:pt x="26" y="33"/>
                  </a:lnTo>
                  <a:lnTo>
                    <a:pt x="26" y="35"/>
                  </a:lnTo>
                  <a:lnTo>
                    <a:pt x="28" y="37"/>
                  </a:lnTo>
                  <a:lnTo>
                    <a:pt x="28" y="37"/>
                  </a:lnTo>
                  <a:lnTo>
                    <a:pt x="28" y="40"/>
                  </a:lnTo>
                  <a:lnTo>
                    <a:pt x="28" y="42"/>
                  </a:lnTo>
                  <a:lnTo>
                    <a:pt x="30" y="42"/>
                  </a:lnTo>
                  <a:lnTo>
                    <a:pt x="30" y="44"/>
                  </a:lnTo>
                  <a:lnTo>
                    <a:pt x="30" y="47"/>
                  </a:lnTo>
                  <a:lnTo>
                    <a:pt x="30" y="49"/>
                  </a:lnTo>
                  <a:lnTo>
                    <a:pt x="33" y="49"/>
                  </a:lnTo>
                  <a:lnTo>
                    <a:pt x="33" y="51"/>
                  </a:lnTo>
                  <a:lnTo>
                    <a:pt x="33" y="51"/>
                  </a:lnTo>
                  <a:lnTo>
                    <a:pt x="33" y="54"/>
                  </a:lnTo>
                  <a:lnTo>
                    <a:pt x="33" y="54"/>
                  </a:lnTo>
                  <a:lnTo>
                    <a:pt x="33" y="54"/>
                  </a:lnTo>
                  <a:lnTo>
                    <a:pt x="33" y="54"/>
                  </a:lnTo>
                  <a:lnTo>
                    <a:pt x="33" y="54"/>
                  </a:lnTo>
                  <a:lnTo>
                    <a:pt x="33" y="54"/>
                  </a:lnTo>
                  <a:lnTo>
                    <a:pt x="33" y="56"/>
                  </a:lnTo>
                  <a:lnTo>
                    <a:pt x="33" y="56"/>
                  </a:lnTo>
                  <a:lnTo>
                    <a:pt x="33" y="56"/>
                  </a:lnTo>
                  <a:lnTo>
                    <a:pt x="33" y="56"/>
                  </a:lnTo>
                  <a:lnTo>
                    <a:pt x="33" y="56"/>
                  </a:lnTo>
                  <a:lnTo>
                    <a:pt x="33" y="56"/>
                  </a:lnTo>
                  <a:lnTo>
                    <a:pt x="35" y="58"/>
                  </a:lnTo>
                  <a:lnTo>
                    <a:pt x="35" y="58"/>
                  </a:lnTo>
                  <a:lnTo>
                    <a:pt x="35" y="58"/>
                  </a:lnTo>
                  <a:lnTo>
                    <a:pt x="35" y="58"/>
                  </a:lnTo>
                  <a:lnTo>
                    <a:pt x="35" y="58"/>
                  </a:lnTo>
                  <a:lnTo>
                    <a:pt x="37" y="61"/>
                  </a:lnTo>
                  <a:lnTo>
                    <a:pt x="37" y="61"/>
                  </a:lnTo>
                  <a:lnTo>
                    <a:pt x="37" y="61"/>
                  </a:lnTo>
                  <a:lnTo>
                    <a:pt x="40" y="61"/>
                  </a:lnTo>
                  <a:lnTo>
                    <a:pt x="40" y="61"/>
                  </a:lnTo>
                  <a:lnTo>
                    <a:pt x="40" y="61"/>
                  </a:lnTo>
                  <a:lnTo>
                    <a:pt x="40" y="61"/>
                  </a:lnTo>
                  <a:lnTo>
                    <a:pt x="40" y="63"/>
                  </a:lnTo>
                  <a:lnTo>
                    <a:pt x="40" y="63"/>
                  </a:lnTo>
                  <a:lnTo>
                    <a:pt x="40" y="63"/>
                  </a:lnTo>
                  <a:lnTo>
                    <a:pt x="40" y="63"/>
                  </a:lnTo>
                  <a:lnTo>
                    <a:pt x="40" y="63"/>
                  </a:lnTo>
                  <a:lnTo>
                    <a:pt x="42" y="65"/>
                  </a:lnTo>
                  <a:lnTo>
                    <a:pt x="42" y="65"/>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794">
              <a:extLst>
                <a:ext uri="{FF2B5EF4-FFF2-40B4-BE49-F238E27FC236}">
                  <a16:creationId xmlns:a16="http://schemas.microsoft.com/office/drawing/2014/main" id="{5D038B42-C8A1-4345-8ACC-7B8B93FA575F}"/>
                </a:ext>
              </a:extLst>
            </p:cNvPr>
            <p:cNvSpPr>
              <a:spLocks noEditPoints="1"/>
            </p:cNvSpPr>
            <p:nvPr/>
          </p:nvSpPr>
          <p:spPr bwMode="auto">
            <a:xfrm>
              <a:off x="7465219" y="4460876"/>
              <a:ext cx="30163" cy="44450"/>
            </a:xfrm>
            <a:custGeom>
              <a:avLst/>
              <a:gdLst>
                <a:gd name="T0" fmla="*/ 12 w 19"/>
                <a:gd name="T1" fmla="*/ 28 h 28"/>
                <a:gd name="T2" fmla="*/ 12 w 19"/>
                <a:gd name="T3" fmla="*/ 25 h 28"/>
                <a:gd name="T4" fmla="*/ 12 w 19"/>
                <a:gd name="T5" fmla="*/ 25 h 28"/>
                <a:gd name="T6" fmla="*/ 12 w 19"/>
                <a:gd name="T7" fmla="*/ 25 h 28"/>
                <a:gd name="T8" fmla="*/ 12 w 19"/>
                <a:gd name="T9" fmla="*/ 28 h 28"/>
                <a:gd name="T10" fmla="*/ 14 w 19"/>
                <a:gd name="T11" fmla="*/ 16 h 28"/>
                <a:gd name="T12" fmla="*/ 14 w 19"/>
                <a:gd name="T13" fmla="*/ 14 h 28"/>
                <a:gd name="T14" fmla="*/ 14 w 19"/>
                <a:gd name="T15" fmla="*/ 14 h 28"/>
                <a:gd name="T16" fmla="*/ 14 w 19"/>
                <a:gd name="T17" fmla="*/ 14 h 28"/>
                <a:gd name="T18" fmla="*/ 14 w 19"/>
                <a:gd name="T19" fmla="*/ 16 h 28"/>
                <a:gd name="T20" fmla="*/ 16 w 19"/>
                <a:gd name="T21" fmla="*/ 14 h 28"/>
                <a:gd name="T22" fmla="*/ 16 w 19"/>
                <a:gd name="T23" fmla="*/ 16 h 28"/>
                <a:gd name="T24" fmla="*/ 14 w 19"/>
                <a:gd name="T25" fmla="*/ 16 h 28"/>
                <a:gd name="T26" fmla="*/ 16 w 19"/>
                <a:gd name="T27" fmla="*/ 14 h 28"/>
                <a:gd name="T28" fmla="*/ 14 w 19"/>
                <a:gd name="T29" fmla="*/ 14 h 28"/>
                <a:gd name="T30" fmla="*/ 14 w 19"/>
                <a:gd name="T31" fmla="*/ 11 h 28"/>
                <a:gd name="T32" fmla="*/ 14 w 19"/>
                <a:gd name="T33" fmla="*/ 11 h 28"/>
                <a:gd name="T34" fmla="*/ 16 w 19"/>
                <a:gd name="T35" fmla="*/ 9 h 28"/>
                <a:gd name="T36" fmla="*/ 16 w 19"/>
                <a:gd name="T37" fmla="*/ 14 h 28"/>
                <a:gd name="T38" fmla="*/ 14 w 19"/>
                <a:gd name="T39" fmla="*/ 11 h 28"/>
                <a:gd name="T40" fmla="*/ 14 w 19"/>
                <a:gd name="T41" fmla="*/ 11 h 28"/>
                <a:gd name="T42" fmla="*/ 14 w 19"/>
                <a:gd name="T43" fmla="*/ 9 h 28"/>
                <a:gd name="T44" fmla="*/ 14 w 19"/>
                <a:gd name="T45" fmla="*/ 11 h 28"/>
                <a:gd name="T46" fmla="*/ 19 w 19"/>
                <a:gd name="T47" fmla="*/ 14 h 28"/>
                <a:gd name="T48" fmla="*/ 19 w 19"/>
                <a:gd name="T49" fmla="*/ 14 h 28"/>
                <a:gd name="T50" fmla="*/ 16 w 19"/>
                <a:gd name="T51" fmla="*/ 9 h 28"/>
                <a:gd name="T52" fmla="*/ 16 w 19"/>
                <a:gd name="T53" fmla="*/ 9 h 28"/>
                <a:gd name="T54" fmla="*/ 19 w 19"/>
                <a:gd name="T55" fmla="*/ 9 h 28"/>
                <a:gd name="T56" fmla="*/ 19 w 19"/>
                <a:gd name="T57" fmla="*/ 11 h 28"/>
                <a:gd name="T58" fmla="*/ 19 w 19"/>
                <a:gd name="T59" fmla="*/ 11 h 28"/>
                <a:gd name="T60" fmla="*/ 9 w 19"/>
                <a:gd name="T61" fmla="*/ 2 h 28"/>
                <a:gd name="T62" fmla="*/ 12 w 19"/>
                <a:gd name="T63" fmla="*/ 2 h 28"/>
                <a:gd name="T64" fmla="*/ 12 w 19"/>
                <a:gd name="T65" fmla="*/ 4 h 28"/>
                <a:gd name="T66" fmla="*/ 12 w 19"/>
                <a:gd name="T67" fmla="*/ 7 h 28"/>
                <a:gd name="T68" fmla="*/ 14 w 19"/>
                <a:gd name="T69" fmla="*/ 7 h 28"/>
                <a:gd name="T70" fmla="*/ 14 w 19"/>
                <a:gd name="T71" fmla="*/ 7 h 28"/>
                <a:gd name="T72" fmla="*/ 16 w 19"/>
                <a:gd name="T73" fmla="*/ 9 h 28"/>
                <a:gd name="T74" fmla="*/ 14 w 19"/>
                <a:gd name="T75" fmla="*/ 9 h 28"/>
                <a:gd name="T76" fmla="*/ 14 w 19"/>
                <a:gd name="T77" fmla="*/ 7 h 28"/>
                <a:gd name="T78" fmla="*/ 14 w 19"/>
                <a:gd name="T79" fmla="*/ 7 h 28"/>
                <a:gd name="T80" fmla="*/ 14 w 19"/>
                <a:gd name="T81" fmla="*/ 7 h 28"/>
                <a:gd name="T82" fmla="*/ 12 w 19"/>
                <a:gd name="T83" fmla="*/ 7 h 28"/>
                <a:gd name="T84" fmla="*/ 12 w 19"/>
                <a:gd name="T85" fmla="*/ 7 h 28"/>
                <a:gd name="T86" fmla="*/ 12 w 19"/>
                <a:gd name="T87" fmla="*/ 9 h 28"/>
                <a:gd name="T88" fmla="*/ 12 w 19"/>
                <a:gd name="T89" fmla="*/ 9 h 28"/>
                <a:gd name="T90" fmla="*/ 12 w 19"/>
                <a:gd name="T91" fmla="*/ 9 h 28"/>
                <a:gd name="T92" fmla="*/ 12 w 19"/>
                <a:gd name="T93" fmla="*/ 9 h 28"/>
                <a:gd name="T94" fmla="*/ 12 w 19"/>
                <a:gd name="T95" fmla="*/ 11 h 28"/>
                <a:gd name="T96" fmla="*/ 12 w 19"/>
                <a:gd name="T97" fmla="*/ 14 h 28"/>
                <a:gd name="T98" fmla="*/ 14 w 19"/>
                <a:gd name="T99" fmla="*/ 16 h 28"/>
                <a:gd name="T100" fmla="*/ 12 w 19"/>
                <a:gd name="T101" fmla="*/ 21 h 28"/>
                <a:gd name="T102" fmla="*/ 12 w 19"/>
                <a:gd name="T103" fmla="*/ 21 h 28"/>
                <a:gd name="T104" fmla="*/ 5 w 19"/>
                <a:gd name="T105" fmla="*/ 23 h 28"/>
                <a:gd name="T106" fmla="*/ 5 w 19"/>
                <a:gd name="T107" fmla="*/ 21 h 28"/>
                <a:gd name="T108" fmla="*/ 5 w 19"/>
                <a:gd name="T109" fmla="*/ 18 h 28"/>
                <a:gd name="T110" fmla="*/ 2 w 19"/>
                <a:gd name="T111" fmla="*/ 11 h 28"/>
                <a:gd name="T112" fmla="*/ 0 w 19"/>
                <a:gd name="T113" fmla="*/ 4 h 28"/>
                <a:gd name="T114" fmla="*/ 5 w 19"/>
                <a:gd name="T115" fmla="*/ 0 h 28"/>
                <a:gd name="T116" fmla="*/ 9 w 19"/>
                <a:gd name="T1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28">
                  <a:moveTo>
                    <a:pt x="12" y="28"/>
                  </a:moveTo>
                  <a:lnTo>
                    <a:pt x="12" y="28"/>
                  </a:lnTo>
                  <a:lnTo>
                    <a:pt x="12" y="28"/>
                  </a:lnTo>
                  <a:lnTo>
                    <a:pt x="12" y="28"/>
                  </a:lnTo>
                  <a:lnTo>
                    <a:pt x="12" y="25"/>
                  </a:lnTo>
                  <a:lnTo>
                    <a:pt x="12" y="25"/>
                  </a:lnTo>
                  <a:lnTo>
                    <a:pt x="12" y="25"/>
                  </a:lnTo>
                  <a:lnTo>
                    <a:pt x="12" y="25"/>
                  </a:lnTo>
                  <a:lnTo>
                    <a:pt x="12" y="25"/>
                  </a:lnTo>
                  <a:lnTo>
                    <a:pt x="12" y="25"/>
                  </a:lnTo>
                  <a:lnTo>
                    <a:pt x="12" y="25"/>
                  </a:lnTo>
                  <a:lnTo>
                    <a:pt x="12" y="25"/>
                  </a:lnTo>
                  <a:lnTo>
                    <a:pt x="12" y="25"/>
                  </a:lnTo>
                  <a:lnTo>
                    <a:pt x="12" y="25"/>
                  </a:lnTo>
                  <a:lnTo>
                    <a:pt x="12" y="25"/>
                  </a:lnTo>
                  <a:lnTo>
                    <a:pt x="12" y="25"/>
                  </a:lnTo>
                  <a:lnTo>
                    <a:pt x="12" y="25"/>
                  </a:lnTo>
                  <a:lnTo>
                    <a:pt x="14" y="28"/>
                  </a:lnTo>
                  <a:lnTo>
                    <a:pt x="14" y="28"/>
                  </a:lnTo>
                  <a:lnTo>
                    <a:pt x="12" y="28"/>
                  </a:lnTo>
                  <a:close/>
                  <a:moveTo>
                    <a:pt x="14" y="16"/>
                  </a:moveTo>
                  <a:lnTo>
                    <a:pt x="14" y="16"/>
                  </a:lnTo>
                  <a:lnTo>
                    <a:pt x="14" y="16"/>
                  </a:lnTo>
                  <a:lnTo>
                    <a:pt x="14" y="16"/>
                  </a:lnTo>
                  <a:lnTo>
                    <a:pt x="14" y="16"/>
                  </a:lnTo>
                  <a:lnTo>
                    <a:pt x="14" y="16"/>
                  </a:lnTo>
                  <a:lnTo>
                    <a:pt x="14" y="16"/>
                  </a:lnTo>
                  <a:lnTo>
                    <a:pt x="14" y="14"/>
                  </a:lnTo>
                  <a:lnTo>
                    <a:pt x="14" y="14"/>
                  </a:lnTo>
                  <a:lnTo>
                    <a:pt x="14" y="14"/>
                  </a:lnTo>
                  <a:lnTo>
                    <a:pt x="14" y="14"/>
                  </a:lnTo>
                  <a:lnTo>
                    <a:pt x="14" y="14"/>
                  </a:lnTo>
                  <a:lnTo>
                    <a:pt x="14" y="14"/>
                  </a:lnTo>
                  <a:lnTo>
                    <a:pt x="14" y="14"/>
                  </a:lnTo>
                  <a:lnTo>
                    <a:pt x="14" y="14"/>
                  </a:lnTo>
                  <a:lnTo>
                    <a:pt x="14" y="14"/>
                  </a:lnTo>
                  <a:lnTo>
                    <a:pt x="14" y="14"/>
                  </a:lnTo>
                  <a:lnTo>
                    <a:pt x="14" y="14"/>
                  </a:lnTo>
                  <a:lnTo>
                    <a:pt x="14" y="16"/>
                  </a:lnTo>
                  <a:lnTo>
                    <a:pt x="14" y="16"/>
                  </a:lnTo>
                  <a:lnTo>
                    <a:pt x="14" y="16"/>
                  </a:lnTo>
                  <a:lnTo>
                    <a:pt x="14" y="16"/>
                  </a:lnTo>
                  <a:lnTo>
                    <a:pt x="14" y="16"/>
                  </a:lnTo>
                  <a:close/>
                  <a:moveTo>
                    <a:pt x="16" y="14"/>
                  </a:moveTo>
                  <a:lnTo>
                    <a:pt x="16" y="14"/>
                  </a:lnTo>
                  <a:lnTo>
                    <a:pt x="16" y="14"/>
                  </a:lnTo>
                  <a:lnTo>
                    <a:pt x="16" y="16"/>
                  </a:lnTo>
                  <a:lnTo>
                    <a:pt x="16" y="16"/>
                  </a:lnTo>
                  <a:lnTo>
                    <a:pt x="16" y="16"/>
                  </a:lnTo>
                  <a:lnTo>
                    <a:pt x="14" y="16"/>
                  </a:lnTo>
                  <a:lnTo>
                    <a:pt x="14" y="16"/>
                  </a:lnTo>
                  <a:lnTo>
                    <a:pt x="14" y="16"/>
                  </a:lnTo>
                  <a:lnTo>
                    <a:pt x="14" y="16"/>
                  </a:lnTo>
                  <a:lnTo>
                    <a:pt x="14" y="16"/>
                  </a:lnTo>
                  <a:lnTo>
                    <a:pt x="16" y="16"/>
                  </a:lnTo>
                  <a:lnTo>
                    <a:pt x="16" y="14"/>
                  </a:lnTo>
                  <a:lnTo>
                    <a:pt x="14" y="14"/>
                  </a:lnTo>
                  <a:lnTo>
                    <a:pt x="14" y="14"/>
                  </a:lnTo>
                  <a:lnTo>
                    <a:pt x="14" y="14"/>
                  </a:lnTo>
                  <a:lnTo>
                    <a:pt x="14" y="14"/>
                  </a:lnTo>
                  <a:lnTo>
                    <a:pt x="14" y="14"/>
                  </a:lnTo>
                  <a:lnTo>
                    <a:pt x="14" y="14"/>
                  </a:lnTo>
                  <a:lnTo>
                    <a:pt x="14" y="14"/>
                  </a:lnTo>
                  <a:lnTo>
                    <a:pt x="14" y="11"/>
                  </a:lnTo>
                  <a:lnTo>
                    <a:pt x="14" y="11"/>
                  </a:lnTo>
                  <a:lnTo>
                    <a:pt x="14" y="11"/>
                  </a:lnTo>
                  <a:lnTo>
                    <a:pt x="16" y="11"/>
                  </a:lnTo>
                  <a:lnTo>
                    <a:pt x="14" y="11"/>
                  </a:lnTo>
                  <a:lnTo>
                    <a:pt x="14" y="11"/>
                  </a:lnTo>
                  <a:lnTo>
                    <a:pt x="16" y="9"/>
                  </a:lnTo>
                  <a:lnTo>
                    <a:pt x="16" y="9"/>
                  </a:lnTo>
                  <a:lnTo>
                    <a:pt x="16" y="9"/>
                  </a:lnTo>
                  <a:lnTo>
                    <a:pt x="16" y="9"/>
                  </a:lnTo>
                  <a:lnTo>
                    <a:pt x="16" y="11"/>
                  </a:lnTo>
                  <a:lnTo>
                    <a:pt x="16" y="14"/>
                  </a:lnTo>
                  <a:lnTo>
                    <a:pt x="16" y="14"/>
                  </a:lnTo>
                  <a:lnTo>
                    <a:pt x="16" y="14"/>
                  </a:lnTo>
                  <a:lnTo>
                    <a:pt x="16" y="14"/>
                  </a:lnTo>
                  <a:close/>
                  <a:moveTo>
                    <a:pt x="14" y="11"/>
                  </a:moveTo>
                  <a:lnTo>
                    <a:pt x="14" y="11"/>
                  </a:lnTo>
                  <a:lnTo>
                    <a:pt x="14" y="11"/>
                  </a:lnTo>
                  <a:lnTo>
                    <a:pt x="14" y="11"/>
                  </a:lnTo>
                  <a:lnTo>
                    <a:pt x="14" y="11"/>
                  </a:lnTo>
                  <a:lnTo>
                    <a:pt x="14" y="11"/>
                  </a:lnTo>
                  <a:lnTo>
                    <a:pt x="14" y="11"/>
                  </a:lnTo>
                  <a:lnTo>
                    <a:pt x="14" y="11"/>
                  </a:lnTo>
                  <a:lnTo>
                    <a:pt x="14" y="9"/>
                  </a:lnTo>
                  <a:lnTo>
                    <a:pt x="14" y="9"/>
                  </a:lnTo>
                  <a:lnTo>
                    <a:pt x="14" y="9"/>
                  </a:lnTo>
                  <a:lnTo>
                    <a:pt x="14" y="11"/>
                  </a:lnTo>
                  <a:lnTo>
                    <a:pt x="14" y="11"/>
                  </a:lnTo>
                  <a:lnTo>
                    <a:pt x="14" y="11"/>
                  </a:lnTo>
                  <a:lnTo>
                    <a:pt x="14" y="11"/>
                  </a:lnTo>
                  <a:lnTo>
                    <a:pt x="14" y="11"/>
                  </a:lnTo>
                  <a:close/>
                  <a:moveTo>
                    <a:pt x="19" y="14"/>
                  </a:moveTo>
                  <a:lnTo>
                    <a:pt x="19" y="14"/>
                  </a:lnTo>
                  <a:lnTo>
                    <a:pt x="19" y="14"/>
                  </a:lnTo>
                  <a:lnTo>
                    <a:pt x="19" y="14"/>
                  </a:lnTo>
                  <a:lnTo>
                    <a:pt x="19" y="14"/>
                  </a:lnTo>
                  <a:lnTo>
                    <a:pt x="19" y="14"/>
                  </a:lnTo>
                  <a:lnTo>
                    <a:pt x="16" y="11"/>
                  </a:lnTo>
                  <a:lnTo>
                    <a:pt x="16" y="11"/>
                  </a:lnTo>
                  <a:lnTo>
                    <a:pt x="16" y="9"/>
                  </a:lnTo>
                  <a:lnTo>
                    <a:pt x="16" y="9"/>
                  </a:lnTo>
                  <a:lnTo>
                    <a:pt x="16" y="9"/>
                  </a:lnTo>
                  <a:lnTo>
                    <a:pt x="16" y="9"/>
                  </a:lnTo>
                  <a:lnTo>
                    <a:pt x="16" y="9"/>
                  </a:lnTo>
                  <a:lnTo>
                    <a:pt x="16" y="9"/>
                  </a:lnTo>
                  <a:lnTo>
                    <a:pt x="19" y="9"/>
                  </a:lnTo>
                  <a:lnTo>
                    <a:pt x="19" y="9"/>
                  </a:lnTo>
                  <a:lnTo>
                    <a:pt x="19" y="9"/>
                  </a:lnTo>
                  <a:lnTo>
                    <a:pt x="19" y="9"/>
                  </a:lnTo>
                  <a:lnTo>
                    <a:pt x="19" y="9"/>
                  </a:lnTo>
                  <a:lnTo>
                    <a:pt x="19" y="11"/>
                  </a:lnTo>
                  <a:lnTo>
                    <a:pt x="19" y="11"/>
                  </a:lnTo>
                  <a:lnTo>
                    <a:pt x="19" y="11"/>
                  </a:lnTo>
                  <a:lnTo>
                    <a:pt x="19" y="11"/>
                  </a:lnTo>
                  <a:lnTo>
                    <a:pt x="19" y="11"/>
                  </a:lnTo>
                  <a:lnTo>
                    <a:pt x="19" y="11"/>
                  </a:lnTo>
                  <a:lnTo>
                    <a:pt x="19" y="11"/>
                  </a:lnTo>
                  <a:lnTo>
                    <a:pt x="19" y="14"/>
                  </a:lnTo>
                  <a:lnTo>
                    <a:pt x="19" y="14"/>
                  </a:lnTo>
                  <a:lnTo>
                    <a:pt x="19" y="14"/>
                  </a:lnTo>
                  <a:close/>
                  <a:moveTo>
                    <a:pt x="9" y="2"/>
                  </a:moveTo>
                  <a:lnTo>
                    <a:pt x="9" y="2"/>
                  </a:lnTo>
                  <a:lnTo>
                    <a:pt x="12" y="2"/>
                  </a:lnTo>
                  <a:lnTo>
                    <a:pt x="12" y="2"/>
                  </a:lnTo>
                  <a:lnTo>
                    <a:pt x="12" y="2"/>
                  </a:lnTo>
                  <a:lnTo>
                    <a:pt x="12" y="2"/>
                  </a:lnTo>
                  <a:lnTo>
                    <a:pt x="12" y="4"/>
                  </a:lnTo>
                  <a:lnTo>
                    <a:pt x="12" y="4"/>
                  </a:lnTo>
                  <a:lnTo>
                    <a:pt x="12" y="4"/>
                  </a:lnTo>
                  <a:lnTo>
                    <a:pt x="12" y="4"/>
                  </a:lnTo>
                  <a:lnTo>
                    <a:pt x="12" y="4"/>
                  </a:lnTo>
                  <a:lnTo>
                    <a:pt x="12" y="4"/>
                  </a:lnTo>
                  <a:lnTo>
                    <a:pt x="12" y="7"/>
                  </a:lnTo>
                  <a:lnTo>
                    <a:pt x="12" y="7"/>
                  </a:lnTo>
                  <a:lnTo>
                    <a:pt x="12" y="7"/>
                  </a:lnTo>
                  <a:lnTo>
                    <a:pt x="12" y="7"/>
                  </a:lnTo>
                  <a:lnTo>
                    <a:pt x="14" y="7"/>
                  </a:lnTo>
                  <a:lnTo>
                    <a:pt x="14" y="7"/>
                  </a:lnTo>
                  <a:lnTo>
                    <a:pt x="14" y="7"/>
                  </a:lnTo>
                  <a:lnTo>
                    <a:pt x="14" y="7"/>
                  </a:lnTo>
                  <a:lnTo>
                    <a:pt x="14" y="7"/>
                  </a:lnTo>
                  <a:lnTo>
                    <a:pt x="14" y="7"/>
                  </a:lnTo>
                  <a:lnTo>
                    <a:pt x="14" y="9"/>
                  </a:lnTo>
                  <a:lnTo>
                    <a:pt x="16" y="9"/>
                  </a:lnTo>
                  <a:lnTo>
                    <a:pt x="16" y="9"/>
                  </a:lnTo>
                  <a:lnTo>
                    <a:pt x="16" y="9"/>
                  </a:lnTo>
                  <a:lnTo>
                    <a:pt x="14" y="9"/>
                  </a:lnTo>
                  <a:lnTo>
                    <a:pt x="14" y="9"/>
                  </a:lnTo>
                  <a:lnTo>
                    <a:pt x="14" y="9"/>
                  </a:lnTo>
                  <a:lnTo>
                    <a:pt x="14" y="9"/>
                  </a:lnTo>
                  <a:lnTo>
                    <a:pt x="14" y="9"/>
                  </a:lnTo>
                  <a:lnTo>
                    <a:pt x="14" y="9"/>
                  </a:lnTo>
                  <a:lnTo>
                    <a:pt x="14" y="7"/>
                  </a:lnTo>
                  <a:lnTo>
                    <a:pt x="14" y="7"/>
                  </a:lnTo>
                  <a:lnTo>
                    <a:pt x="14" y="7"/>
                  </a:lnTo>
                  <a:lnTo>
                    <a:pt x="14" y="7"/>
                  </a:lnTo>
                  <a:lnTo>
                    <a:pt x="14" y="7"/>
                  </a:lnTo>
                  <a:lnTo>
                    <a:pt x="14" y="7"/>
                  </a:lnTo>
                  <a:lnTo>
                    <a:pt x="14" y="7"/>
                  </a:lnTo>
                  <a:lnTo>
                    <a:pt x="14" y="7"/>
                  </a:lnTo>
                  <a:lnTo>
                    <a:pt x="14" y="7"/>
                  </a:lnTo>
                  <a:lnTo>
                    <a:pt x="12" y="7"/>
                  </a:lnTo>
                  <a:lnTo>
                    <a:pt x="12" y="7"/>
                  </a:lnTo>
                  <a:lnTo>
                    <a:pt x="12" y="7"/>
                  </a:lnTo>
                  <a:lnTo>
                    <a:pt x="12" y="7"/>
                  </a:lnTo>
                  <a:lnTo>
                    <a:pt x="12" y="7"/>
                  </a:lnTo>
                  <a:lnTo>
                    <a:pt x="12" y="7"/>
                  </a:lnTo>
                  <a:lnTo>
                    <a:pt x="12" y="4"/>
                  </a:lnTo>
                  <a:lnTo>
                    <a:pt x="12" y="7"/>
                  </a:lnTo>
                  <a:lnTo>
                    <a:pt x="12" y="7"/>
                  </a:lnTo>
                  <a:lnTo>
                    <a:pt x="12" y="7"/>
                  </a:lnTo>
                  <a:lnTo>
                    <a:pt x="12" y="7"/>
                  </a:lnTo>
                  <a:lnTo>
                    <a:pt x="12" y="9"/>
                  </a:lnTo>
                  <a:lnTo>
                    <a:pt x="12" y="9"/>
                  </a:lnTo>
                  <a:lnTo>
                    <a:pt x="12" y="9"/>
                  </a:lnTo>
                  <a:lnTo>
                    <a:pt x="12" y="9"/>
                  </a:lnTo>
                  <a:lnTo>
                    <a:pt x="12" y="9"/>
                  </a:lnTo>
                  <a:lnTo>
                    <a:pt x="12" y="9"/>
                  </a:lnTo>
                  <a:lnTo>
                    <a:pt x="12" y="9"/>
                  </a:lnTo>
                  <a:lnTo>
                    <a:pt x="12" y="9"/>
                  </a:lnTo>
                  <a:lnTo>
                    <a:pt x="12" y="9"/>
                  </a:lnTo>
                  <a:lnTo>
                    <a:pt x="12" y="9"/>
                  </a:lnTo>
                  <a:lnTo>
                    <a:pt x="12" y="9"/>
                  </a:lnTo>
                  <a:lnTo>
                    <a:pt x="12" y="9"/>
                  </a:lnTo>
                  <a:lnTo>
                    <a:pt x="12" y="9"/>
                  </a:lnTo>
                  <a:lnTo>
                    <a:pt x="12" y="9"/>
                  </a:lnTo>
                  <a:lnTo>
                    <a:pt x="12" y="11"/>
                  </a:lnTo>
                  <a:lnTo>
                    <a:pt x="12" y="11"/>
                  </a:lnTo>
                  <a:lnTo>
                    <a:pt x="12" y="11"/>
                  </a:lnTo>
                  <a:lnTo>
                    <a:pt x="12" y="11"/>
                  </a:lnTo>
                  <a:lnTo>
                    <a:pt x="12" y="11"/>
                  </a:lnTo>
                  <a:lnTo>
                    <a:pt x="12" y="14"/>
                  </a:lnTo>
                  <a:lnTo>
                    <a:pt x="12" y="14"/>
                  </a:lnTo>
                  <a:lnTo>
                    <a:pt x="12" y="14"/>
                  </a:lnTo>
                  <a:lnTo>
                    <a:pt x="12" y="14"/>
                  </a:lnTo>
                  <a:lnTo>
                    <a:pt x="12" y="16"/>
                  </a:lnTo>
                  <a:lnTo>
                    <a:pt x="14" y="16"/>
                  </a:lnTo>
                  <a:lnTo>
                    <a:pt x="12" y="18"/>
                  </a:lnTo>
                  <a:lnTo>
                    <a:pt x="12" y="18"/>
                  </a:lnTo>
                  <a:lnTo>
                    <a:pt x="12" y="18"/>
                  </a:lnTo>
                  <a:lnTo>
                    <a:pt x="12" y="21"/>
                  </a:lnTo>
                  <a:lnTo>
                    <a:pt x="12" y="21"/>
                  </a:lnTo>
                  <a:lnTo>
                    <a:pt x="12" y="21"/>
                  </a:lnTo>
                  <a:lnTo>
                    <a:pt x="12" y="21"/>
                  </a:lnTo>
                  <a:lnTo>
                    <a:pt x="12" y="21"/>
                  </a:lnTo>
                  <a:lnTo>
                    <a:pt x="9" y="21"/>
                  </a:lnTo>
                  <a:lnTo>
                    <a:pt x="7" y="23"/>
                  </a:lnTo>
                  <a:lnTo>
                    <a:pt x="5" y="23"/>
                  </a:lnTo>
                  <a:lnTo>
                    <a:pt x="5" y="23"/>
                  </a:lnTo>
                  <a:lnTo>
                    <a:pt x="5" y="23"/>
                  </a:lnTo>
                  <a:lnTo>
                    <a:pt x="5" y="23"/>
                  </a:lnTo>
                  <a:lnTo>
                    <a:pt x="5" y="21"/>
                  </a:lnTo>
                  <a:lnTo>
                    <a:pt x="5" y="21"/>
                  </a:lnTo>
                  <a:lnTo>
                    <a:pt x="5" y="21"/>
                  </a:lnTo>
                  <a:lnTo>
                    <a:pt x="5" y="21"/>
                  </a:lnTo>
                  <a:lnTo>
                    <a:pt x="5" y="18"/>
                  </a:lnTo>
                  <a:lnTo>
                    <a:pt x="5" y="18"/>
                  </a:lnTo>
                  <a:lnTo>
                    <a:pt x="5" y="16"/>
                  </a:lnTo>
                  <a:lnTo>
                    <a:pt x="2" y="14"/>
                  </a:lnTo>
                  <a:lnTo>
                    <a:pt x="2" y="14"/>
                  </a:lnTo>
                  <a:lnTo>
                    <a:pt x="2" y="11"/>
                  </a:lnTo>
                  <a:lnTo>
                    <a:pt x="2" y="9"/>
                  </a:lnTo>
                  <a:lnTo>
                    <a:pt x="0" y="7"/>
                  </a:lnTo>
                  <a:lnTo>
                    <a:pt x="0" y="7"/>
                  </a:lnTo>
                  <a:lnTo>
                    <a:pt x="0" y="4"/>
                  </a:lnTo>
                  <a:lnTo>
                    <a:pt x="0" y="2"/>
                  </a:lnTo>
                  <a:lnTo>
                    <a:pt x="2" y="2"/>
                  </a:lnTo>
                  <a:lnTo>
                    <a:pt x="5" y="2"/>
                  </a:lnTo>
                  <a:lnTo>
                    <a:pt x="5" y="0"/>
                  </a:lnTo>
                  <a:lnTo>
                    <a:pt x="7" y="0"/>
                  </a:lnTo>
                  <a:lnTo>
                    <a:pt x="9" y="0"/>
                  </a:lnTo>
                  <a:lnTo>
                    <a:pt x="9" y="0"/>
                  </a:lnTo>
                  <a:lnTo>
                    <a:pt x="9" y="0"/>
                  </a:lnTo>
                  <a:lnTo>
                    <a:pt x="9" y="2"/>
                  </a:lnTo>
                  <a:lnTo>
                    <a:pt x="9" y="2"/>
                  </a:lnTo>
                  <a:lnTo>
                    <a:pt x="9" y="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795">
              <a:extLst>
                <a:ext uri="{FF2B5EF4-FFF2-40B4-BE49-F238E27FC236}">
                  <a16:creationId xmlns:a16="http://schemas.microsoft.com/office/drawing/2014/main" id="{AF9AB3DD-B215-4642-90FD-04AC7D14343E}"/>
                </a:ext>
              </a:extLst>
            </p:cNvPr>
            <p:cNvSpPr>
              <a:spLocks/>
            </p:cNvSpPr>
            <p:nvPr/>
          </p:nvSpPr>
          <p:spPr bwMode="auto">
            <a:xfrm>
              <a:off x="7368381" y="4316413"/>
              <a:ext cx="66675" cy="125413"/>
            </a:xfrm>
            <a:custGeom>
              <a:avLst/>
              <a:gdLst>
                <a:gd name="T0" fmla="*/ 35 w 42"/>
                <a:gd name="T1" fmla="*/ 77 h 79"/>
                <a:gd name="T2" fmla="*/ 28 w 42"/>
                <a:gd name="T3" fmla="*/ 77 h 79"/>
                <a:gd name="T4" fmla="*/ 24 w 42"/>
                <a:gd name="T5" fmla="*/ 79 h 79"/>
                <a:gd name="T6" fmla="*/ 19 w 42"/>
                <a:gd name="T7" fmla="*/ 77 h 79"/>
                <a:gd name="T8" fmla="*/ 19 w 42"/>
                <a:gd name="T9" fmla="*/ 74 h 79"/>
                <a:gd name="T10" fmla="*/ 17 w 42"/>
                <a:gd name="T11" fmla="*/ 67 h 79"/>
                <a:gd name="T12" fmla="*/ 17 w 42"/>
                <a:gd name="T13" fmla="*/ 58 h 79"/>
                <a:gd name="T14" fmla="*/ 14 w 42"/>
                <a:gd name="T15" fmla="*/ 56 h 79"/>
                <a:gd name="T16" fmla="*/ 12 w 42"/>
                <a:gd name="T17" fmla="*/ 53 h 79"/>
                <a:gd name="T18" fmla="*/ 12 w 42"/>
                <a:gd name="T19" fmla="*/ 53 h 79"/>
                <a:gd name="T20" fmla="*/ 12 w 42"/>
                <a:gd name="T21" fmla="*/ 53 h 79"/>
                <a:gd name="T22" fmla="*/ 12 w 42"/>
                <a:gd name="T23" fmla="*/ 56 h 79"/>
                <a:gd name="T24" fmla="*/ 10 w 42"/>
                <a:gd name="T25" fmla="*/ 56 h 79"/>
                <a:gd name="T26" fmla="*/ 10 w 42"/>
                <a:gd name="T27" fmla="*/ 53 h 79"/>
                <a:gd name="T28" fmla="*/ 10 w 42"/>
                <a:gd name="T29" fmla="*/ 49 h 79"/>
                <a:gd name="T30" fmla="*/ 10 w 42"/>
                <a:gd name="T31" fmla="*/ 46 h 79"/>
                <a:gd name="T32" fmla="*/ 10 w 42"/>
                <a:gd name="T33" fmla="*/ 46 h 79"/>
                <a:gd name="T34" fmla="*/ 7 w 42"/>
                <a:gd name="T35" fmla="*/ 44 h 79"/>
                <a:gd name="T36" fmla="*/ 7 w 42"/>
                <a:gd name="T37" fmla="*/ 42 h 79"/>
                <a:gd name="T38" fmla="*/ 5 w 42"/>
                <a:gd name="T39" fmla="*/ 39 h 79"/>
                <a:gd name="T40" fmla="*/ 7 w 42"/>
                <a:gd name="T41" fmla="*/ 35 h 79"/>
                <a:gd name="T42" fmla="*/ 7 w 42"/>
                <a:gd name="T43" fmla="*/ 35 h 79"/>
                <a:gd name="T44" fmla="*/ 7 w 42"/>
                <a:gd name="T45" fmla="*/ 32 h 79"/>
                <a:gd name="T46" fmla="*/ 5 w 42"/>
                <a:gd name="T47" fmla="*/ 30 h 79"/>
                <a:gd name="T48" fmla="*/ 7 w 42"/>
                <a:gd name="T49" fmla="*/ 28 h 79"/>
                <a:gd name="T50" fmla="*/ 5 w 42"/>
                <a:gd name="T51" fmla="*/ 25 h 79"/>
                <a:gd name="T52" fmla="*/ 3 w 42"/>
                <a:gd name="T53" fmla="*/ 23 h 79"/>
                <a:gd name="T54" fmla="*/ 3 w 42"/>
                <a:gd name="T55" fmla="*/ 19 h 79"/>
                <a:gd name="T56" fmla="*/ 3 w 42"/>
                <a:gd name="T57" fmla="*/ 16 h 79"/>
                <a:gd name="T58" fmla="*/ 3 w 42"/>
                <a:gd name="T59" fmla="*/ 16 h 79"/>
                <a:gd name="T60" fmla="*/ 0 w 42"/>
                <a:gd name="T61" fmla="*/ 16 h 79"/>
                <a:gd name="T62" fmla="*/ 0 w 42"/>
                <a:gd name="T63" fmla="*/ 14 h 79"/>
                <a:gd name="T64" fmla="*/ 0 w 42"/>
                <a:gd name="T65" fmla="*/ 12 h 79"/>
                <a:gd name="T66" fmla="*/ 3 w 42"/>
                <a:gd name="T67" fmla="*/ 9 h 79"/>
                <a:gd name="T68" fmla="*/ 14 w 42"/>
                <a:gd name="T69" fmla="*/ 7 h 79"/>
                <a:gd name="T70" fmla="*/ 26 w 42"/>
                <a:gd name="T71" fmla="*/ 5 h 79"/>
                <a:gd name="T72" fmla="*/ 35 w 42"/>
                <a:gd name="T73" fmla="*/ 0 h 79"/>
                <a:gd name="T74" fmla="*/ 40 w 42"/>
                <a:gd name="T75" fmla="*/ 0 h 79"/>
                <a:gd name="T76" fmla="*/ 40 w 42"/>
                <a:gd name="T77" fmla="*/ 5 h 79"/>
                <a:gd name="T78" fmla="*/ 40 w 42"/>
                <a:gd name="T79" fmla="*/ 9 h 79"/>
                <a:gd name="T80" fmla="*/ 42 w 42"/>
                <a:gd name="T81" fmla="*/ 12 h 79"/>
                <a:gd name="T82" fmla="*/ 42 w 42"/>
                <a:gd name="T83" fmla="*/ 14 h 79"/>
                <a:gd name="T84" fmla="*/ 42 w 42"/>
                <a:gd name="T85" fmla="*/ 16 h 79"/>
                <a:gd name="T86" fmla="*/ 40 w 42"/>
                <a:gd name="T87" fmla="*/ 21 h 79"/>
                <a:gd name="T88" fmla="*/ 35 w 42"/>
                <a:gd name="T89" fmla="*/ 23 h 79"/>
                <a:gd name="T90" fmla="*/ 38 w 42"/>
                <a:gd name="T91" fmla="*/ 30 h 79"/>
                <a:gd name="T92" fmla="*/ 35 w 42"/>
                <a:gd name="T93" fmla="*/ 35 h 79"/>
                <a:gd name="T94" fmla="*/ 35 w 42"/>
                <a:gd name="T95" fmla="*/ 39 h 79"/>
                <a:gd name="T96" fmla="*/ 35 w 42"/>
                <a:gd name="T97" fmla="*/ 42 h 79"/>
                <a:gd name="T98" fmla="*/ 35 w 42"/>
                <a:gd name="T99" fmla="*/ 46 h 79"/>
                <a:gd name="T100" fmla="*/ 33 w 42"/>
                <a:gd name="T101" fmla="*/ 51 h 79"/>
                <a:gd name="T102" fmla="*/ 35 w 42"/>
                <a:gd name="T103" fmla="*/ 58 h 79"/>
                <a:gd name="T104" fmla="*/ 35 w 42"/>
                <a:gd name="T105" fmla="*/ 60 h 79"/>
                <a:gd name="T106" fmla="*/ 35 w 42"/>
                <a:gd name="T107" fmla="*/ 60 h 79"/>
                <a:gd name="T108" fmla="*/ 35 w 42"/>
                <a:gd name="T109" fmla="*/ 65 h 79"/>
                <a:gd name="T110" fmla="*/ 35 w 42"/>
                <a:gd name="T111" fmla="*/ 70 h 79"/>
                <a:gd name="T112" fmla="*/ 35 w 42"/>
                <a:gd name="T113" fmla="*/ 72 h 79"/>
                <a:gd name="T114" fmla="*/ 38 w 42"/>
                <a:gd name="T115" fmla="*/ 7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 h="79">
                  <a:moveTo>
                    <a:pt x="40" y="74"/>
                  </a:moveTo>
                  <a:lnTo>
                    <a:pt x="38" y="77"/>
                  </a:lnTo>
                  <a:lnTo>
                    <a:pt x="38" y="77"/>
                  </a:lnTo>
                  <a:lnTo>
                    <a:pt x="35" y="77"/>
                  </a:lnTo>
                  <a:lnTo>
                    <a:pt x="35" y="77"/>
                  </a:lnTo>
                  <a:lnTo>
                    <a:pt x="33" y="77"/>
                  </a:lnTo>
                  <a:lnTo>
                    <a:pt x="33" y="77"/>
                  </a:lnTo>
                  <a:lnTo>
                    <a:pt x="31" y="77"/>
                  </a:lnTo>
                  <a:lnTo>
                    <a:pt x="31" y="77"/>
                  </a:lnTo>
                  <a:lnTo>
                    <a:pt x="28" y="77"/>
                  </a:lnTo>
                  <a:lnTo>
                    <a:pt x="28" y="79"/>
                  </a:lnTo>
                  <a:lnTo>
                    <a:pt x="26" y="79"/>
                  </a:lnTo>
                  <a:lnTo>
                    <a:pt x="26" y="79"/>
                  </a:lnTo>
                  <a:lnTo>
                    <a:pt x="24" y="79"/>
                  </a:lnTo>
                  <a:lnTo>
                    <a:pt x="24" y="79"/>
                  </a:lnTo>
                  <a:lnTo>
                    <a:pt x="21" y="79"/>
                  </a:lnTo>
                  <a:lnTo>
                    <a:pt x="21" y="79"/>
                  </a:lnTo>
                  <a:lnTo>
                    <a:pt x="21" y="79"/>
                  </a:lnTo>
                  <a:lnTo>
                    <a:pt x="19" y="79"/>
                  </a:lnTo>
                  <a:lnTo>
                    <a:pt x="19" y="77"/>
                  </a:lnTo>
                  <a:lnTo>
                    <a:pt x="19" y="77"/>
                  </a:lnTo>
                  <a:lnTo>
                    <a:pt x="19" y="77"/>
                  </a:lnTo>
                  <a:lnTo>
                    <a:pt x="19" y="77"/>
                  </a:lnTo>
                  <a:lnTo>
                    <a:pt x="19" y="77"/>
                  </a:lnTo>
                  <a:lnTo>
                    <a:pt x="19" y="74"/>
                  </a:lnTo>
                  <a:lnTo>
                    <a:pt x="19" y="74"/>
                  </a:lnTo>
                  <a:lnTo>
                    <a:pt x="19" y="72"/>
                  </a:lnTo>
                  <a:lnTo>
                    <a:pt x="19" y="72"/>
                  </a:lnTo>
                  <a:lnTo>
                    <a:pt x="19" y="70"/>
                  </a:lnTo>
                  <a:lnTo>
                    <a:pt x="17" y="67"/>
                  </a:lnTo>
                  <a:lnTo>
                    <a:pt x="17" y="65"/>
                  </a:lnTo>
                  <a:lnTo>
                    <a:pt x="17" y="63"/>
                  </a:lnTo>
                  <a:lnTo>
                    <a:pt x="17" y="63"/>
                  </a:lnTo>
                  <a:lnTo>
                    <a:pt x="17" y="60"/>
                  </a:lnTo>
                  <a:lnTo>
                    <a:pt x="17" y="58"/>
                  </a:lnTo>
                  <a:lnTo>
                    <a:pt x="14" y="58"/>
                  </a:lnTo>
                  <a:lnTo>
                    <a:pt x="14" y="56"/>
                  </a:lnTo>
                  <a:lnTo>
                    <a:pt x="14" y="56"/>
                  </a:lnTo>
                  <a:lnTo>
                    <a:pt x="14" y="56"/>
                  </a:lnTo>
                  <a:lnTo>
                    <a:pt x="14" y="56"/>
                  </a:lnTo>
                  <a:lnTo>
                    <a:pt x="14" y="56"/>
                  </a:lnTo>
                  <a:lnTo>
                    <a:pt x="14" y="53"/>
                  </a:lnTo>
                  <a:lnTo>
                    <a:pt x="14" y="53"/>
                  </a:lnTo>
                  <a:lnTo>
                    <a:pt x="14" y="53"/>
                  </a:lnTo>
                  <a:lnTo>
                    <a:pt x="12" y="53"/>
                  </a:lnTo>
                  <a:lnTo>
                    <a:pt x="12" y="53"/>
                  </a:lnTo>
                  <a:lnTo>
                    <a:pt x="12" y="53"/>
                  </a:lnTo>
                  <a:lnTo>
                    <a:pt x="12" y="53"/>
                  </a:lnTo>
                  <a:lnTo>
                    <a:pt x="12" y="53"/>
                  </a:lnTo>
                  <a:lnTo>
                    <a:pt x="12" y="53"/>
                  </a:lnTo>
                  <a:lnTo>
                    <a:pt x="12" y="53"/>
                  </a:lnTo>
                  <a:lnTo>
                    <a:pt x="12" y="53"/>
                  </a:lnTo>
                  <a:lnTo>
                    <a:pt x="12" y="53"/>
                  </a:lnTo>
                  <a:lnTo>
                    <a:pt x="12" y="53"/>
                  </a:lnTo>
                  <a:lnTo>
                    <a:pt x="12" y="53"/>
                  </a:lnTo>
                  <a:lnTo>
                    <a:pt x="12" y="53"/>
                  </a:lnTo>
                  <a:lnTo>
                    <a:pt x="12" y="53"/>
                  </a:lnTo>
                  <a:lnTo>
                    <a:pt x="12" y="53"/>
                  </a:lnTo>
                  <a:lnTo>
                    <a:pt x="12" y="56"/>
                  </a:lnTo>
                  <a:lnTo>
                    <a:pt x="12" y="56"/>
                  </a:lnTo>
                  <a:lnTo>
                    <a:pt x="12" y="56"/>
                  </a:lnTo>
                  <a:lnTo>
                    <a:pt x="12" y="56"/>
                  </a:lnTo>
                  <a:lnTo>
                    <a:pt x="12" y="56"/>
                  </a:lnTo>
                  <a:lnTo>
                    <a:pt x="10" y="56"/>
                  </a:lnTo>
                  <a:lnTo>
                    <a:pt x="10" y="56"/>
                  </a:lnTo>
                  <a:lnTo>
                    <a:pt x="10" y="56"/>
                  </a:lnTo>
                  <a:lnTo>
                    <a:pt x="10" y="53"/>
                  </a:lnTo>
                  <a:lnTo>
                    <a:pt x="10" y="53"/>
                  </a:lnTo>
                  <a:lnTo>
                    <a:pt x="10" y="53"/>
                  </a:lnTo>
                  <a:lnTo>
                    <a:pt x="10" y="53"/>
                  </a:lnTo>
                  <a:lnTo>
                    <a:pt x="10" y="53"/>
                  </a:lnTo>
                  <a:lnTo>
                    <a:pt x="10" y="49"/>
                  </a:lnTo>
                  <a:lnTo>
                    <a:pt x="10" y="49"/>
                  </a:lnTo>
                  <a:lnTo>
                    <a:pt x="10" y="49"/>
                  </a:lnTo>
                  <a:lnTo>
                    <a:pt x="10" y="49"/>
                  </a:lnTo>
                  <a:lnTo>
                    <a:pt x="10" y="49"/>
                  </a:lnTo>
                  <a:lnTo>
                    <a:pt x="10" y="49"/>
                  </a:lnTo>
                  <a:lnTo>
                    <a:pt x="10" y="46"/>
                  </a:lnTo>
                  <a:lnTo>
                    <a:pt x="10" y="46"/>
                  </a:lnTo>
                  <a:lnTo>
                    <a:pt x="10" y="46"/>
                  </a:lnTo>
                  <a:lnTo>
                    <a:pt x="10" y="46"/>
                  </a:lnTo>
                  <a:lnTo>
                    <a:pt x="10" y="46"/>
                  </a:lnTo>
                  <a:lnTo>
                    <a:pt x="10" y="46"/>
                  </a:lnTo>
                  <a:lnTo>
                    <a:pt x="10" y="46"/>
                  </a:lnTo>
                  <a:lnTo>
                    <a:pt x="10" y="46"/>
                  </a:lnTo>
                  <a:lnTo>
                    <a:pt x="10" y="44"/>
                  </a:lnTo>
                  <a:lnTo>
                    <a:pt x="7" y="44"/>
                  </a:lnTo>
                  <a:lnTo>
                    <a:pt x="7" y="44"/>
                  </a:lnTo>
                  <a:lnTo>
                    <a:pt x="7" y="44"/>
                  </a:lnTo>
                  <a:lnTo>
                    <a:pt x="7" y="44"/>
                  </a:lnTo>
                  <a:lnTo>
                    <a:pt x="7" y="42"/>
                  </a:lnTo>
                  <a:lnTo>
                    <a:pt x="7" y="42"/>
                  </a:lnTo>
                  <a:lnTo>
                    <a:pt x="7" y="42"/>
                  </a:lnTo>
                  <a:lnTo>
                    <a:pt x="7" y="42"/>
                  </a:lnTo>
                  <a:lnTo>
                    <a:pt x="7" y="42"/>
                  </a:lnTo>
                  <a:lnTo>
                    <a:pt x="7" y="42"/>
                  </a:lnTo>
                  <a:lnTo>
                    <a:pt x="7" y="42"/>
                  </a:lnTo>
                  <a:lnTo>
                    <a:pt x="7" y="39"/>
                  </a:lnTo>
                  <a:lnTo>
                    <a:pt x="5" y="39"/>
                  </a:lnTo>
                  <a:lnTo>
                    <a:pt x="5" y="39"/>
                  </a:lnTo>
                  <a:lnTo>
                    <a:pt x="7" y="39"/>
                  </a:lnTo>
                  <a:lnTo>
                    <a:pt x="7" y="37"/>
                  </a:lnTo>
                  <a:lnTo>
                    <a:pt x="7" y="37"/>
                  </a:lnTo>
                  <a:lnTo>
                    <a:pt x="7" y="35"/>
                  </a:lnTo>
                  <a:lnTo>
                    <a:pt x="7" y="35"/>
                  </a:lnTo>
                  <a:lnTo>
                    <a:pt x="7" y="35"/>
                  </a:lnTo>
                  <a:lnTo>
                    <a:pt x="7" y="35"/>
                  </a:lnTo>
                  <a:lnTo>
                    <a:pt x="7" y="35"/>
                  </a:lnTo>
                  <a:lnTo>
                    <a:pt x="7" y="35"/>
                  </a:lnTo>
                  <a:lnTo>
                    <a:pt x="7" y="35"/>
                  </a:lnTo>
                  <a:lnTo>
                    <a:pt x="7" y="35"/>
                  </a:lnTo>
                  <a:lnTo>
                    <a:pt x="7" y="35"/>
                  </a:lnTo>
                  <a:lnTo>
                    <a:pt x="7" y="35"/>
                  </a:lnTo>
                  <a:lnTo>
                    <a:pt x="7" y="32"/>
                  </a:lnTo>
                  <a:lnTo>
                    <a:pt x="7" y="32"/>
                  </a:lnTo>
                  <a:lnTo>
                    <a:pt x="7" y="32"/>
                  </a:lnTo>
                  <a:lnTo>
                    <a:pt x="5" y="30"/>
                  </a:lnTo>
                  <a:lnTo>
                    <a:pt x="5" y="30"/>
                  </a:lnTo>
                  <a:lnTo>
                    <a:pt x="5" y="30"/>
                  </a:lnTo>
                  <a:lnTo>
                    <a:pt x="5" y="30"/>
                  </a:lnTo>
                  <a:lnTo>
                    <a:pt x="5" y="30"/>
                  </a:lnTo>
                  <a:lnTo>
                    <a:pt x="7" y="30"/>
                  </a:lnTo>
                  <a:lnTo>
                    <a:pt x="7" y="28"/>
                  </a:lnTo>
                  <a:lnTo>
                    <a:pt x="7" y="28"/>
                  </a:lnTo>
                  <a:lnTo>
                    <a:pt x="7" y="28"/>
                  </a:lnTo>
                  <a:lnTo>
                    <a:pt x="5" y="28"/>
                  </a:lnTo>
                  <a:lnTo>
                    <a:pt x="5" y="28"/>
                  </a:lnTo>
                  <a:lnTo>
                    <a:pt x="5" y="28"/>
                  </a:lnTo>
                  <a:lnTo>
                    <a:pt x="5" y="25"/>
                  </a:lnTo>
                  <a:lnTo>
                    <a:pt x="5" y="25"/>
                  </a:lnTo>
                  <a:lnTo>
                    <a:pt x="5" y="25"/>
                  </a:lnTo>
                  <a:lnTo>
                    <a:pt x="3" y="23"/>
                  </a:lnTo>
                  <a:lnTo>
                    <a:pt x="3" y="23"/>
                  </a:lnTo>
                  <a:lnTo>
                    <a:pt x="3" y="23"/>
                  </a:lnTo>
                  <a:lnTo>
                    <a:pt x="3" y="23"/>
                  </a:lnTo>
                  <a:lnTo>
                    <a:pt x="3" y="21"/>
                  </a:lnTo>
                  <a:lnTo>
                    <a:pt x="3" y="21"/>
                  </a:lnTo>
                  <a:lnTo>
                    <a:pt x="3" y="21"/>
                  </a:lnTo>
                  <a:lnTo>
                    <a:pt x="3" y="21"/>
                  </a:lnTo>
                  <a:lnTo>
                    <a:pt x="3" y="19"/>
                  </a:lnTo>
                  <a:lnTo>
                    <a:pt x="3" y="19"/>
                  </a:lnTo>
                  <a:lnTo>
                    <a:pt x="3" y="19"/>
                  </a:lnTo>
                  <a:lnTo>
                    <a:pt x="3" y="19"/>
                  </a:lnTo>
                  <a:lnTo>
                    <a:pt x="3" y="19"/>
                  </a:lnTo>
                  <a:lnTo>
                    <a:pt x="3" y="16"/>
                  </a:lnTo>
                  <a:lnTo>
                    <a:pt x="3" y="16"/>
                  </a:lnTo>
                  <a:lnTo>
                    <a:pt x="3" y="16"/>
                  </a:lnTo>
                  <a:lnTo>
                    <a:pt x="3" y="16"/>
                  </a:lnTo>
                  <a:lnTo>
                    <a:pt x="3" y="16"/>
                  </a:lnTo>
                  <a:lnTo>
                    <a:pt x="3" y="16"/>
                  </a:lnTo>
                  <a:lnTo>
                    <a:pt x="0" y="16"/>
                  </a:lnTo>
                  <a:lnTo>
                    <a:pt x="0" y="16"/>
                  </a:lnTo>
                  <a:lnTo>
                    <a:pt x="0" y="16"/>
                  </a:lnTo>
                  <a:lnTo>
                    <a:pt x="0" y="16"/>
                  </a:lnTo>
                  <a:lnTo>
                    <a:pt x="0" y="16"/>
                  </a:lnTo>
                  <a:lnTo>
                    <a:pt x="0" y="14"/>
                  </a:lnTo>
                  <a:lnTo>
                    <a:pt x="0" y="14"/>
                  </a:lnTo>
                  <a:lnTo>
                    <a:pt x="0" y="14"/>
                  </a:lnTo>
                  <a:lnTo>
                    <a:pt x="0" y="14"/>
                  </a:lnTo>
                  <a:lnTo>
                    <a:pt x="0" y="14"/>
                  </a:lnTo>
                  <a:lnTo>
                    <a:pt x="0" y="14"/>
                  </a:lnTo>
                  <a:lnTo>
                    <a:pt x="0" y="14"/>
                  </a:lnTo>
                  <a:lnTo>
                    <a:pt x="0" y="12"/>
                  </a:lnTo>
                  <a:lnTo>
                    <a:pt x="0" y="12"/>
                  </a:lnTo>
                  <a:lnTo>
                    <a:pt x="0" y="12"/>
                  </a:lnTo>
                  <a:lnTo>
                    <a:pt x="0" y="12"/>
                  </a:lnTo>
                  <a:lnTo>
                    <a:pt x="0" y="12"/>
                  </a:lnTo>
                  <a:lnTo>
                    <a:pt x="0" y="12"/>
                  </a:lnTo>
                  <a:lnTo>
                    <a:pt x="0" y="9"/>
                  </a:lnTo>
                  <a:lnTo>
                    <a:pt x="3" y="9"/>
                  </a:lnTo>
                  <a:lnTo>
                    <a:pt x="5" y="9"/>
                  </a:lnTo>
                  <a:lnTo>
                    <a:pt x="7" y="9"/>
                  </a:lnTo>
                  <a:lnTo>
                    <a:pt x="10" y="7"/>
                  </a:lnTo>
                  <a:lnTo>
                    <a:pt x="12" y="7"/>
                  </a:lnTo>
                  <a:lnTo>
                    <a:pt x="14" y="7"/>
                  </a:lnTo>
                  <a:lnTo>
                    <a:pt x="17" y="7"/>
                  </a:lnTo>
                  <a:lnTo>
                    <a:pt x="19" y="5"/>
                  </a:lnTo>
                  <a:lnTo>
                    <a:pt x="21" y="5"/>
                  </a:lnTo>
                  <a:lnTo>
                    <a:pt x="24" y="5"/>
                  </a:lnTo>
                  <a:lnTo>
                    <a:pt x="26" y="5"/>
                  </a:lnTo>
                  <a:lnTo>
                    <a:pt x="28" y="2"/>
                  </a:lnTo>
                  <a:lnTo>
                    <a:pt x="31" y="2"/>
                  </a:lnTo>
                  <a:lnTo>
                    <a:pt x="33" y="2"/>
                  </a:lnTo>
                  <a:lnTo>
                    <a:pt x="33" y="2"/>
                  </a:lnTo>
                  <a:lnTo>
                    <a:pt x="35" y="0"/>
                  </a:lnTo>
                  <a:lnTo>
                    <a:pt x="38" y="0"/>
                  </a:lnTo>
                  <a:lnTo>
                    <a:pt x="40" y="0"/>
                  </a:lnTo>
                  <a:lnTo>
                    <a:pt x="40" y="0"/>
                  </a:lnTo>
                  <a:lnTo>
                    <a:pt x="40" y="0"/>
                  </a:lnTo>
                  <a:lnTo>
                    <a:pt x="40" y="0"/>
                  </a:lnTo>
                  <a:lnTo>
                    <a:pt x="40" y="2"/>
                  </a:lnTo>
                  <a:lnTo>
                    <a:pt x="40" y="2"/>
                  </a:lnTo>
                  <a:lnTo>
                    <a:pt x="42" y="2"/>
                  </a:lnTo>
                  <a:lnTo>
                    <a:pt x="42" y="2"/>
                  </a:lnTo>
                  <a:lnTo>
                    <a:pt x="40" y="5"/>
                  </a:lnTo>
                  <a:lnTo>
                    <a:pt x="40" y="7"/>
                  </a:lnTo>
                  <a:lnTo>
                    <a:pt x="40" y="7"/>
                  </a:lnTo>
                  <a:lnTo>
                    <a:pt x="40" y="9"/>
                  </a:lnTo>
                  <a:lnTo>
                    <a:pt x="40" y="9"/>
                  </a:lnTo>
                  <a:lnTo>
                    <a:pt x="40" y="9"/>
                  </a:lnTo>
                  <a:lnTo>
                    <a:pt x="42" y="9"/>
                  </a:lnTo>
                  <a:lnTo>
                    <a:pt x="42" y="9"/>
                  </a:lnTo>
                  <a:lnTo>
                    <a:pt x="42" y="12"/>
                  </a:lnTo>
                  <a:lnTo>
                    <a:pt x="42" y="12"/>
                  </a:lnTo>
                  <a:lnTo>
                    <a:pt x="42" y="12"/>
                  </a:lnTo>
                  <a:lnTo>
                    <a:pt x="42" y="12"/>
                  </a:lnTo>
                  <a:lnTo>
                    <a:pt x="42" y="14"/>
                  </a:lnTo>
                  <a:lnTo>
                    <a:pt x="42" y="14"/>
                  </a:lnTo>
                  <a:lnTo>
                    <a:pt x="42" y="14"/>
                  </a:lnTo>
                  <a:lnTo>
                    <a:pt x="42" y="14"/>
                  </a:lnTo>
                  <a:lnTo>
                    <a:pt x="42" y="14"/>
                  </a:lnTo>
                  <a:lnTo>
                    <a:pt x="42" y="14"/>
                  </a:lnTo>
                  <a:lnTo>
                    <a:pt x="42" y="16"/>
                  </a:lnTo>
                  <a:lnTo>
                    <a:pt x="42" y="16"/>
                  </a:lnTo>
                  <a:lnTo>
                    <a:pt x="42" y="16"/>
                  </a:lnTo>
                  <a:lnTo>
                    <a:pt x="42" y="19"/>
                  </a:lnTo>
                  <a:lnTo>
                    <a:pt x="42" y="19"/>
                  </a:lnTo>
                  <a:lnTo>
                    <a:pt x="42" y="19"/>
                  </a:lnTo>
                  <a:lnTo>
                    <a:pt x="40" y="21"/>
                  </a:lnTo>
                  <a:lnTo>
                    <a:pt x="40" y="21"/>
                  </a:lnTo>
                  <a:lnTo>
                    <a:pt x="40" y="21"/>
                  </a:lnTo>
                  <a:lnTo>
                    <a:pt x="38" y="21"/>
                  </a:lnTo>
                  <a:lnTo>
                    <a:pt x="38" y="23"/>
                  </a:lnTo>
                  <a:lnTo>
                    <a:pt x="38" y="23"/>
                  </a:lnTo>
                  <a:lnTo>
                    <a:pt x="35" y="23"/>
                  </a:lnTo>
                  <a:lnTo>
                    <a:pt x="35" y="23"/>
                  </a:lnTo>
                  <a:lnTo>
                    <a:pt x="35" y="25"/>
                  </a:lnTo>
                  <a:lnTo>
                    <a:pt x="35" y="25"/>
                  </a:lnTo>
                  <a:lnTo>
                    <a:pt x="35" y="30"/>
                  </a:lnTo>
                  <a:lnTo>
                    <a:pt x="38" y="30"/>
                  </a:lnTo>
                  <a:lnTo>
                    <a:pt x="35" y="32"/>
                  </a:lnTo>
                  <a:lnTo>
                    <a:pt x="35" y="32"/>
                  </a:lnTo>
                  <a:lnTo>
                    <a:pt x="35" y="35"/>
                  </a:lnTo>
                  <a:lnTo>
                    <a:pt x="35" y="35"/>
                  </a:lnTo>
                  <a:lnTo>
                    <a:pt x="35" y="35"/>
                  </a:lnTo>
                  <a:lnTo>
                    <a:pt x="38" y="35"/>
                  </a:lnTo>
                  <a:lnTo>
                    <a:pt x="38" y="35"/>
                  </a:lnTo>
                  <a:lnTo>
                    <a:pt x="35" y="37"/>
                  </a:lnTo>
                  <a:lnTo>
                    <a:pt x="35" y="37"/>
                  </a:lnTo>
                  <a:lnTo>
                    <a:pt x="35" y="39"/>
                  </a:lnTo>
                  <a:lnTo>
                    <a:pt x="35" y="39"/>
                  </a:lnTo>
                  <a:lnTo>
                    <a:pt x="35" y="39"/>
                  </a:lnTo>
                  <a:lnTo>
                    <a:pt x="35" y="42"/>
                  </a:lnTo>
                  <a:lnTo>
                    <a:pt x="35" y="42"/>
                  </a:lnTo>
                  <a:lnTo>
                    <a:pt x="35" y="42"/>
                  </a:lnTo>
                  <a:lnTo>
                    <a:pt x="35" y="44"/>
                  </a:lnTo>
                  <a:lnTo>
                    <a:pt x="35" y="44"/>
                  </a:lnTo>
                  <a:lnTo>
                    <a:pt x="35" y="44"/>
                  </a:lnTo>
                  <a:lnTo>
                    <a:pt x="35" y="46"/>
                  </a:lnTo>
                  <a:lnTo>
                    <a:pt x="35" y="46"/>
                  </a:lnTo>
                  <a:lnTo>
                    <a:pt x="35" y="46"/>
                  </a:lnTo>
                  <a:lnTo>
                    <a:pt x="35" y="49"/>
                  </a:lnTo>
                  <a:lnTo>
                    <a:pt x="33" y="49"/>
                  </a:lnTo>
                  <a:lnTo>
                    <a:pt x="33" y="49"/>
                  </a:lnTo>
                  <a:lnTo>
                    <a:pt x="33" y="51"/>
                  </a:lnTo>
                  <a:lnTo>
                    <a:pt x="35" y="56"/>
                  </a:lnTo>
                  <a:lnTo>
                    <a:pt x="35" y="56"/>
                  </a:lnTo>
                  <a:lnTo>
                    <a:pt x="35" y="58"/>
                  </a:lnTo>
                  <a:lnTo>
                    <a:pt x="35" y="58"/>
                  </a:lnTo>
                  <a:lnTo>
                    <a:pt x="35" y="58"/>
                  </a:lnTo>
                  <a:lnTo>
                    <a:pt x="35" y="58"/>
                  </a:lnTo>
                  <a:lnTo>
                    <a:pt x="35" y="58"/>
                  </a:lnTo>
                  <a:lnTo>
                    <a:pt x="35" y="60"/>
                  </a:lnTo>
                  <a:lnTo>
                    <a:pt x="35" y="60"/>
                  </a:lnTo>
                  <a:lnTo>
                    <a:pt x="35" y="60"/>
                  </a:lnTo>
                  <a:lnTo>
                    <a:pt x="35" y="60"/>
                  </a:lnTo>
                  <a:lnTo>
                    <a:pt x="35" y="60"/>
                  </a:lnTo>
                  <a:lnTo>
                    <a:pt x="35" y="60"/>
                  </a:lnTo>
                  <a:lnTo>
                    <a:pt x="35" y="60"/>
                  </a:lnTo>
                  <a:lnTo>
                    <a:pt x="35" y="60"/>
                  </a:lnTo>
                  <a:lnTo>
                    <a:pt x="35" y="63"/>
                  </a:lnTo>
                  <a:lnTo>
                    <a:pt x="35" y="63"/>
                  </a:lnTo>
                  <a:lnTo>
                    <a:pt x="35" y="63"/>
                  </a:lnTo>
                  <a:lnTo>
                    <a:pt x="35" y="63"/>
                  </a:lnTo>
                  <a:lnTo>
                    <a:pt x="35" y="65"/>
                  </a:lnTo>
                  <a:lnTo>
                    <a:pt x="38" y="67"/>
                  </a:lnTo>
                  <a:lnTo>
                    <a:pt x="38" y="67"/>
                  </a:lnTo>
                  <a:lnTo>
                    <a:pt x="35" y="67"/>
                  </a:lnTo>
                  <a:lnTo>
                    <a:pt x="35" y="67"/>
                  </a:lnTo>
                  <a:lnTo>
                    <a:pt x="35" y="70"/>
                  </a:lnTo>
                  <a:lnTo>
                    <a:pt x="35" y="70"/>
                  </a:lnTo>
                  <a:lnTo>
                    <a:pt x="35" y="70"/>
                  </a:lnTo>
                  <a:lnTo>
                    <a:pt x="35" y="72"/>
                  </a:lnTo>
                  <a:lnTo>
                    <a:pt x="35" y="72"/>
                  </a:lnTo>
                  <a:lnTo>
                    <a:pt x="35" y="72"/>
                  </a:lnTo>
                  <a:lnTo>
                    <a:pt x="35" y="72"/>
                  </a:lnTo>
                  <a:lnTo>
                    <a:pt x="35" y="72"/>
                  </a:lnTo>
                  <a:lnTo>
                    <a:pt x="38" y="72"/>
                  </a:lnTo>
                  <a:lnTo>
                    <a:pt x="38" y="74"/>
                  </a:lnTo>
                  <a:lnTo>
                    <a:pt x="38" y="74"/>
                  </a:lnTo>
                  <a:lnTo>
                    <a:pt x="38" y="74"/>
                  </a:lnTo>
                  <a:lnTo>
                    <a:pt x="40" y="74"/>
                  </a:lnTo>
                  <a:lnTo>
                    <a:pt x="40" y="7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96">
              <a:extLst>
                <a:ext uri="{FF2B5EF4-FFF2-40B4-BE49-F238E27FC236}">
                  <a16:creationId xmlns:a16="http://schemas.microsoft.com/office/drawing/2014/main" id="{C8E24F2A-3F6B-4728-87C1-63333DC3ABEB}"/>
                </a:ext>
              </a:extLst>
            </p:cNvPr>
            <p:cNvSpPr>
              <a:spLocks noEditPoints="1"/>
            </p:cNvSpPr>
            <p:nvPr/>
          </p:nvSpPr>
          <p:spPr bwMode="auto">
            <a:xfrm>
              <a:off x="6888956" y="4918076"/>
              <a:ext cx="158750" cy="255588"/>
            </a:xfrm>
            <a:custGeom>
              <a:avLst/>
              <a:gdLst>
                <a:gd name="T0" fmla="*/ 16 w 100"/>
                <a:gd name="T1" fmla="*/ 159 h 161"/>
                <a:gd name="T2" fmla="*/ 9 w 100"/>
                <a:gd name="T3" fmla="*/ 7 h 161"/>
                <a:gd name="T4" fmla="*/ 39 w 100"/>
                <a:gd name="T5" fmla="*/ 5 h 161"/>
                <a:gd name="T6" fmla="*/ 67 w 100"/>
                <a:gd name="T7" fmla="*/ 0 h 161"/>
                <a:gd name="T8" fmla="*/ 70 w 100"/>
                <a:gd name="T9" fmla="*/ 10 h 161"/>
                <a:gd name="T10" fmla="*/ 74 w 100"/>
                <a:gd name="T11" fmla="*/ 26 h 161"/>
                <a:gd name="T12" fmla="*/ 81 w 100"/>
                <a:gd name="T13" fmla="*/ 47 h 161"/>
                <a:gd name="T14" fmla="*/ 86 w 100"/>
                <a:gd name="T15" fmla="*/ 61 h 161"/>
                <a:gd name="T16" fmla="*/ 88 w 100"/>
                <a:gd name="T17" fmla="*/ 68 h 161"/>
                <a:gd name="T18" fmla="*/ 88 w 100"/>
                <a:gd name="T19" fmla="*/ 70 h 161"/>
                <a:gd name="T20" fmla="*/ 91 w 100"/>
                <a:gd name="T21" fmla="*/ 73 h 161"/>
                <a:gd name="T22" fmla="*/ 93 w 100"/>
                <a:gd name="T23" fmla="*/ 77 h 161"/>
                <a:gd name="T24" fmla="*/ 95 w 100"/>
                <a:gd name="T25" fmla="*/ 82 h 161"/>
                <a:gd name="T26" fmla="*/ 98 w 100"/>
                <a:gd name="T27" fmla="*/ 84 h 161"/>
                <a:gd name="T28" fmla="*/ 98 w 100"/>
                <a:gd name="T29" fmla="*/ 86 h 161"/>
                <a:gd name="T30" fmla="*/ 95 w 100"/>
                <a:gd name="T31" fmla="*/ 86 h 161"/>
                <a:gd name="T32" fmla="*/ 95 w 100"/>
                <a:gd name="T33" fmla="*/ 89 h 161"/>
                <a:gd name="T34" fmla="*/ 93 w 100"/>
                <a:gd name="T35" fmla="*/ 93 h 161"/>
                <a:gd name="T36" fmla="*/ 93 w 100"/>
                <a:gd name="T37" fmla="*/ 96 h 161"/>
                <a:gd name="T38" fmla="*/ 93 w 100"/>
                <a:gd name="T39" fmla="*/ 100 h 161"/>
                <a:gd name="T40" fmla="*/ 95 w 100"/>
                <a:gd name="T41" fmla="*/ 107 h 161"/>
                <a:gd name="T42" fmla="*/ 95 w 100"/>
                <a:gd name="T43" fmla="*/ 114 h 161"/>
                <a:gd name="T44" fmla="*/ 95 w 100"/>
                <a:gd name="T45" fmla="*/ 119 h 161"/>
                <a:gd name="T46" fmla="*/ 100 w 100"/>
                <a:gd name="T47" fmla="*/ 124 h 161"/>
                <a:gd name="T48" fmla="*/ 95 w 100"/>
                <a:gd name="T49" fmla="*/ 126 h 161"/>
                <a:gd name="T50" fmla="*/ 65 w 100"/>
                <a:gd name="T51" fmla="*/ 131 h 161"/>
                <a:gd name="T52" fmla="*/ 35 w 100"/>
                <a:gd name="T53" fmla="*/ 133 h 161"/>
                <a:gd name="T54" fmla="*/ 28 w 100"/>
                <a:gd name="T55" fmla="*/ 138 h 161"/>
                <a:gd name="T56" fmla="*/ 30 w 100"/>
                <a:gd name="T57" fmla="*/ 140 h 161"/>
                <a:gd name="T58" fmla="*/ 35 w 100"/>
                <a:gd name="T59" fmla="*/ 145 h 161"/>
                <a:gd name="T60" fmla="*/ 35 w 100"/>
                <a:gd name="T61" fmla="*/ 149 h 161"/>
                <a:gd name="T62" fmla="*/ 35 w 100"/>
                <a:gd name="T63" fmla="*/ 152 h 161"/>
                <a:gd name="T64" fmla="*/ 35 w 100"/>
                <a:gd name="T65" fmla="*/ 154 h 161"/>
                <a:gd name="T66" fmla="*/ 32 w 100"/>
                <a:gd name="T67" fmla="*/ 156 h 161"/>
                <a:gd name="T68" fmla="*/ 30 w 100"/>
                <a:gd name="T69" fmla="*/ 154 h 161"/>
                <a:gd name="T70" fmla="*/ 30 w 100"/>
                <a:gd name="T71" fmla="*/ 156 h 161"/>
                <a:gd name="T72" fmla="*/ 18 w 100"/>
                <a:gd name="T73" fmla="*/ 161 h 161"/>
                <a:gd name="T74" fmla="*/ 21 w 100"/>
                <a:gd name="T75" fmla="*/ 159 h 161"/>
                <a:gd name="T76" fmla="*/ 23 w 100"/>
                <a:gd name="T77" fmla="*/ 156 h 161"/>
                <a:gd name="T78" fmla="*/ 23 w 100"/>
                <a:gd name="T79" fmla="*/ 154 h 161"/>
                <a:gd name="T80" fmla="*/ 21 w 100"/>
                <a:gd name="T81" fmla="*/ 154 h 161"/>
                <a:gd name="T82" fmla="*/ 21 w 100"/>
                <a:gd name="T83" fmla="*/ 152 h 161"/>
                <a:gd name="T84" fmla="*/ 21 w 100"/>
                <a:gd name="T85" fmla="*/ 149 h 161"/>
                <a:gd name="T86" fmla="*/ 18 w 100"/>
                <a:gd name="T87" fmla="*/ 145 h 161"/>
                <a:gd name="T88" fmla="*/ 16 w 100"/>
                <a:gd name="T89" fmla="*/ 145 h 161"/>
                <a:gd name="T90" fmla="*/ 16 w 100"/>
                <a:gd name="T91" fmla="*/ 147 h 161"/>
                <a:gd name="T92" fmla="*/ 16 w 100"/>
                <a:gd name="T93" fmla="*/ 152 h 161"/>
                <a:gd name="T94" fmla="*/ 16 w 100"/>
                <a:gd name="T95" fmla="*/ 156 h 161"/>
                <a:gd name="T96" fmla="*/ 14 w 100"/>
                <a:gd name="T97" fmla="*/ 156 h 161"/>
                <a:gd name="T98" fmla="*/ 9 w 100"/>
                <a:gd name="T99" fmla="*/ 156 h 161"/>
                <a:gd name="T100" fmla="*/ 9 w 100"/>
                <a:gd name="T101" fmla="*/ 156 h 161"/>
                <a:gd name="T102" fmla="*/ 7 w 100"/>
                <a:gd name="T103" fmla="*/ 145 h 161"/>
                <a:gd name="T104" fmla="*/ 2 w 100"/>
                <a:gd name="T105" fmla="*/ 124 h 161"/>
                <a:gd name="T106" fmla="*/ 0 w 100"/>
                <a:gd name="T107" fmla="*/ 107 h 161"/>
                <a:gd name="T108" fmla="*/ 2 w 100"/>
                <a:gd name="T109" fmla="*/ 89 h 161"/>
                <a:gd name="T110" fmla="*/ 2 w 100"/>
                <a:gd name="T111" fmla="*/ 61 h 161"/>
                <a:gd name="T112" fmla="*/ 2 w 100"/>
                <a:gd name="T113" fmla="*/ 31 h 161"/>
                <a:gd name="T114" fmla="*/ 2 w 100"/>
                <a:gd name="T115" fmla="*/ 14 h 161"/>
                <a:gd name="T116" fmla="*/ 0 w 100"/>
                <a:gd name="T117" fmla="*/ 1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161">
                  <a:moveTo>
                    <a:pt x="16" y="161"/>
                  </a:moveTo>
                  <a:lnTo>
                    <a:pt x="9" y="161"/>
                  </a:lnTo>
                  <a:lnTo>
                    <a:pt x="11" y="161"/>
                  </a:lnTo>
                  <a:lnTo>
                    <a:pt x="14" y="161"/>
                  </a:lnTo>
                  <a:lnTo>
                    <a:pt x="14" y="159"/>
                  </a:lnTo>
                  <a:lnTo>
                    <a:pt x="16" y="159"/>
                  </a:lnTo>
                  <a:lnTo>
                    <a:pt x="16" y="159"/>
                  </a:lnTo>
                  <a:lnTo>
                    <a:pt x="16" y="159"/>
                  </a:lnTo>
                  <a:lnTo>
                    <a:pt x="16" y="159"/>
                  </a:lnTo>
                  <a:lnTo>
                    <a:pt x="16" y="159"/>
                  </a:lnTo>
                  <a:lnTo>
                    <a:pt x="16" y="161"/>
                  </a:lnTo>
                  <a:lnTo>
                    <a:pt x="16" y="161"/>
                  </a:lnTo>
                  <a:lnTo>
                    <a:pt x="16" y="161"/>
                  </a:lnTo>
                  <a:close/>
                  <a:moveTo>
                    <a:pt x="9" y="7"/>
                  </a:moveTo>
                  <a:lnTo>
                    <a:pt x="14" y="7"/>
                  </a:lnTo>
                  <a:lnTo>
                    <a:pt x="18" y="5"/>
                  </a:lnTo>
                  <a:lnTo>
                    <a:pt x="21" y="5"/>
                  </a:lnTo>
                  <a:lnTo>
                    <a:pt x="25" y="5"/>
                  </a:lnTo>
                  <a:lnTo>
                    <a:pt x="30" y="5"/>
                  </a:lnTo>
                  <a:lnTo>
                    <a:pt x="35" y="5"/>
                  </a:lnTo>
                  <a:lnTo>
                    <a:pt x="39" y="5"/>
                  </a:lnTo>
                  <a:lnTo>
                    <a:pt x="42" y="5"/>
                  </a:lnTo>
                  <a:lnTo>
                    <a:pt x="46" y="3"/>
                  </a:lnTo>
                  <a:lnTo>
                    <a:pt x="51" y="3"/>
                  </a:lnTo>
                  <a:lnTo>
                    <a:pt x="56" y="3"/>
                  </a:lnTo>
                  <a:lnTo>
                    <a:pt x="58" y="3"/>
                  </a:lnTo>
                  <a:lnTo>
                    <a:pt x="63" y="3"/>
                  </a:lnTo>
                  <a:lnTo>
                    <a:pt x="67" y="0"/>
                  </a:lnTo>
                  <a:lnTo>
                    <a:pt x="67" y="3"/>
                  </a:lnTo>
                  <a:lnTo>
                    <a:pt x="67" y="3"/>
                  </a:lnTo>
                  <a:lnTo>
                    <a:pt x="67" y="3"/>
                  </a:lnTo>
                  <a:lnTo>
                    <a:pt x="67" y="3"/>
                  </a:lnTo>
                  <a:lnTo>
                    <a:pt x="70" y="5"/>
                  </a:lnTo>
                  <a:lnTo>
                    <a:pt x="70" y="7"/>
                  </a:lnTo>
                  <a:lnTo>
                    <a:pt x="70" y="10"/>
                  </a:lnTo>
                  <a:lnTo>
                    <a:pt x="70" y="10"/>
                  </a:lnTo>
                  <a:lnTo>
                    <a:pt x="72" y="12"/>
                  </a:lnTo>
                  <a:lnTo>
                    <a:pt x="72" y="14"/>
                  </a:lnTo>
                  <a:lnTo>
                    <a:pt x="72" y="19"/>
                  </a:lnTo>
                  <a:lnTo>
                    <a:pt x="74" y="21"/>
                  </a:lnTo>
                  <a:lnTo>
                    <a:pt x="74" y="24"/>
                  </a:lnTo>
                  <a:lnTo>
                    <a:pt x="74" y="26"/>
                  </a:lnTo>
                  <a:lnTo>
                    <a:pt x="77" y="31"/>
                  </a:lnTo>
                  <a:lnTo>
                    <a:pt x="77" y="33"/>
                  </a:lnTo>
                  <a:lnTo>
                    <a:pt x="77" y="35"/>
                  </a:lnTo>
                  <a:lnTo>
                    <a:pt x="79" y="38"/>
                  </a:lnTo>
                  <a:lnTo>
                    <a:pt x="79" y="40"/>
                  </a:lnTo>
                  <a:lnTo>
                    <a:pt x="81" y="45"/>
                  </a:lnTo>
                  <a:lnTo>
                    <a:pt x="81" y="47"/>
                  </a:lnTo>
                  <a:lnTo>
                    <a:pt x="81" y="49"/>
                  </a:lnTo>
                  <a:lnTo>
                    <a:pt x="84" y="52"/>
                  </a:lnTo>
                  <a:lnTo>
                    <a:pt x="84" y="54"/>
                  </a:lnTo>
                  <a:lnTo>
                    <a:pt x="84" y="56"/>
                  </a:lnTo>
                  <a:lnTo>
                    <a:pt x="84" y="59"/>
                  </a:lnTo>
                  <a:lnTo>
                    <a:pt x="86" y="59"/>
                  </a:lnTo>
                  <a:lnTo>
                    <a:pt x="86" y="61"/>
                  </a:lnTo>
                  <a:lnTo>
                    <a:pt x="86" y="63"/>
                  </a:lnTo>
                  <a:lnTo>
                    <a:pt x="86" y="63"/>
                  </a:lnTo>
                  <a:lnTo>
                    <a:pt x="86" y="63"/>
                  </a:lnTo>
                  <a:lnTo>
                    <a:pt x="86" y="63"/>
                  </a:lnTo>
                  <a:lnTo>
                    <a:pt x="86" y="66"/>
                  </a:lnTo>
                  <a:lnTo>
                    <a:pt x="86" y="66"/>
                  </a:lnTo>
                  <a:lnTo>
                    <a:pt x="88" y="68"/>
                  </a:lnTo>
                  <a:lnTo>
                    <a:pt x="88" y="68"/>
                  </a:lnTo>
                  <a:lnTo>
                    <a:pt x="88" y="68"/>
                  </a:lnTo>
                  <a:lnTo>
                    <a:pt x="88" y="68"/>
                  </a:lnTo>
                  <a:lnTo>
                    <a:pt x="88" y="70"/>
                  </a:lnTo>
                  <a:lnTo>
                    <a:pt x="88" y="70"/>
                  </a:lnTo>
                  <a:lnTo>
                    <a:pt x="88" y="70"/>
                  </a:lnTo>
                  <a:lnTo>
                    <a:pt x="88" y="70"/>
                  </a:lnTo>
                  <a:lnTo>
                    <a:pt x="88" y="70"/>
                  </a:lnTo>
                  <a:lnTo>
                    <a:pt x="88" y="70"/>
                  </a:lnTo>
                  <a:lnTo>
                    <a:pt x="88" y="70"/>
                  </a:lnTo>
                  <a:lnTo>
                    <a:pt x="91" y="70"/>
                  </a:lnTo>
                  <a:lnTo>
                    <a:pt x="91" y="73"/>
                  </a:lnTo>
                  <a:lnTo>
                    <a:pt x="91" y="73"/>
                  </a:lnTo>
                  <a:lnTo>
                    <a:pt x="91" y="73"/>
                  </a:lnTo>
                  <a:lnTo>
                    <a:pt x="91" y="75"/>
                  </a:lnTo>
                  <a:lnTo>
                    <a:pt x="91" y="75"/>
                  </a:lnTo>
                  <a:lnTo>
                    <a:pt x="91" y="75"/>
                  </a:lnTo>
                  <a:lnTo>
                    <a:pt x="91" y="75"/>
                  </a:lnTo>
                  <a:lnTo>
                    <a:pt x="91" y="75"/>
                  </a:lnTo>
                  <a:lnTo>
                    <a:pt x="93" y="77"/>
                  </a:lnTo>
                  <a:lnTo>
                    <a:pt x="93" y="77"/>
                  </a:lnTo>
                  <a:lnTo>
                    <a:pt x="93" y="77"/>
                  </a:lnTo>
                  <a:lnTo>
                    <a:pt x="93" y="79"/>
                  </a:lnTo>
                  <a:lnTo>
                    <a:pt x="95" y="79"/>
                  </a:lnTo>
                  <a:lnTo>
                    <a:pt x="95" y="79"/>
                  </a:lnTo>
                  <a:lnTo>
                    <a:pt x="95" y="79"/>
                  </a:lnTo>
                  <a:lnTo>
                    <a:pt x="95" y="82"/>
                  </a:lnTo>
                  <a:lnTo>
                    <a:pt x="95" y="82"/>
                  </a:lnTo>
                  <a:lnTo>
                    <a:pt x="95" y="82"/>
                  </a:lnTo>
                  <a:lnTo>
                    <a:pt x="95" y="82"/>
                  </a:lnTo>
                  <a:lnTo>
                    <a:pt x="95" y="82"/>
                  </a:lnTo>
                  <a:lnTo>
                    <a:pt x="95" y="84"/>
                  </a:lnTo>
                  <a:lnTo>
                    <a:pt x="95" y="84"/>
                  </a:lnTo>
                  <a:lnTo>
                    <a:pt x="95" y="84"/>
                  </a:lnTo>
                  <a:lnTo>
                    <a:pt x="98" y="84"/>
                  </a:lnTo>
                  <a:lnTo>
                    <a:pt x="98" y="84"/>
                  </a:lnTo>
                  <a:lnTo>
                    <a:pt x="98" y="84"/>
                  </a:lnTo>
                  <a:lnTo>
                    <a:pt x="98" y="84"/>
                  </a:lnTo>
                  <a:lnTo>
                    <a:pt x="98" y="84"/>
                  </a:lnTo>
                  <a:lnTo>
                    <a:pt x="98" y="86"/>
                  </a:lnTo>
                  <a:lnTo>
                    <a:pt x="98" y="86"/>
                  </a:lnTo>
                  <a:lnTo>
                    <a:pt x="98" y="86"/>
                  </a:lnTo>
                  <a:lnTo>
                    <a:pt x="98" y="86"/>
                  </a:lnTo>
                  <a:lnTo>
                    <a:pt x="98" y="86"/>
                  </a:lnTo>
                  <a:lnTo>
                    <a:pt x="98" y="86"/>
                  </a:lnTo>
                  <a:lnTo>
                    <a:pt x="98" y="86"/>
                  </a:lnTo>
                  <a:lnTo>
                    <a:pt x="98" y="86"/>
                  </a:lnTo>
                  <a:lnTo>
                    <a:pt x="95" y="86"/>
                  </a:lnTo>
                  <a:lnTo>
                    <a:pt x="95" y="86"/>
                  </a:lnTo>
                  <a:lnTo>
                    <a:pt x="95" y="86"/>
                  </a:lnTo>
                  <a:lnTo>
                    <a:pt x="95" y="86"/>
                  </a:lnTo>
                  <a:lnTo>
                    <a:pt x="95" y="89"/>
                  </a:lnTo>
                  <a:lnTo>
                    <a:pt x="95" y="89"/>
                  </a:lnTo>
                  <a:lnTo>
                    <a:pt x="95" y="89"/>
                  </a:lnTo>
                  <a:lnTo>
                    <a:pt x="95" y="89"/>
                  </a:lnTo>
                  <a:lnTo>
                    <a:pt x="95" y="89"/>
                  </a:lnTo>
                  <a:lnTo>
                    <a:pt x="95" y="89"/>
                  </a:lnTo>
                  <a:lnTo>
                    <a:pt x="93" y="89"/>
                  </a:lnTo>
                  <a:lnTo>
                    <a:pt x="93" y="91"/>
                  </a:lnTo>
                  <a:lnTo>
                    <a:pt x="93" y="91"/>
                  </a:lnTo>
                  <a:lnTo>
                    <a:pt x="93" y="91"/>
                  </a:lnTo>
                  <a:lnTo>
                    <a:pt x="93" y="91"/>
                  </a:lnTo>
                  <a:lnTo>
                    <a:pt x="93" y="93"/>
                  </a:lnTo>
                  <a:lnTo>
                    <a:pt x="93" y="93"/>
                  </a:lnTo>
                  <a:lnTo>
                    <a:pt x="93" y="93"/>
                  </a:lnTo>
                  <a:lnTo>
                    <a:pt x="93" y="93"/>
                  </a:lnTo>
                  <a:lnTo>
                    <a:pt x="93" y="96"/>
                  </a:lnTo>
                  <a:lnTo>
                    <a:pt x="93" y="96"/>
                  </a:lnTo>
                  <a:lnTo>
                    <a:pt x="93" y="96"/>
                  </a:lnTo>
                  <a:lnTo>
                    <a:pt x="93" y="96"/>
                  </a:lnTo>
                  <a:lnTo>
                    <a:pt x="93" y="98"/>
                  </a:lnTo>
                  <a:lnTo>
                    <a:pt x="93" y="98"/>
                  </a:lnTo>
                  <a:lnTo>
                    <a:pt x="93" y="100"/>
                  </a:lnTo>
                  <a:lnTo>
                    <a:pt x="93" y="100"/>
                  </a:lnTo>
                  <a:lnTo>
                    <a:pt x="93" y="100"/>
                  </a:lnTo>
                  <a:lnTo>
                    <a:pt x="93" y="100"/>
                  </a:lnTo>
                  <a:lnTo>
                    <a:pt x="93" y="100"/>
                  </a:lnTo>
                  <a:lnTo>
                    <a:pt x="93" y="105"/>
                  </a:lnTo>
                  <a:lnTo>
                    <a:pt x="95" y="105"/>
                  </a:lnTo>
                  <a:lnTo>
                    <a:pt x="95" y="107"/>
                  </a:lnTo>
                  <a:lnTo>
                    <a:pt x="95" y="107"/>
                  </a:lnTo>
                  <a:lnTo>
                    <a:pt x="95" y="107"/>
                  </a:lnTo>
                  <a:lnTo>
                    <a:pt x="95" y="107"/>
                  </a:lnTo>
                  <a:lnTo>
                    <a:pt x="95" y="107"/>
                  </a:lnTo>
                  <a:lnTo>
                    <a:pt x="95" y="110"/>
                  </a:lnTo>
                  <a:lnTo>
                    <a:pt x="95" y="110"/>
                  </a:lnTo>
                  <a:lnTo>
                    <a:pt x="95" y="110"/>
                  </a:lnTo>
                  <a:lnTo>
                    <a:pt x="95" y="110"/>
                  </a:lnTo>
                  <a:lnTo>
                    <a:pt x="95" y="112"/>
                  </a:lnTo>
                  <a:lnTo>
                    <a:pt x="95" y="112"/>
                  </a:lnTo>
                  <a:lnTo>
                    <a:pt x="95" y="114"/>
                  </a:lnTo>
                  <a:lnTo>
                    <a:pt x="95" y="114"/>
                  </a:lnTo>
                  <a:lnTo>
                    <a:pt x="95" y="117"/>
                  </a:lnTo>
                  <a:lnTo>
                    <a:pt x="95" y="117"/>
                  </a:lnTo>
                  <a:lnTo>
                    <a:pt x="95" y="117"/>
                  </a:lnTo>
                  <a:lnTo>
                    <a:pt x="95" y="119"/>
                  </a:lnTo>
                  <a:lnTo>
                    <a:pt x="95" y="119"/>
                  </a:lnTo>
                  <a:lnTo>
                    <a:pt x="95" y="119"/>
                  </a:lnTo>
                  <a:lnTo>
                    <a:pt x="95" y="119"/>
                  </a:lnTo>
                  <a:lnTo>
                    <a:pt x="95" y="121"/>
                  </a:lnTo>
                  <a:lnTo>
                    <a:pt x="95" y="121"/>
                  </a:lnTo>
                  <a:lnTo>
                    <a:pt x="98" y="121"/>
                  </a:lnTo>
                  <a:lnTo>
                    <a:pt x="98" y="121"/>
                  </a:lnTo>
                  <a:lnTo>
                    <a:pt x="98" y="121"/>
                  </a:lnTo>
                  <a:lnTo>
                    <a:pt x="100" y="124"/>
                  </a:lnTo>
                  <a:lnTo>
                    <a:pt x="100" y="126"/>
                  </a:lnTo>
                  <a:lnTo>
                    <a:pt x="100" y="126"/>
                  </a:lnTo>
                  <a:lnTo>
                    <a:pt x="100" y="126"/>
                  </a:lnTo>
                  <a:lnTo>
                    <a:pt x="100" y="126"/>
                  </a:lnTo>
                  <a:lnTo>
                    <a:pt x="100" y="126"/>
                  </a:lnTo>
                  <a:lnTo>
                    <a:pt x="100" y="126"/>
                  </a:lnTo>
                  <a:lnTo>
                    <a:pt x="95" y="126"/>
                  </a:lnTo>
                  <a:lnTo>
                    <a:pt x="91" y="128"/>
                  </a:lnTo>
                  <a:lnTo>
                    <a:pt x="86" y="128"/>
                  </a:lnTo>
                  <a:lnTo>
                    <a:pt x="81" y="128"/>
                  </a:lnTo>
                  <a:lnTo>
                    <a:pt x="77" y="128"/>
                  </a:lnTo>
                  <a:lnTo>
                    <a:pt x="74" y="131"/>
                  </a:lnTo>
                  <a:lnTo>
                    <a:pt x="70" y="131"/>
                  </a:lnTo>
                  <a:lnTo>
                    <a:pt x="65" y="131"/>
                  </a:lnTo>
                  <a:lnTo>
                    <a:pt x="60" y="131"/>
                  </a:lnTo>
                  <a:lnTo>
                    <a:pt x="56" y="131"/>
                  </a:lnTo>
                  <a:lnTo>
                    <a:pt x="51" y="133"/>
                  </a:lnTo>
                  <a:lnTo>
                    <a:pt x="46" y="133"/>
                  </a:lnTo>
                  <a:lnTo>
                    <a:pt x="42" y="133"/>
                  </a:lnTo>
                  <a:lnTo>
                    <a:pt x="37" y="133"/>
                  </a:lnTo>
                  <a:lnTo>
                    <a:pt x="35" y="133"/>
                  </a:lnTo>
                  <a:lnTo>
                    <a:pt x="30" y="135"/>
                  </a:lnTo>
                  <a:lnTo>
                    <a:pt x="28" y="135"/>
                  </a:lnTo>
                  <a:lnTo>
                    <a:pt x="28" y="135"/>
                  </a:lnTo>
                  <a:lnTo>
                    <a:pt x="28" y="135"/>
                  </a:lnTo>
                  <a:lnTo>
                    <a:pt x="28" y="138"/>
                  </a:lnTo>
                  <a:lnTo>
                    <a:pt x="28" y="138"/>
                  </a:lnTo>
                  <a:lnTo>
                    <a:pt x="28" y="138"/>
                  </a:lnTo>
                  <a:lnTo>
                    <a:pt x="28" y="138"/>
                  </a:lnTo>
                  <a:lnTo>
                    <a:pt x="28" y="138"/>
                  </a:lnTo>
                  <a:lnTo>
                    <a:pt x="28" y="140"/>
                  </a:lnTo>
                  <a:lnTo>
                    <a:pt x="28" y="140"/>
                  </a:lnTo>
                  <a:lnTo>
                    <a:pt x="28" y="140"/>
                  </a:lnTo>
                  <a:lnTo>
                    <a:pt x="28" y="140"/>
                  </a:lnTo>
                  <a:lnTo>
                    <a:pt x="30" y="140"/>
                  </a:lnTo>
                  <a:lnTo>
                    <a:pt x="30" y="142"/>
                  </a:lnTo>
                  <a:lnTo>
                    <a:pt x="30" y="142"/>
                  </a:lnTo>
                  <a:lnTo>
                    <a:pt x="30" y="142"/>
                  </a:lnTo>
                  <a:lnTo>
                    <a:pt x="32" y="142"/>
                  </a:lnTo>
                  <a:lnTo>
                    <a:pt x="35" y="145"/>
                  </a:lnTo>
                  <a:lnTo>
                    <a:pt x="35" y="145"/>
                  </a:lnTo>
                  <a:lnTo>
                    <a:pt x="35" y="145"/>
                  </a:lnTo>
                  <a:lnTo>
                    <a:pt x="35" y="145"/>
                  </a:lnTo>
                  <a:lnTo>
                    <a:pt x="35" y="145"/>
                  </a:lnTo>
                  <a:lnTo>
                    <a:pt x="35" y="147"/>
                  </a:lnTo>
                  <a:lnTo>
                    <a:pt x="35" y="147"/>
                  </a:lnTo>
                  <a:lnTo>
                    <a:pt x="35" y="149"/>
                  </a:lnTo>
                  <a:lnTo>
                    <a:pt x="35" y="149"/>
                  </a:lnTo>
                  <a:lnTo>
                    <a:pt x="35" y="149"/>
                  </a:lnTo>
                  <a:lnTo>
                    <a:pt x="35" y="149"/>
                  </a:lnTo>
                  <a:lnTo>
                    <a:pt x="35" y="152"/>
                  </a:lnTo>
                  <a:lnTo>
                    <a:pt x="35" y="152"/>
                  </a:lnTo>
                  <a:lnTo>
                    <a:pt x="35" y="152"/>
                  </a:lnTo>
                  <a:lnTo>
                    <a:pt x="35" y="152"/>
                  </a:lnTo>
                  <a:lnTo>
                    <a:pt x="35" y="152"/>
                  </a:lnTo>
                  <a:lnTo>
                    <a:pt x="35" y="152"/>
                  </a:lnTo>
                  <a:lnTo>
                    <a:pt x="35" y="152"/>
                  </a:lnTo>
                  <a:lnTo>
                    <a:pt x="35" y="152"/>
                  </a:lnTo>
                  <a:lnTo>
                    <a:pt x="35" y="152"/>
                  </a:lnTo>
                  <a:lnTo>
                    <a:pt x="35" y="152"/>
                  </a:lnTo>
                  <a:lnTo>
                    <a:pt x="35" y="152"/>
                  </a:lnTo>
                  <a:lnTo>
                    <a:pt x="35" y="152"/>
                  </a:lnTo>
                  <a:lnTo>
                    <a:pt x="35" y="154"/>
                  </a:lnTo>
                  <a:lnTo>
                    <a:pt x="35" y="154"/>
                  </a:lnTo>
                  <a:lnTo>
                    <a:pt x="35" y="154"/>
                  </a:lnTo>
                  <a:lnTo>
                    <a:pt x="32" y="154"/>
                  </a:lnTo>
                  <a:lnTo>
                    <a:pt x="32" y="154"/>
                  </a:lnTo>
                  <a:lnTo>
                    <a:pt x="32" y="156"/>
                  </a:lnTo>
                  <a:lnTo>
                    <a:pt x="32" y="156"/>
                  </a:lnTo>
                  <a:lnTo>
                    <a:pt x="32" y="156"/>
                  </a:lnTo>
                  <a:lnTo>
                    <a:pt x="30" y="156"/>
                  </a:lnTo>
                  <a:lnTo>
                    <a:pt x="30" y="156"/>
                  </a:lnTo>
                  <a:lnTo>
                    <a:pt x="30" y="156"/>
                  </a:lnTo>
                  <a:lnTo>
                    <a:pt x="30" y="156"/>
                  </a:lnTo>
                  <a:lnTo>
                    <a:pt x="30" y="156"/>
                  </a:lnTo>
                  <a:lnTo>
                    <a:pt x="30" y="156"/>
                  </a:lnTo>
                  <a:lnTo>
                    <a:pt x="30" y="154"/>
                  </a:lnTo>
                  <a:lnTo>
                    <a:pt x="30" y="154"/>
                  </a:lnTo>
                  <a:lnTo>
                    <a:pt x="30" y="156"/>
                  </a:lnTo>
                  <a:lnTo>
                    <a:pt x="30" y="156"/>
                  </a:lnTo>
                  <a:lnTo>
                    <a:pt x="30" y="156"/>
                  </a:lnTo>
                  <a:lnTo>
                    <a:pt x="30" y="156"/>
                  </a:lnTo>
                  <a:lnTo>
                    <a:pt x="30" y="156"/>
                  </a:lnTo>
                  <a:lnTo>
                    <a:pt x="30" y="156"/>
                  </a:lnTo>
                  <a:lnTo>
                    <a:pt x="30" y="156"/>
                  </a:lnTo>
                  <a:lnTo>
                    <a:pt x="30" y="156"/>
                  </a:lnTo>
                  <a:lnTo>
                    <a:pt x="30" y="159"/>
                  </a:lnTo>
                  <a:lnTo>
                    <a:pt x="28" y="159"/>
                  </a:lnTo>
                  <a:lnTo>
                    <a:pt x="25" y="159"/>
                  </a:lnTo>
                  <a:lnTo>
                    <a:pt x="21" y="161"/>
                  </a:lnTo>
                  <a:lnTo>
                    <a:pt x="18" y="161"/>
                  </a:lnTo>
                  <a:lnTo>
                    <a:pt x="18" y="161"/>
                  </a:lnTo>
                  <a:lnTo>
                    <a:pt x="18" y="161"/>
                  </a:lnTo>
                  <a:lnTo>
                    <a:pt x="18" y="161"/>
                  </a:lnTo>
                  <a:lnTo>
                    <a:pt x="21" y="159"/>
                  </a:lnTo>
                  <a:lnTo>
                    <a:pt x="21" y="159"/>
                  </a:lnTo>
                  <a:lnTo>
                    <a:pt x="21" y="159"/>
                  </a:lnTo>
                  <a:lnTo>
                    <a:pt x="21" y="159"/>
                  </a:lnTo>
                  <a:lnTo>
                    <a:pt x="21" y="159"/>
                  </a:lnTo>
                  <a:lnTo>
                    <a:pt x="23" y="159"/>
                  </a:lnTo>
                  <a:lnTo>
                    <a:pt x="23" y="159"/>
                  </a:lnTo>
                  <a:lnTo>
                    <a:pt x="25" y="159"/>
                  </a:lnTo>
                  <a:lnTo>
                    <a:pt x="25" y="159"/>
                  </a:lnTo>
                  <a:lnTo>
                    <a:pt x="25" y="156"/>
                  </a:lnTo>
                  <a:lnTo>
                    <a:pt x="23" y="156"/>
                  </a:lnTo>
                  <a:lnTo>
                    <a:pt x="23" y="156"/>
                  </a:lnTo>
                  <a:lnTo>
                    <a:pt x="23" y="156"/>
                  </a:lnTo>
                  <a:lnTo>
                    <a:pt x="23" y="154"/>
                  </a:lnTo>
                  <a:lnTo>
                    <a:pt x="23" y="154"/>
                  </a:lnTo>
                  <a:lnTo>
                    <a:pt x="23" y="154"/>
                  </a:lnTo>
                  <a:lnTo>
                    <a:pt x="23" y="154"/>
                  </a:lnTo>
                  <a:lnTo>
                    <a:pt x="23" y="154"/>
                  </a:lnTo>
                  <a:lnTo>
                    <a:pt x="23" y="154"/>
                  </a:lnTo>
                  <a:lnTo>
                    <a:pt x="23" y="154"/>
                  </a:lnTo>
                  <a:lnTo>
                    <a:pt x="23" y="154"/>
                  </a:lnTo>
                  <a:lnTo>
                    <a:pt x="23" y="154"/>
                  </a:lnTo>
                  <a:lnTo>
                    <a:pt x="23" y="154"/>
                  </a:lnTo>
                  <a:lnTo>
                    <a:pt x="21" y="154"/>
                  </a:lnTo>
                  <a:lnTo>
                    <a:pt x="21" y="154"/>
                  </a:lnTo>
                  <a:lnTo>
                    <a:pt x="21" y="154"/>
                  </a:lnTo>
                  <a:lnTo>
                    <a:pt x="21" y="154"/>
                  </a:lnTo>
                  <a:lnTo>
                    <a:pt x="21" y="154"/>
                  </a:lnTo>
                  <a:lnTo>
                    <a:pt x="21" y="154"/>
                  </a:lnTo>
                  <a:lnTo>
                    <a:pt x="21" y="154"/>
                  </a:lnTo>
                  <a:lnTo>
                    <a:pt x="21" y="152"/>
                  </a:lnTo>
                  <a:lnTo>
                    <a:pt x="21" y="152"/>
                  </a:lnTo>
                  <a:lnTo>
                    <a:pt x="21" y="152"/>
                  </a:lnTo>
                  <a:lnTo>
                    <a:pt x="21" y="152"/>
                  </a:lnTo>
                  <a:lnTo>
                    <a:pt x="21" y="152"/>
                  </a:lnTo>
                  <a:lnTo>
                    <a:pt x="21" y="152"/>
                  </a:lnTo>
                  <a:lnTo>
                    <a:pt x="21" y="149"/>
                  </a:lnTo>
                  <a:lnTo>
                    <a:pt x="21" y="149"/>
                  </a:lnTo>
                  <a:lnTo>
                    <a:pt x="21" y="149"/>
                  </a:lnTo>
                  <a:lnTo>
                    <a:pt x="21" y="149"/>
                  </a:lnTo>
                  <a:lnTo>
                    <a:pt x="18" y="147"/>
                  </a:lnTo>
                  <a:lnTo>
                    <a:pt x="18" y="147"/>
                  </a:lnTo>
                  <a:lnTo>
                    <a:pt x="18" y="145"/>
                  </a:lnTo>
                  <a:lnTo>
                    <a:pt x="18" y="145"/>
                  </a:lnTo>
                  <a:lnTo>
                    <a:pt x="18" y="145"/>
                  </a:lnTo>
                  <a:lnTo>
                    <a:pt x="18" y="145"/>
                  </a:lnTo>
                  <a:lnTo>
                    <a:pt x="18" y="145"/>
                  </a:lnTo>
                  <a:lnTo>
                    <a:pt x="18" y="145"/>
                  </a:lnTo>
                  <a:lnTo>
                    <a:pt x="16" y="145"/>
                  </a:lnTo>
                  <a:lnTo>
                    <a:pt x="16" y="145"/>
                  </a:lnTo>
                  <a:lnTo>
                    <a:pt x="16" y="145"/>
                  </a:lnTo>
                  <a:lnTo>
                    <a:pt x="16" y="145"/>
                  </a:lnTo>
                  <a:lnTo>
                    <a:pt x="16" y="145"/>
                  </a:lnTo>
                  <a:lnTo>
                    <a:pt x="16" y="145"/>
                  </a:lnTo>
                  <a:lnTo>
                    <a:pt x="16" y="145"/>
                  </a:lnTo>
                  <a:lnTo>
                    <a:pt x="16" y="147"/>
                  </a:lnTo>
                  <a:lnTo>
                    <a:pt x="16" y="147"/>
                  </a:lnTo>
                  <a:lnTo>
                    <a:pt x="16" y="147"/>
                  </a:lnTo>
                  <a:lnTo>
                    <a:pt x="16" y="147"/>
                  </a:lnTo>
                  <a:lnTo>
                    <a:pt x="16" y="147"/>
                  </a:lnTo>
                  <a:lnTo>
                    <a:pt x="16" y="149"/>
                  </a:lnTo>
                  <a:lnTo>
                    <a:pt x="16" y="149"/>
                  </a:lnTo>
                  <a:lnTo>
                    <a:pt x="16" y="149"/>
                  </a:lnTo>
                  <a:lnTo>
                    <a:pt x="16" y="149"/>
                  </a:lnTo>
                  <a:lnTo>
                    <a:pt x="16" y="149"/>
                  </a:lnTo>
                  <a:lnTo>
                    <a:pt x="16" y="149"/>
                  </a:lnTo>
                  <a:lnTo>
                    <a:pt x="16" y="152"/>
                  </a:lnTo>
                  <a:lnTo>
                    <a:pt x="16" y="152"/>
                  </a:lnTo>
                  <a:lnTo>
                    <a:pt x="16" y="152"/>
                  </a:lnTo>
                  <a:lnTo>
                    <a:pt x="16" y="152"/>
                  </a:lnTo>
                  <a:lnTo>
                    <a:pt x="16" y="154"/>
                  </a:lnTo>
                  <a:lnTo>
                    <a:pt x="16" y="154"/>
                  </a:lnTo>
                  <a:lnTo>
                    <a:pt x="16" y="154"/>
                  </a:lnTo>
                  <a:lnTo>
                    <a:pt x="16" y="156"/>
                  </a:lnTo>
                  <a:lnTo>
                    <a:pt x="16" y="159"/>
                  </a:lnTo>
                  <a:lnTo>
                    <a:pt x="14" y="159"/>
                  </a:lnTo>
                  <a:lnTo>
                    <a:pt x="14" y="159"/>
                  </a:lnTo>
                  <a:lnTo>
                    <a:pt x="14" y="159"/>
                  </a:lnTo>
                  <a:lnTo>
                    <a:pt x="14" y="156"/>
                  </a:lnTo>
                  <a:lnTo>
                    <a:pt x="14" y="156"/>
                  </a:lnTo>
                  <a:lnTo>
                    <a:pt x="14" y="156"/>
                  </a:lnTo>
                  <a:lnTo>
                    <a:pt x="14" y="156"/>
                  </a:lnTo>
                  <a:lnTo>
                    <a:pt x="14" y="156"/>
                  </a:lnTo>
                  <a:lnTo>
                    <a:pt x="14" y="156"/>
                  </a:lnTo>
                  <a:lnTo>
                    <a:pt x="14" y="156"/>
                  </a:lnTo>
                  <a:lnTo>
                    <a:pt x="11" y="156"/>
                  </a:lnTo>
                  <a:lnTo>
                    <a:pt x="11" y="156"/>
                  </a:lnTo>
                  <a:lnTo>
                    <a:pt x="9" y="156"/>
                  </a:lnTo>
                  <a:lnTo>
                    <a:pt x="9" y="156"/>
                  </a:lnTo>
                  <a:lnTo>
                    <a:pt x="9" y="156"/>
                  </a:lnTo>
                  <a:lnTo>
                    <a:pt x="9" y="156"/>
                  </a:lnTo>
                  <a:lnTo>
                    <a:pt x="9" y="156"/>
                  </a:lnTo>
                  <a:lnTo>
                    <a:pt x="9" y="156"/>
                  </a:lnTo>
                  <a:lnTo>
                    <a:pt x="9" y="156"/>
                  </a:lnTo>
                  <a:lnTo>
                    <a:pt x="9" y="156"/>
                  </a:lnTo>
                  <a:lnTo>
                    <a:pt x="9" y="156"/>
                  </a:lnTo>
                  <a:lnTo>
                    <a:pt x="7" y="156"/>
                  </a:lnTo>
                  <a:lnTo>
                    <a:pt x="7" y="156"/>
                  </a:lnTo>
                  <a:lnTo>
                    <a:pt x="7" y="154"/>
                  </a:lnTo>
                  <a:lnTo>
                    <a:pt x="7" y="149"/>
                  </a:lnTo>
                  <a:lnTo>
                    <a:pt x="7" y="147"/>
                  </a:lnTo>
                  <a:lnTo>
                    <a:pt x="7" y="145"/>
                  </a:lnTo>
                  <a:lnTo>
                    <a:pt x="4" y="142"/>
                  </a:lnTo>
                  <a:lnTo>
                    <a:pt x="4" y="138"/>
                  </a:lnTo>
                  <a:lnTo>
                    <a:pt x="4" y="135"/>
                  </a:lnTo>
                  <a:lnTo>
                    <a:pt x="4" y="133"/>
                  </a:lnTo>
                  <a:lnTo>
                    <a:pt x="4" y="128"/>
                  </a:lnTo>
                  <a:lnTo>
                    <a:pt x="2" y="126"/>
                  </a:lnTo>
                  <a:lnTo>
                    <a:pt x="2" y="124"/>
                  </a:lnTo>
                  <a:lnTo>
                    <a:pt x="2" y="119"/>
                  </a:lnTo>
                  <a:lnTo>
                    <a:pt x="2" y="117"/>
                  </a:lnTo>
                  <a:lnTo>
                    <a:pt x="2" y="114"/>
                  </a:lnTo>
                  <a:lnTo>
                    <a:pt x="2" y="112"/>
                  </a:lnTo>
                  <a:lnTo>
                    <a:pt x="0" y="107"/>
                  </a:lnTo>
                  <a:lnTo>
                    <a:pt x="0" y="107"/>
                  </a:lnTo>
                  <a:lnTo>
                    <a:pt x="0" y="107"/>
                  </a:lnTo>
                  <a:lnTo>
                    <a:pt x="0" y="105"/>
                  </a:lnTo>
                  <a:lnTo>
                    <a:pt x="0" y="105"/>
                  </a:lnTo>
                  <a:lnTo>
                    <a:pt x="0" y="103"/>
                  </a:lnTo>
                  <a:lnTo>
                    <a:pt x="2" y="98"/>
                  </a:lnTo>
                  <a:lnTo>
                    <a:pt x="2" y="96"/>
                  </a:lnTo>
                  <a:lnTo>
                    <a:pt x="2" y="93"/>
                  </a:lnTo>
                  <a:lnTo>
                    <a:pt x="2" y="89"/>
                  </a:lnTo>
                  <a:lnTo>
                    <a:pt x="2" y="86"/>
                  </a:lnTo>
                  <a:lnTo>
                    <a:pt x="2" y="82"/>
                  </a:lnTo>
                  <a:lnTo>
                    <a:pt x="2" y="77"/>
                  </a:lnTo>
                  <a:lnTo>
                    <a:pt x="2" y="73"/>
                  </a:lnTo>
                  <a:lnTo>
                    <a:pt x="2" y="70"/>
                  </a:lnTo>
                  <a:lnTo>
                    <a:pt x="2" y="66"/>
                  </a:lnTo>
                  <a:lnTo>
                    <a:pt x="2" y="61"/>
                  </a:lnTo>
                  <a:lnTo>
                    <a:pt x="2" y="56"/>
                  </a:lnTo>
                  <a:lnTo>
                    <a:pt x="2" y="52"/>
                  </a:lnTo>
                  <a:lnTo>
                    <a:pt x="2" y="47"/>
                  </a:lnTo>
                  <a:lnTo>
                    <a:pt x="2" y="42"/>
                  </a:lnTo>
                  <a:lnTo>
                    <a:pt x="2" y="38"/>
                  </a:lnTo>
                  <a:lnTo>
                    <a:pt x="2" y="35"/>
                  </a:lnTo>
                  <a:lnTo>
                    <a:pt x="2" y="31"/>
                  </a:lnTo>
                  <a:lnTo>
                    <a:pt x="2" y="28"/>
                  </a:lnTo>
                  <a:lnTo>
                    <a:pt x="2" y="24"/>
                  </a:lnTo>
                  <a:lnTo>
                    <a:pt x="2" y="21"/>
                  </a:lnTo>
                  <a:lnTo>
                    <a:pt x="2" y="19"/>
                  </a:lnTo>
                  <a:lnTo>
                    <a:pt x="2" y="17"/>
                  </a:lnTo>
                  <a:lnTo>
                    <a:pt x="2" y="14"/>
                  </a:lnTo>
                  <a:lnTo>
                    <a:pt x="2" y="14"/>
                  </a:lnTo>
                  <a:lnTo>
                    <a:pt x="2" y="12"/>
                  </a:lnTo>
                  <a:lnTo>
                    <a:pt x="2" y="12"/>
                  </a:lnTo>
                  <a:lnTo>
                    <a:pt x="2" y="12"/>
                  </a:lnTo>
                  <a:lnTo>
                    <a:pt x="2" y="10"/>
                  </a:lnTo>
                  <a:lnTo>
                    <a:pt x="2" y="10"/>
                  </a:lnTo>
                  <a:lnTo>
                    <a:pt x="2" y="10"/>
                  </a:lnTo>
                  <a:lnTo>
                    <a:pt x="0" y="10"/>
                  </a:lnTo>
                  <a:lnTo>
                    <a:pt x="0" y="7"/>
                  </a:lnTo>
                  <a:lnTo>
                    <a:pt x="0" y="7"/>
                  </a:lnTo>
                  <a:lnTo>
                    <a:pt x="0" y="7"/>
                  </a:lnTo>
                  <a:lnTo>
                    <a:pt x="2" y="7"/>
                  </a:lnTo>
                  <a:lnTo>
                    <a:pt x="4" y="7"/>
                  </a:lnTo>
                  <a:lnTo>
                    <a:pt x="9"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797">
              <a:extLst>
                <a:ext uri="{FF2B5EF4-FFF2-40B4-BE49-F238E27FC236}">
                  <a16:creationId xmlns:a16="http://schemas.microsoft.com/office/drawing/2014/main" id="{B8204EC4-0979-4F55-A73C-2FD6735B4F14}"/>
                </a:ext>
              </a:extLst>
            </p:cNvPr>
            <p:cNvSpPr>
              <a:spLocks noEditPoints="1"/>
            </p:cNvSpPr>
            <p:nvPr/>
          </p:nvSpPr>
          <p:spPr bwMode="auto">
            <a:xfrm>
              <a:off x="6933406" y="5106988"/>
              <a:ext cx="376238" cy="325438"/>
            </a:xfrm>
            <a:custGeom>
              <a:avLst/>
              <a:gdLst>
                <a:gd name="T0" fmla="*/ 198 w 237"/>
                <a:gd name="T1" fmla="*/ 200 h 205"/>
                <a:gd name="T2" fmla="*/ 198 w 237"/>
                <a:gd name="T3" fmla="*/ 200 h 205"/>
                <a:gd name="T4" fmla="*/ 207 w 237"/>
                <a:gd name="T5" fmla="*/ 198 h 205"/>
                <a:gd name="T6" fmla="*/ 223 w 237"/>
                <a:gd name="T7" fmla="*/ 186 h 205"/>
                <a:gd name="T8" fmla="*/ 230 w 237"/>
                <a:gd name="T9" fmla="*/ 177 h 205"/>
                <a:gd name="T10" fmla="*/ 232 w 237"/>
                <a:gd name="T11" fmla="*/ 170 h 205"/>
                <a:gd name="T12" fmla="*/ 235 w 237"/>
                <a:gd name="T13" fmla="*/ 158 h 205"/>
                <a:gd name="T14" fmla="*/ 198 w 237"/>
                <a:gd name="T15" fmla="*/ 158 h 205"/>
                <a:gd name="T16" fmla="*/ 172 w 237"/>
                <a:gd name="T17" fmla="*/ 140 h 205"/>
                <a:gd name="T18" fmla="*/ 170 w 237"/>
                <a:gd name="T19" fmla="*/ 133 h 205"/>
                <a:gd name="T20" fmla="*/ 225 w 237"/>
                <a:gd name="T21" fmla="*/ 107 h 205"/>
                <a:gd name="T22" fmla="*/ 219 w 237"/>
                <a:gd name="T23" fmla="*/ 93 h 205"/>
                <a:gd name="T24" fmla="*/ 202 w 237"/>
                <a:gd name="T25" fmla="*/ 70 h 205"/>
                <a:gd name="T26" fmla="*/ 74 w 237"/>
                <a:gd name="T27" fmla="*/ 51 h 205"/>
                <a:gd name="T28" fmla="*/ 81 w 237"/>
                <a:gd name="T29" fmla="*/ 51 h 205"/>
                <a:gd name="T30" fmla="*/ 16 w 237"/>
                <a:gd name="T31" fmla="*/ 35 h 205"/>
                <a:gd name="T32" fmla="*/ 86 w 237"/>
                <a:gd name="T33" fmla="*/ 16 h 205"/>
                <a:gd name="T34" fmla="*/ 118 w 237"/>
                <a:gd name="T35" fmla="*/ 14 h 205"/>
                <a:gd name="T36" fmla="*/ 149 w 237"/>
                <a:gd name="T37" fmla="*/ 9 h 205"/>
                <a:gd name="T38" fmla="*/ 156 w 237"/>
                <a:gd name="T39" fmla="*/ 7 h 205"/>
                <a:gd name="T40" fmla="*/ 170 w 237"/>
                <a:gd name="T41" fmla="*/ 2 h 205"/>
                <a:gd name="T42" fmla="*/ 177 w 237"/>
                <a:gd name="T43" fmla="*/ 19 h 205"/>
                <a:gd name="T44" fmla="*/ 191 w 237"/>
                <a:gd name="T45" fmla="*/ 47 h 205"/>
                <a:gd name="T46" fmla="*/ 209 w 237"/>
                <a:gd name="T47" fmla="*/ 75 h 205"/>
                <a:gd name="T48" fmla="*/ 212 w 237"/>
                <a:gd name="T49" fmla="*/ 84 h 205"/>
                <a:gd name="T50" fmla="*/ 200 w 237"/>
                <a:gd name="T51" fmla="*/ 61 h 205"/>
                <a:gd name="T52" fmla="*/ 225 w 237"/>
                <a:gd name="T53" fmla="*/ 109 h 205"/>
                <a:gd name="T54" fmla="*/ 232 w 237"/>
                <a:gd name="T55" fmla="*/ 123 h 205"/>
                <a:gd name="T56" fmla="*/ 235 w 237"/>
                <a:gd name="T57" fmla="*/ 154 h 205"/>
                <a:gd name="T58" fmla="*/ 232 w 237"/>
                <a:gd name="T59" fmla="*/ 175 h 205"/>
                <a:gd name="T60" fmla="*/ 225 w 237"/>
                <a:gd name="T61" fmla="*/ 177 h 205"/>
                <a:gd name="T62" fmla="*/ 212 w 237"/>
                <a:gd name="T63" fmla="*/ 175 h 205"/>
                <a:gd name="T64" fmla="*/ 205 w 237"/>
                <a:gd name="T65" fmla="*/ 165 h 205"/>
                <a:gd name="T66" fmla="*/ 193 w 237"/>
                <a:gd name="T67" fmla="*/ 158 h 205"/>
                <a:gd name="T68" fmla="*/ 184 w 237"/>
                <a:gd name="T69" fmla="*/ 147 h 205"/>
                <a:gd name="T70" fmla="*/ 179 w 237"/>
                <a:gd name="T71" fmla="*/ 135 h 205"/>
                <a:gd name="T72" fmla="*/ 177 w 237"/>
                <a:gd name="T73" fmla="*/ 137 h 205"/>
                <a:gd name="T74" fmla="*/ 170 w 237"/>
                <a:gd name="T75" fmla="*/ 126 h 205"/>
                <a:gd name="T76" fmla="*/ 165 w 237"/>
                <a:gd name="T77" fmla="*/ 128 h 205"/>
                <a:gd name="T78" fmla="*/ 151 w 237"/>
                <a:gd name="T79" fmla="*/ 109 h 205"/>
                <a:gd name="T80" fmla="*/ 158 w 237"/>
                <a:gd name="T81" fmla="*/ 102 h 205"/>
                <a:gd name="T82" fmla="*/ 156 w 237"/>
                <a:gd name="T83" fmla="*/ 96 h 205"/>
                <a:gd name="T84" fmla="*/ 153 w 237"/>
                <a:gd name="T85" fmla="*/ 102 h 205"/>
                <a:gd name="T86" fmla="*/ 146 w 237"/>
                <a:gd name="T87" fmla="*/ 100 h 205"/>
                <a:gd name="T88" fmla="*/ 149 w 237"/>
                <a:gd name="T89" fmla="*/ 79 h 205"/>
                <a:gd name="T90" fmla="*/ 142 w 237"/>
                <a:gd name="T91" fmla="*/ 61 h 205"/>
                <a:gd name="T92" fmla="*/ 123 w 237"/>
                <a:gd name="T93" fmla="*/ 47 h 205"/>
                <a:gd name="T94" fmla="*/ 107 w 237"/>
                <a:gd name="T95" fmla="*/ 35 h 205"/>
                <a:gd name="T96" fmla="*/ 95 w 237"/>
                <a:gd name="T97" fmla="*/ 37 h 205"/>
                <a:gd name="T98" fmla="*/ 84 w 237"/>
                <a:gd name="T99" fmla="*/ 44 h 205"/>
                <a:gd name="T100" fmla="*/ 67 w 237"/>
                <a:gd name="T101" fmla="*/ 51 h 205"/>
                <a:gd name="T102" fmla="*/ 65 w 237"/>
                <a:gd name="T103" fmla="*/ 44 h 205"/>
                <a:gd name="T104" fmla="*/ 63 w 237"/>
                <a:gd name="T105" fmla="*/ 40 h 205"/>
                <a:gd name="T106" fmla="*/ 56 w 237"/>
                <a:gd name="T107" fmla="*/ 33 h 205"/>
                <a:gd name="T108" fmla="*/ 37 w 237"/>
                <a:gd name="T109" fmla="*/ 33 h 205"/>
                <a:gd name="T110" fmla="*/ 35 w 237"/>
                <a:gd name="T111" fmla="*/ 30 h 205"/>
                <a:gd name="T112" fmla="*/ 16 w 237"/>
                <a:gd name="T113" fmla="*/ 33 h 205"/>
                <a:gd name="T114" fmla="*/ 16 w 237"/>
                <a:gd name="T115" fmla="*/ 33 h 205"/>
                <a:gd name="T116" fmla="*/ 4 w 237"/>
                <a:gd name="T117" fmla="*/ 40 h 205"/>
                <a:gd name="T118" fmla="*/ 4 w 237"/>
                <a:gd name="T119" fmla="*/ 23 h 205"/>
                <a:gd name="T120" fmla="*/ 28 w 237"/>
                <a:gd name="T121" fmla="*/ 12 h 205"/>
                <a:gd name="T122" fmla="*/ 74 w 237"/>
                <a:gd name="T123" fmla="*/ 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205">
                  <a:moveTo>
                    <a:pt x="184" y="205"/>
                  </a:moveTo>
                  <a:lnTo>
                    <a:pt x="184" y="203"/>
                  </a:lnTo>
                  <a:lnTo>
                    <a:pt x="184" y="205"/>
                  </a:lnTo>
                  <a:close/>
                  <a:moveTo>
                    <a:pt x="195" y="200"/>
                  </a:moveTo>
                  <a:lnTo>
                    <a:pt x="195" y="203"/>
                  </a:lnTo>
                  <a:lnTo>
                    <a:pt x="193" y="203"/>
                  </a:lnTo>
                  <a:lnTo>
                    <a:pt x="195" y="203"/>
                  </a:lnTo>
                  <a:lnTo>
                    <a:pt x="195" y="200"/>
                  </a:lnTo>
                  <a:close/>
                  <a:moveTo>
                    <a:pt x="198" y="200"/>
                  </a:moveTo>
                  <a:lnTo>
                    <a:pt x="195" y="203"/>
                  </a:lnTo>
                  <a:lnTo>
                    <a:pt x="195" y="200"/>
                  </a:lnTo>
                  <a:lnTo>
                    <a:pt x="198" y="200"/>
                  </a:lnTo>
                  <a:close/>
                  <a:moveTo>
                    <a:pt x="205" y="198"/>
                  </a:moveTo>
                  <a:lnTo>
                    <a:pt x="202" y="198"/>
                  </a:lnTo>
                  <a:lnTo>
                    <a:pt x="202" y="196"/>
                  </a:lnTo>
                  <a:lnTo>
                    <a:pt x="205" y="196"/>
                  </a:lnTo>
                  <a:lnTo>
                    <a:pt x="202" y="196"/>
                  </a:lnTo>
                  <a:lnTo>
                    <a:pt x="205" y="196"/>
                  </a:lnTo>
                  <a:lnTo>
                    <a:pt x="205" y="198"/>
                  </a:lnTo>
                  <a:close/>
                  <a:moveTo>
                    <a:pt x="200" y="196"/>
                  </a:moveTo>
                  <a:lnTo>
                    <a:pt x="200" y="198"/>
                  </a:lnTo>
                  <a:lnTo>
                    <a:pt x="202" y="198"/>
                  </a:lnTo>
                  <a:lnTo>
                    <a:pt x="200" y="200"/>
                  </a:lnTo>
                  <a:lnTo>
                    <a:pt x="198" y="200"/>
                  </a:lnTo>
                  <a:lnTo>
                    <a:pt x="200" y="200"/>
                  </a:lnTo>
                  <a:lnTo>
                    <a:pt x="200" y="198"/>
                  </a:lnTo>
                  <a:lnTo>
                    <a:pt x="202" y="198"/>
                  </a:lnTo>
                  <a:lnTo>
                    <a:pt x="200" y="198"/>
                  </a:lnTo>
                  <a:lnTo>
                    <a:pt x="200" y="196"/>
                  </a:lnTo>
                  <a:close/>
                  <a:moveTo>
                    <a:pt x="202" y="196"/>
                  </a:moveTo>
                  <a:lnTo>
                    <a:pt x="202" y="198"/>
                  </a:lnTo>
                  <a:lnTo>
                    <a:pt x="202" y="196"/>
                  </a:lnTo>
                  <a:close/>
                  <a:moveTo>
                    <a:pt x="214" y="193"/>
                  </a:moveTo>
                  <a:lnTo>
                    <a:pt x="216" y="193"/>
                  </a:lnTo>
                  <a:lnTo>
                    <a:pt x="214" y="193"/>
                  </a:lnTo>
                  <a:close/>
                  <a:moveTo>
                    <a:pt x="207" y="198"/>
                  </a:moveTo>
                  <a:lnTo>
                    <a:pt x="207" y="196"/>
                  </a:lnTo>
                  <a:lnTo>
                    <a:pt x="205" y="193"/>
                  </a:lnTo>
                  <a:lnTo>
                    <a:pt x="205" y="196"/>
                  </a:lnTo>
                  <a:lnTo>
                    <a:pt x="207" y="196"/>
                  </a:lnTo>
                  <a:lnTo>
                    <a:pt x="207" y="198"/>
                  </a:lnTo>
                  <a:close/>
                  <a:moveTo>
                    <a:pt x="219" y="191"/>
                  </a:moveTo>
                  <a:lnTo>
                    <a:pt x="216" y="193"/>
                  </a:lnTo>
                  <a:lnTo>
                    <a:pt x="219" y="191"/>
                  </a:lnTo>
                  <a:close/>
                  <a:moveTo>
                    <a:pt x="221" y="189"/>
                  </a:moveTo>
                  <a:lnTo>
                    <a:pt x="223" y="189"/>
                  </a:lnTo>
                  <a:lnTo>
                    <a:pt x="221" y="189"/>
                  </a:lnTo>
                  <a:close/>
                  <a:moveTo>
                    <a:pt x="223" y="186"/>
                  </a:moveTo>
                  <a:lnTo>
                    <a:pt x="225" y="186"/>
                  </a:lnTo>
                  <a:lnTo>
                    <a:pt x="223" y="186"/>
                  </a:lnTo>
                  <a:close/>
                  <a:moveTo>
                    <a:pt x="225" y="184"/>
                  </a:moveTo>
                  <a:lnTo>
                    <a:pt x="228" y="184"/>
                  </a:lnTo>
                  <a:lnTo>
                    <a:pt x="225" y="184"/>
                  </a:lnTo>
                  <a:close/>
                  <a:moveTo>
                    <a:pt x="209" y="172"/>
                  </a:moveTo>
                  <a:lnTo>
                    <a:pt x="212" y="172"/>
                  </a:lnTo>
                  <a:lnTo>
                    <a:pt x="212" y="175"/>
                  </a:lnTo>
                  <a:lnTo>
                    <a:pt x="209" y="175"/>
                  </a:lnTo>
                  <a:lnTo>
                    <a:pt x="209" y="172"/>
                  </a:lnTo>
                  <a:close/>
                  <a:moveTo>
                    <a:pt x="232" y="175"/>
                  </a:moveTo>
                  <a:lnTo>
                    <a:pt x="230" y="177"/>
                  </a:lnTo>
                  <a:lnTo>
                    <a:pt x="230" y="179"/>
                  </a:lnTo>
                  <a:lnTo>
                    <a:pt x="230" y="182"/>
                  </a:lnTo>
                  <a:lnTo>
                    <a:pt x="228" y="182"/>
                  </a:lnTo>
                  <a:lnTo>
                    <a:pt x="228" y="184"/>
                  </a:lnTo>
                  <a:lnTo>
                    <a:pt x="228" y="182"/>
                  </a:lnTo>
                  <a:lnTo>
                    <a:pt x="230" y="182"/>
                  </a:lnTo>
                  <a:lnTo>
                    <a:pt x="230" y="179"/>
                  </a:lnTo>
                  <a:lnTo>
                    <a:pt x="230" y="177"/>
                  </a:lnTo>
                  <a:lnTo>
                    <a:pt x="230" y="175"/>
                  </a:lnTo>
                  <a:lnTo>
                    <a:pt x="232" y="175"/>
                  </a:lnTo>
                  <a:lnTo>
                    <a:pt x="232" y="172"/>
                  </a:lnTo>
                  <a:lnTo>
                    <a:pt x="232" y="170"/>
                  </a:lnTo>
                  <a:lnTo>
                    <a:pt x="235" y="168"/>
                  </a:lnTo>
                  <a:lnTo>
                    <a:pt x="235" y="170"/>
                  </a:lnTo>
                  <a:lnTo>
                    <a:pt x="235" y="172"/>
                  </a:lnTo>
                  <a:lnTo>
                    <a:pt x="232" y="175"/>
                  </a:lnTo>
                  <a:close/>
                  <a:moveTo>
                    <a:pt x="235" y="165"/>
                  </a:moveTo>
                  <a:lnTo>
                    <a:pt x="235" y="168"/>
                  </a:lnTo>
                  <a:lnTo>
                    <a:pt x="235" y="165"/>
                  </a:lnTo>
                  <a:lnTo>
                    <a:pt x="235" y="163"/>
                  </a:lnTo>
                  <a:lnTo>
                    <a:pt x="237" y="163"/>
                  </a:lnTo>
                  <a:lnTo>
                    <a:pt x="237" y="165"/>
                  </a:lnTo>
                  <a:lnTo>
                    <a:pt x="235" y="165"/>
                  </a:lnTo>
                  <a:close/>
                  <a:moveTo>
                    <a:pt x="235" y="158"/>
                  </a:moveTo>
                  <a:lnTo>
                    <a:pt x="235" y="156"/>
                  </a:lnTo>
                  <a:lnTo>
                    <a:pt x="235" y="158"/>
                  </a:lnTo>
                  <a:close/>
                  <a:moveTo>
                    <a:pt x="200" y="158"/>
                  </a:moveTo>
                  <a:lnTo>
                    <a:pt x="200" y="161"/>
                  </a:lnTo>
                  <a:lnTo>
                    <a:pt x="198" y="161"/>
                  </a:lnTo>
                  <a:lnTo>
                    <a:pt x="198" y="158"/>
                  </a:lnTo>
                  <a:lnTo>
                    <a:pt x="198" y="161"/>
                  </a:lnTo>
                  <a:lnTo>
                    <a:pt x="198" y="158"/>
                  </a:lnTo>
                  <a:lnTo>
                    <a:pt x="200" y="158"/>
                  </a:lnTo>
                  <a:close/>
                  <a:moveTo>
                    <a:pt x="198" y="158"/>
                  </a:moveTo>
                  <a:lnTo>
                    <a:pt x="195" y="158"/>
                  </a:lnTo>
                  <a:lnTo>
                    <a:pt x="198" y="158"/>
                  </a:lnTo>
                  <a:close/>
                  <a:moveTo>
                    <a:pt x="191" y="158"/>
                  </a:moveTo>
                  <a:lnTo>
                    <a:pt x="188" y="158"/>
                  </a:lnTo>
                  <a:lnTo>
                    <a:pt x="191" y="158"/>
                  </a:lnTo>
                  <a:close/>
                  <a:moveTo>
                    <a:pt x="195" y="158"/>
                  </a:moveTo>
                  <a:lnTo>
                    <a:pt x="193" y="158"/>
                  </a:lnTo>
                  <a:lnTo>
                    <a:pt x="193" y="156"/>
                  </a:lnTo>
                  <a:lnTo>
                    <a:pt x="195" y="158"/>
                  </a:lnTo>
                  <a:close/>
                  <a:moveTo>
                    <a:pt x="174" y="142"/>
                  </a:moveTo>
                  <a:lnTo>
                    <a:pt x="177" y="142"/>
                  </a:lnTo>
                  <a:lnTo>
                    <a:pt x="174" y="142"/>
                  </a:lnTo>
                  <a:lnTo>
                    <a:pt x="172" y="142"/>
                  </a:lnTo>
                  <a:lnTo>
                    <a:pt x="172" y="140"/>
                  </a:lnTo>
                  <a:lnTo>
                    <a:pt x="172" y="142"/>
                  </a:lnTo>
                  <a:lnTo>
                    <a:pt x="174" y="142"/>
                  </a:lnTo>
                  <a:close/>
                  <a:moveTo>
                    <a:pt x="170" y="137"/>
                  </a:moveTo>
                  <a:lnTo>
                    <a:pt x="170" y="135"/>
                  </a:lnTo>
                  <a:lnTo>
                    <a:pt x="170" y="137"/>
                  </a:lnTo>
                  <a:close/>
                  <a:moveTo>
                    <a:pt x="174" y="140"/>
                  </a:moveTo>
                  <a:lnTo>
                    <a:pt x="174" y="137"/>
                  </a:lnTo>
                  <a:lnTo>
                    <a:pt x="172" y="135"/>
                  </a:lnTo>
                  <a:lnTo>
                    <a:pt x="174" y="135"/>
                  </a:lnTo>
                  <a:lnTo>
                    <a:pt x="174" y="137"/>
                  </a:lnTo>
                  <a:lnTo>
                    <a:pt x="174" y="140"/>
                  </a:lnTo>
                  <a:close/>
                  <a:moveTo>
                    <a:pt x="170" y="133"/>
                  </a:moveTo>
                  <a:lnTo>
                    <a:pt x="170" y="135"/>
                  </a:lnTo>
                  <a:lnTo>
                    <a:pt x="167" y="133"/>
                  </a:lnTo>
                  <a:lnTo>
                    <a:pt x="167" y="130"/>
                  </a:lnTo>
                  <a:lnTo>
                    <a:pt x="170" y="133"/>
                  </a:lnTo>
                  <a:close/>
                  <a:moveTo>
                    <a:pt x="156" y="116"/>
                  </a:moveTo>
                  <a:lnTo>
                    <a:pt x="153" y="114"/>
                  </a:lnTo>
                  <a:lnTo>
                    <a:pt x="153" y="112"/>
                  </a:lnTo>
                  <a:lnTo>
                    <a:pt x="153" y="114"/>
                  </a:lnTo>
                  <a:lnTo>
                    <a:pt x="156" y="114"/>
                  </a:lnTo>
                  <a:lnTo>
                    <a:pt x="156" y="116"/>
                  </a:lnTo>
                  <a:close/>
                  <a:moveTo>
                    <a:pt x="228" y="109"/>
                  </a:moveTo>
                  <a:lnTo>
                    <a:pt x="225" y="107"/>
                  </a:lnTo>
                  <a:lnTo>
                    <a:pt x="223" y="102"/>
                  </a:lnTo>
                  <a:lnTo>
                    <a:pt x="221" y="102"/>
                  </a:lnTo>
                  <a:lnTo>
                    <a:pt x="221" y="100"/>
                  </a:lnTo>
                  <a:lnTo>
                    <a:pt x="219" y="96"/>
                  </a:lnTo>
                  <a:lnTo>
                    <a:pt x="219" y="93"/>
                  </a:lnTo>
                  <a:lnTo>
                    <a:pt x="216" y="93"/>
                  </a:lnTo>
                  <a:lnTo>
                    <a:pt x="216" y="91"/>
                  </a:lnTo>
                  <a:lnTo>
                    <a:pt x="216" y="89"/>
                  </a:lnTo>
                  <a:lnTo>
                    <a:pt x="214" y="89"/>
                  </a:lnTo>
                  <a:lnTo>
                    <a:pt x="216" y="89"/>
                  </a:lnTo>
                  <a:lnTo>
                    <a:pt x="216" y="91"/>
                  </a:lnTo>
                  <a:lnTo>
                    <a:pt x="219" y="93"/>
                  </a:lnTo>
                  <a:lnTo>
                    <a:pt x="219" y="96"/>
                  </a:lnTo>
                  <a:lnTo>
                    <a:pt x="228" y="109"/>
                  </a:lnTo>
                  <a:close/>
                  <a:moveTo>
                    <a:pt x="207" y="79"/>
                  </a:moveTo>
                  <a:lnTo>
                    <a:pt x="207" y="77"/>
                  </a:lnTo>
                  <a:lnTo>
                    <a:pt x="207" y="79"/>
                  </a:lnTo>
                  <a:close/>
                  <a:moveTo>
                    <a:pt x="207" y="68"/>
                  </a:moveTo>
                  <a:lnTo>
                    <a:pt x="205" y="70"/>
                  </a:lnTo>
                  <a:lnTo>
                    <a:pt x="207" y="75"/>
                  </a:lnTo>
                  <a:lnTo>
                    <a:pt x="207" y="77"/>
                  </a:lnTo>
                  <a:lnTo>
                    <a:pt x="205" y="75"/>
                  </a:lnTo>
                  <a:lnTo>
                    <a:pt x="205" y="72"/>
                  </a:lnTo>
                  <a:lnTo>
                    <a:pt x="202" y="70"/>
                  </a:lnTo>
                  <a:lnTo>
                    <a:pt x="202" y="68"/>
                  </a:lnTo>
                  <a:lnTo>
                    <a:pt x="205" y="68"/>
                  </a:lnTo>
                  <a:lnTo>
                    <a:pt x="205" y="65"/>
                  </a:lnTo>
                  <a:lnTo>
                    <a:pt x="207" y="68"/>
                  </a:lnTo>
                  <a:close/>
                  <a:moveTo>
                    <a:pt x="146" y="70"/>
                  </a:moveTo>
                  <a:lnTo>
                    <a:pt x="146" y="72"/>
                  </a:lnTo>
                  <a:lnTo>
                    <a:pt x="146" y="70"/>
                  </a:lnTo>
                  <a:close/>
                  <a:moveTo>
                    <a:pt x="135" y="61"/>
                  </a:moveTo>
                  <a:lnTo>
                    <a:pt x="135" y="58"/>
                  </a:lnTo>
                  <a:lnTo>
                    <a:pt x="135" y="61"/>
                  </a:lnTo>
                  <a:close/>
                  <a:moveTo>
                    <a:pt x="74" y="49"/>
                  </a:moveTo>
                  <a:lnTo>
                    <a:pt x="74" y="51"/>
                  </a:lnTo>
                  <a:lnTo>
                    <a:pt x="72" y="51"/>
                  </a:lnTo>
                  <a:lnTo>
                    <a:pt x="74" y="49"/>
                  </a:lnTo>
                  <a:close/>
                  <a:moveTo>
                    <a:pt x="79" y="51"/>
                  </a:moveTo>
                  <a:lnTo>
                    <a:pt x="77" y="51"/>
                  </a:lnTo>
                  <a:lnTo>
                    <a:pt x="74" y="51"/>
                  </a:lnTo>
                  <a:lnTo>
                    <a:pt x="77" y="51"/>
                  </a:lnTo>
                  <a:lnTo>
                    <a:pt x="84" y="49"/>
                  </a:lnTo>
                  <a:lnTo>
                    <a:pt x="84" y="47"/>
                  </a:lnTo>
                  <a:lnTo>
                    <a:pt x="86" y="47"/>
                  </a:lnTo>
                  <a:lnTo>
                    <a:pt x="84" y="47"/>
                  </a:lnTo>
                  <a:lnTo>
                    <a:pt x="84" y="49"/>
                  </a:lnTo>
                  <a:lnTo>
                    <a:pt x="81" y="51"/>
                  </a:lnTo>
                  <a:lnTo>
                    <a:pt x="79" y="51"/>
                  </a:lnTo>
                  <a:close/>
                  <a:moveTo>
                    <a:pt x="88" y="44"/>
                  </a:moveTo>
                  <a:lnTo>
                    <a:pt x="86" y="44"/>
                  </a:lnTo>
                  <a:lnTo>
                    <a:pt x="88" y="44"/>
                  </a:lnTo>
                  <a:close/>
                  <a:moveTo>
                    <a:pt x="30" y="33"/>
                  </a:moveTo>
                  <a:lnTo>
                    <a:pt x="32" y="33"/>
                  </a:lnTo>
                  <a:lnTo>
                    <a:pt x="30" y="33"/>
                  </a:lnTo>
                  <a:lnTo>
                    <a:pt x="21" y="35"/>
                  </a:lnTo>
                  <a:lnTo>
                    <a:pt x="11" y="37"/>
                  </a:lnTo>
                  <a:lnTo>
                    <a:pt x="11" y="35"/>
                  </a:lnTo>
                  <a:lnTo>
                    <a:pt x="14" y="35"/>
                  </a:lnTo>
                  <a:lnTo>
                    <a:pt x="16" y="35"/>
                  </a:lnTo>
                  <a:lnTo>
                    <a:pt x="18" y="35"/>
                  </a:lnTo>
                  <a:lnTo>
                    <a:pt x="21" y="33"/>
                  </a:lnTo>
                  <a:lnTo>
                    <a:pt x="23" y="33"/>
                  </a:lnTo>
                  <a:lnTo>
                    <a:pt x="25" y="33"/>
                  </a:lnTo>
                  <a:lnTo>
                    <a:pt x="28" y="33"/>
                  </a:lnTo>
                  <a:lnTo>
                    <a:pt x="30" y="33"/>
                  </a:lnTo>
                  <a:close/>
                  <a:moveTo>
                    <a:pt x="74" y="14"/>
                  </a:moveTo>
                  <a:lnTo>
                    <a:pt x="77" y="16"/>
                  </a:lnTo>
                  <a:lnTo>
                    <a:pt x="79" y="16"/>
                  </a:lnTo>
                  <a:lnTo>
                    <a:pt x="81" y="16"/>
                  </a:lnTo>
                  <a:lnTo>
                    <a:pt x="84" y="16"/>
                  </a:lnTo>
                  <a:lnTo>
                    <a:pt x="86" y="16"/>
                  </a:lnTo>
                  <a:lnTo>
                    <a:pt x="88" y="16"/>
                  </a:lnTo>
                  <a:lnTo>
                    <a:pt x="91" y="14"/>
                  </a:lnTo>
                  <a:lnTo>
                    <a:pt x="93" y="14"/>
                  </a:lnTo>
                  <a:lnTo>
                    <a:pt x="95" y="14"/>
                  </a:lnTo>
                  <a:lnTo>
                    <a:pt x="97" y="14"/>
                  </a:lnTo>
                  <a:lnTo>
                    <a:pt x="100" y="14"/>
                  </a:lnTo>
                  <a:lnTo>
                    <a:pt x="104" y="14"/>
                  </a:lnTo>
                  <a:lnTo>
                    <a:pt x="107" y="14"/>
                  </a:lnTo>
                  <a:lnTo>
                    <a:pt x="109" y="14"/>
                  </a:lnTo>
                  <a:lnTo>
                    <a:pt x="114" y="14"/>
                  </a:lnTo>
                  <a:lnTo>
                    <a:pt x="116" y="14"/>
                  </a:lnTo>
                  <a:lnTo>
                    <a:pt x="118" y="14"/>
                  </a:lnTo>
                  <a:lnTo>
                    <a:pt x="123" y="12"/>
                  </a:lnTo>
                  <a:lnTo>
                    <a:pt x="125" y="12"/>
                  </a:lnTo>
                  <a:lnTo>
                    <a:pt x="128" y="12"/>
                  </a:lnTo>
                  <a:lnTo>
                    <a:pt x="130" y="12"/>
                  </a:lnTo>
                  <a:lnTo>
                    <a:pt x="135" y="12"/>
                  </a:lnTo>
                  <a:lnTo>
                    <a:pt x="137" y="12"/>
                  </a:lnTo>
                  <a:lnTo>
                    <a:pt x="139" y="12"/>
                  </a:lnTo>
                  <a:lnTo>
                    <a:pt x="142" y="12"/>
                  </a:lnTo>
                  <a:lnTo>
                    <a:pt x="144" y="12"/>
                  </a:lnTo>
                  <a:lnTo>
                    <a:pt x="146" y="12"/>
                  </a:lnTo>
                  <a:lnTo>
                    <a:pt x="149" y="12"/>
                  </a:lnTo>
                  <a:lnTo>
                    <a:pt x="149" y="9"/>
                  </a:lnTo>
                  <a:lnTo>
                    <a:pt x="151" y="9"/>
                  </a:lnTo>
                  <a:lnTo>
                    <a:pt x="151" y="12"/>
                  </a:lnTo>
                  <a:lnTo>
                    <a:pt x="149" y="12"/>
                  </a:lnTo>
                  <a:lnTo>
                    <a:pt x="151" y="12"/>
                  </a:lnTo>
                  <a:lnTo>
                    <a:pt x="151" y="14"/>
                  </a:lnTo>
                  <a:lnTo>
                    <a:pt x="151" y="16"/>
                  </a:lnTo>
                  <a:lnTo>
                    <a:pt x="153" y="16"/>
                  </a:lnTo>
                  <a:lnTo>
                    <a:pt x="156" y="16"/>
                  </a:lnTo>
                  <a:lnTo>
                    <a:pt x="156" y="14"/>
                  </a:lnTo>
                  <a:lnTo>
                    <a:pt x="156" y="12"/>
                  </a:lnTo>
                  <a:lnTo>
                    <a:pt x="156" y="9"/>
                  </a:lnTo>
                  <a:lnTo>
                    <a:pt x="156" y="7"/>
                  </a:lnTo>
                  <a:lnTo>
                    <a:pt x="156" y="5"/>
                  </a:lnTo>
                  <a:lnTo>
                    <a:pt x="153" y="5"/>
                  </a:lnTo>
                  <a:lnTo>
                    <a:pt x="156" y="5"/>
                  </a:lnTo>
                  <a:lnTo>
                    <a:pt x="156" y="2"/>
                  </a:lnTo>
                  <a:lnTo>
                    <a:pt x="156" y="0"/>
                  </a:lnTo>
                  <a:lnTo>
                    <a:pt x="158" y="0"/>
                  </a:lnTo>
                  <a:lnTo>
                    <a:pt x="158" y="2"/>
                  </a:lnTo>
                  <a:lnTo>
                    <a:pt x="160" y="2"/>
                  </a:lnTo>
                  <a:lnTo>
                    <a:pt x="163" y="2"/>
                  </a:lnTo>
                  <a:lnTo>
                    <a:pt x="165" y="2"/>
                  </a:lnTo>
                  <a:lnTo>
                    <a:pt x="167" y="2"/>
                  </a:lnTo>
                  <a:lnTo>
                    <a:pt x="170" y="2"/>
                  </a:lnTo>
                  <a:lnTo>
                    <a:pt x="172" y="2"/>
                  </a:lnTo>
                  <a:lnTo>
                    <a:pt x="172" y="5"/>
                  </a:lnTo>
                  <a:lnTo>
                    <a:pt x="172" y="7"/>
                  </a:lnTo>
                  <a:lnTo>
                    <a:pt x="172" y="5"/>
                  </a:lnTo>
                  <a:lnTo>
                    <a:pt x="170" y="5"/>
                  </a:lnTo>
                  <a:lnTo>
                    <a:pt x="170" y="7"/>
                  </a:lnTo>
                  <a:lnTo>
                    <a:pt x="172" y="7"/>
                  </a:lnTo>
                  <a:lnTo>
                    <a:pt x="172" y="9"/>
                  </a:lnTo>
                  <a:lnTo>
                    <a:pt x="174" y="9"/>
                  </a:lnTo>
                  <a:lnTo>
                    <a:pt x="174" y="12"/>
                  </a:lnTo>
                  <a:lnTo>
                    <a:pt x="174" y="14"/>
                  </a:lnTo>
                  <a:lnTo>
                    <a:pt x="177" y="19"/>
                  </a:lnTo>
                  <a:lnTo>
                    <a:pt x="177" y="23"/>
                  </a:lnTo>
                  <a:lnTo>
                    <a:pt x="179" y="26"/>
                  </a:lnTo>
                  <a:lnTo>
                    <a:pt x="179" y="28"/>
                  </a:lnTo>
                  <a:lnTo>
                    <a:pt x="181" y="28"/>
                  </a:lnTo>
                  <a:lnTo>
                    <a:pt x="181" y="30"/>
                  </a:lnTo>
                  <a:lnTo>
                    <a:pt x="181" y="33"/>
                  </a:lnTo>
                  <a:lnTo>
                    <a:pt x="184" y="33"/>
                  </a:lnTo>
                  <a:lnTo>
                    <a:pt x="184" y="35"/>
                  </a:lnTo>
                  <a:lnTo>
                    <a:pt x="184" y="37"/>
                  </a:lnTo>
                  <a:lnTo>
                    <a:pt x="186" y="40"/>
                  </a:lnTo>
                  <a:lnTo>
                    <a:pt x="188" y="44"/>
                  </a:lnTo>
                  <a:lnTo>
                    <a:pt x="191" y="47"/>
                  </a:lnTo>
                  <a:lnTo>
                    <a:pt x="193" y="49"/>
                  </a:lnTo>
                  <a:lnTo>
                    <a:pt x="193" y="51"/>
                  </a:lnTo>
                  <a:lnTo>
                    <a:pt x="195" y="51"/>
                  </a:lnTo>
                  <a:lnTo>
                    <a:pt x="195" y="54"/>
                  </a:lnTo>
                  <a:lnTo>
                    <a:pt x="200" y="61"/>
                  </a:lnTo>
                  <a:lnTo>
                    <a:pt x="202" y="63"/>
                  </a:lnTo>
                  <a:lnTo>
                    <a:pt x="205" y="63"/>
                  </a:lnTo>
                  <a:lnTo>
                    <a:pt x="207" y="68"/>
                  </a:lnTo>
                  <a:lnTo>
                    <a:pt x="209" y="68"/>
                  </a:lnTo>
                  <a:lnTo>
                    <a:pt x="209" y="70"/>
                  </a:lnTo>
                  <a:lnTo>
                    <a:pt x="207" y="72"/>
                  </a:lnTo>
                  <a:lnTo>
                    <a:pt x="209" y="75"/>
                  </a:lnTo>
                  <a:lnTo>
                    <a:pt x="207" y="75"/>
                  </a:lnTo>
                  <a:lnTo>
                    <a:pt x="209" y="75"/>
                  </a:lnTo>
                  <a:lnTo>
                    <a:pt x="209" y="77"/>
                  </a:lnTo>
                  <a:lnTo>
                    <a:pt x="209" y="79"/>
                  </a:lnTo>
                  <a:lnTo>
                    <a:pt x="209" y="82"/>
                  </a:lnTo>
                  <a:lnTo>
                    <a:pt x="212" y="82"/>
                  </a:lnTo>
                  <a:lnTo>
                    <a:pt x="212" y="84"/>
                  </a:lnTo>
                  <a:lnTo>
                    <a:pt x="214" y="86"/>
                  </a:lnTo>
                  <a:lnTo>
                    <a:pt x="214" y="89"/>
                  </a:lnTo>
                  <a:lnTo>
                    <a:pt x="214" y="86"/>
                  </a:lnTo>
                  <a:lnTo>
                    <a:pt x="212" y="86"/>
                  </a:lnTo>
                  <a:lnTo>
                    <a:pt x="212" y="84"/>
                  </a:lnTo>
                  <a:lnTo>
                    <a:pt x="209" y="82"/>
                  </a:lnTo>
                  <a:lnTo>
                    <a:pt x="209" y="79"/>
                  </a:lnTo>
                  <a:lnTo>
                    <a:pt x="207" y="79"/>
                  </a:lnTo>
                  <a:lnTo>
                    <a:pt x="207" y="72"/>
                  </a:lnTo>
                  <a:lnTo>
                    <a:pt x="207" y="68"/>
                  </a:lnTo>
                  <a:lnTo>
                    <a:pt x="207" y="65"/>
                  </a:lnTo>
                  <a:lnTo>
                    <a:pt x="205" y="65"/>
                  </a:lnTo>
                  <a:lnTo>
                    <a:pt x="202" y="65"/>
                  </a:lnTo>
                  <a:lnTo>
                    <a:pt x="200" y="65"/>
                  </a:lnTo>
                  <a:lnTo>
                    <a:pt x="200" y="63"/>
                  </a:lnTo>
                  <a:lnTo>
                    <a:pt x="202" y="63"/>
                  </a:lnTo>
                  <a:lnTo>
                    <a:pt x="200" y="61"/>
                  </a:lnTo>
                  <a:lnTo>
                    <a:pt x="198" y="61"/>
                  </a:lnTo>
                  <a:lnTo>
                    <a:pt x="200" y="63"/>
                  </a:lnTo>
                  <a:lnTo>
                    <a:pt x="200" y="65"/>
                  </a:lnTo>
                  <a:lnTo>
                    <a:pt x="200" y="68"/>
                  </a:lnTo>
                  <a:lnTo>
                    <a:pt x="202" y="68"/>
                  </a:lnTo>
                  <a:lnTo>
                    <a:pt x="202" y="72"/>
                  </a:lnTo>
                  <a:lnTo>
                    <a:pt x="205" y="75"/>
                  </a:lnTo>
                  <a:lnTo>
                    <a:pt x="205" y="77"/>
                  </a:lnTo>
                  <a:lnTo>
                    <a:pt x="212" y="86"/>
                  </a:lnTo>
                  <a:lnTo>
                    <a:pt x="219" y="96"/>
                  </a:lnTo>
                  <a:lnTo>
                    <a:pt x="221" y="100"/>
                  </a:lnTo>
                  <a:lnTo>
                    <a:pt x="225" y="109"/>
                  </a:lnTo>
                  <a:lnTo>
                    <a:pt x="225" y="107"/>
                  </a:lnTo>
                  <a:lnTo>
                    <a:pt x="223" y="107"/>
                  </a:lnTo>
                  <a:lnTo>
                    <a:pt x="223" y="109"/>
                  </a:lnTo>
                  <a:lnTo>
                    <a:pt x="225" y="109"/>
                  </a:lnTo>
                  <a:lnTo>
                    <a:pt x="228" y="109"/>
                  </a:lnTo>
                  <a:lnTo>
                    <a:pt x="228" y="112"/>
                  </a:lnTo>
                  <a:lnTo>
                    <a:pt x="230" y="112"/>
                  </a:lnTo>
                  <a:lnTo>
                    <a:pt x="230" y="114"/>
                  </a:lnTo>
                  <a:lnTo>
                    <a:pt x="230" y="116"/>
                  </a:lnTo>
                  <a:lnTo>
                    <a:pt x="232" y="116"/>
                  </a:lnTo>
                  <a:lnTo>
                    <a:pt x="232" y="121"/>
                  </a:lnTo>
                  <a:lnTo>
                    <a:pt x="232" y="123"/>
                  </a:lnTo>
                  <a:lnTo>
                    <a:pt x="235" y="128"/>
                  </a:lnTo>
                  <a:lnTo>
                    <a:pt x="235" y="133"/>
                  </a:lnTo>
                  <a:lnTo>
                    <a:pt x="235" y="135"/>
                  </a:lnTo>
                  <a:lnTo>
                    <a:pt x="235" y="137"/>
                  </a:lnTo>
                  <a:lnTo>
                    <a:pt x="235" y="142"/>
                  </a:lnTo>
                  <a:lnTo>
                    <a:pt x="235" y="144"/>
                  </a:lnTo>
                  <a:lnTo>
                    <a:pt x="237" y="154"/>
                  </a:lnTo>
                  <a:lnTo>
                    <a:pt x="235" y="154"/>
                  </a:lnTo>
                  <a:lnTo>
                    <a:pt x="235" y="151"/>
                  </a:lnTo>
                  <a:lnTo>
                    <a:pt x="235" y="149"/>
                  </a:lnTo>
                  <a:lnTo>
                    <a:pt x="235" y="151"/>
                  </a:lnTo>
                  <a:lnTo>
                    <a:pt x="235" y="154"/>
                  </a:lnTo>
                  <a:lnTo>
                    <a:pt x="235" y="156"/>
                  </a:lnTo>
                  <a:lnTo>
                    <a:pt x="232" y="156"/>
                  </a:lnTo>
                  <a:lnTo>
                    <a:pt x="232" y="158"/>
                  </a:lnTo>
                  <a:lnTo>
                    <a:pt x="232" y="161"/>
                  </a:lnTo>
                  <a:lnTo>
                    <a:pt x="232" y="163"/>
                  </a:lnTo>
                  <a:lnTo>
                    <a:pt x="232" y="165"/>
                  </a:lnTo>
                  <a:lnTo>
                    <a:pt x="232" y="168"/>
                  </a:lnTo>
                  <a:lnTo>
                    <a:pt x="232" y="170"/>
                  </a:lnTo>
                  <a:lnTo>
                    <a:pt x="230" y="170"/>
                  </a:lnTo>
                  <a:lnTo>
                    <a:pt x="230" y="172"/>
                  </a:lnTo>
                  <a:lnTo>
                    <a:pt x="230" y="175"/>
                  </a:lnTo>
                  <a:lnTo>
                    <a:pt x="232" y="175"/>
                  </a:lnTo>
                  <a:lnTo>
                    <a:pt x="230" y="175"/>
                  </a:lnTo>
                  <a:lnTo>
                    <a:pt x="230" y="172"/>
                  </a:lnTo>
                  <a:lnTo>
                    <a:pt x="228" y="172"/>
                  </a:lnTo>
                  <a:lnTo>
                    <a:pt x="228" y="175"/>
                  </a:lnTo>
                  <a:lnTo>
                    <a:pt x="230" y="175"/>
                  </a:lnTo>
                  <a:lnTo>
                    <a:pt x="228" y="175"/>
                  </a:lnTo>
                  <a:lnTo>
                    <a:pt x="228" y="172"/>
                  </a:lnTo>
                  <a:lnTo>
                    <a:pt x="225" y="172"/>
                  </a:lnTo>
                  <a:lnTo>
                    <a:pt x="225" y="175"/>
                  </a:lnTo>
                  <a:lnTo>
                    <a:pt x="223" y="175"/>
                  </a:lnTo>
                  <a:lnTo>
                    <a:pt x="223" y="177"/>
                  </a:lnTo>
                  <a:lnTo>
                    <a:pt x="225" y="177"/>
                  </a:lnTo>
                  <a:lnTo>
                    <a:pt x="223" y="177"/>
                  </a:lnTo>
                  <a:lnTo>
                    <a:pt x="221" y="177"/>
                  </a:lnTo>
                  <a:lnTo>
                    <a:pt x="219" y="177"/>
                  </a:lnTo>
                  <a:lnTo>
                    <a:pt x="216" y="179"/>
                  </a:lnTo>
                  <a:lnTo>
                    <a:pt x="214" y="179"/>
                  </a:lnTo>
                  <a:lnTo>
                    <a:pt x="212" y="179"/>
                  </a:lnTo>
                  <a:lnTo>
                    <a:pt x="209" y="179"/>
                  </a:lnTo>
                  <a:lnTo>
                    <a:pt x="209" y="177"/>
                  </a:lnTo>
                  <a:lnTo>
                    <a:pt x="209" y="175"/>
                  </a:lnTo>
                  <a:lnTo>
                    <a:pt x="209" y="172"/>
                  </a:lnTo>
                  <a:lnTo>
                    <a:pt x="209" y="175"/>
                  </a:lnTo>
                  <a:lnTo>
                    <a:pt x="212" y="175"/>
                  </a:lnTo>
                  <a:lnTo>
                    <a:pt x="214" y="177"/>
                  </a:lnTo>
                  <a:lnTo>
                    <a:pt x="216" y="177"/>
                  </a:lnTo>
                  <a:lnTo>
                    <a:pt x="216" y="175"/>
                  </a:lnTo>
                  <a:lnTo>
                    <a:pt x="214" y="172"/>
                  </a:lnTo>
                  <a:lnTo>
                    <a:pt x="212" y="172"/>
                  </a:lnTo>
                  <a:lnTo>
                    <a:pt x="209" y="172"/>
                  </a:lnTo>
                  <a:lnTo>
                    <a:pt x="209" y="170"/>
                  </a:lnTo>
                  <a:lnTo>
                    <a:pt x="207" y="170"/>
                  </a:lnTo>
                  <a:lnTo>
                    <a:pt x="207" y="168"/>
                  </a:lnTo>
                  <a:lnTo>
                    <a:pt x="207" y="165"/>
                  </a:lnTo>
                  <a:lnTo>
                    <a:pt x="205" y="168"/>
                  </a:lnTo>
                  <a:lnTo>
                    <a:pt x="205" y="165"/>
                  </a:lnTo>
                  <a:lnTo>
                    <a:pt x="205" y="163"/>
                  </a:lnTo>
                  <a:lnTo>
                    <a:pt x="202" y="163"/>
                  </a:lnTo>
                  <a:lnTo>
                    <a:pt x="200" y="161"/>
                  </a:lnTo>
                  <a:lnTo>
                    <a:pt x="202" y="161"/>
                  </a:lnTo>
                  <a:lnTo>
                    <a:pt x="200" y="161"/>
                  </a:lnTo>
                  <a:lnTo>
                    <a:pt x="200" y="158"/>
                  </a:lnTo>
                  <a:lnTo>
                    <a:pt x="198" y="158"/>
                  </a:lnTo>
                  <a:lnTo>
                    <a:pt x="195" y="156"/>
                  </a:lnTo>
                  <a:lnTo>
                    <a:pt x="195" y="158"/>
                  </a:lnTo>
                  <a:lnTo>
                    <a:pt x="195" y="156"/>
                  </a:lnTo>
                  <a:lnTo>
                    <a:pt x="193" y="156"/>
                  </a:lnTo>
                  <a:lnTo>
                    <a:pt x="193" y="158"/>
                  </a:lnTo>
                  <a:lnTo>
                    <a:pt x="193" y="156"/>
                  </a:lnTo>
                  <a:lnTo>
                    <a:pt x="191" y="156"/>
                  </a:lnTo>
                  <a:lnTo>
                    <a:pt x="191" y="158"/>
                  </a:lnTo>
                  <a:lnTo>
                    <a:pt x="188" y="158"/>
                  </a:lnTo>
                  <a:lnTo>
                    <a:pt x="188" y="156"/>
                  </a:lnTo>
                  <a:lnTo>
                    <a:pt x="191" y="156"/>
                  </a:lnTo>
                  <a:lnTo>
                    <a:pt x="188" y="156"/>
                  </a:lnTo>
                  <a:lnTo>
                    <a:pt x="188" y="154"/>
                  </a:lnTo>
                  <a:lnTo>
                    <a:pt x="186" y="154"/>
                  </a:lnTo>
                  <a:lnTo>
                    <a:pt x="186" y="151"/>
                  </a:lnTo>
                  <a:lnTo>
                    <a:pt x="184" y="149"/>
                  </a:lnTo>
                  <a:lnTo>
                    <a:pt x="184" y="147"/>
                  </a:lnTo>
                  <a:lnTo>
                    <a:pt x="184" y="144"/>
                  </a:lnTo>
                  <a:lnTo>
                    <a:pt x="184" y="142"/>
                  </a:lnTo>
                  <a:lnTo>
                    <a:pt x="181" y="142"/>
                  </a:lnTo>
                  <a:lnTo>
                    <a:pt x="181" y="140"/>
                  </a:lnTo>
                  <a:lnTo>
                    <a:pt x="181" y="142"/>
                  </a:lnTo>
                  <a:lnTo>
                    <a:pt x="179" y="142"/>
                  </a:lnTo>
                  <a:lnTo>
                    <a:pt x="179" y="140"/>
                  </a:lnTo>
                  <a:lnTo>
                    <a:pt x="177" y="140"/>
                  </a:lnTo>
                  <a:lnTo>
                    <a:pt x="179" y="140"/>
                  </a:lnTo>
                  <a:lnTo>
                    <a:pt x="179" y="137"/>
                  </a:lnTo>
                  <a:lnTo>
                    <a:pt x="181" y="137"/>
                  </a:lnTo>
                  <a:lnTo>
                    <a:pt x="179" y="135"/>
                  </a:lnTo>
                  <a:lnTo>
                    <a:pt x="181" y="135"/>
                  </a:lnTo>
                  <a:lnTo>
                    <a:pt x="181" y="133"/>
                  </a:lnTo>
                  <a:lnTo>
                    <a:pt x="184" y="133"/>
                  </a:lnTo>
                  <a:lnTo>
                    <a:pt x="181" y="133"/>
                  </a:lnTo>
                  <a:lnTo>
                    <a:pt x="179" y="135"/>
                  </a:lnTo>
                  <a:lnTo>
                    <a:pt x="179" y="137"/>
                  </a:lnTo>
                  <a:lnTo>
                    <a:pt x="179" y="140"/>
                  </a:lnTo>
                  <a:lnTo>
                    <a:pt x="177" y="140"/>
                  </a:lnTo>
                  <a:lnTo>
                    <a:pt x="177" y="137"/>
                  </a:lnTo>
                  <a:lnTo>
                    <a:pt x="177" y="140"/>
                  </a:lnTo>
                  <a:lnTo>
                    <a:pt x="174" y="137"/>
                  </a:lnTo>
                  <a:lnTo>
                    <a:pt x="177" y="137"/>
                  </a:lnTo>
                  <a:lnTo>
                    <a:pt x="174" y="137"/>
                  </a:lnTo>
                  <a:lnTo>
                    <a:pt x="174" y="135"/>
                  </a:lnTo>
                  <a:lnTo>
                    <a:pt x="174" y="133"/>
                  </a:lnTo>
                  <a:lnTo>
                    <a:pt x="174" y="130"/>
                  </a:lnTo>
                  <a:lnTo>
                    <a:pt x="174" y="128"/>
                  </a:lnTo>
                  <a:lnTo>
                    <a:pt x="172" y="128"/>
                  </a:lnTo>
                  <a:lnTo>
                    <a:pt x="174" y="126"/>
                  </a:lnTo>
                  <a:lnTo>
                    <a:pt x="177" y="123"/>
                  </a:lnTo>
                  <a:lnTo>
                    <a:pt x="174" y="123"/>
                  </a:lnTo>
                  <a:lnTo>
                    <a:pt x="174" y="126"/>
                  </a:lnTo>
                  <a:lnTo>
                    <a:pt x="172" y="126"/>
                  </a:lnTo>
                  <a:lnTo>
                    <a:pt x="170" y="126"/>
                  </a:lnTo>
                  <a:lnTo>
                    <a:pt x="167" y="126"/>
                  </a:lnTo>
                  <a:lnTo>
                    <a:pt x="167" y="123"/>
                  </a:lnTo>
                  <a:lnTo>
                    <a:pt x="167" y="126"/>
                  </a:lnTo>
                  <a:lnTo>
                    <a:pt x="170" y="126"/>
                  </a:lnTo>
                  <a:lnTo>
                    <a:pt x="170" y="128"/>
                  </a:lnTo>
                  <a:lnTo>
                    <a:pt x="172" y="128"/>
                  </a:lnTo>
                  <a:lnTo>
                    <a:pt x="172" y="130"/>
                  </a:lnTo>
                  <a:lnTo>
                    <a:pt x="170" y="130"/>
                  </a:lnTo>
                  <a:lnTo>
                    <a:pt x="167" y="130"/>
                  </a:lnTo>
                  <a:lnTo>
                    <a:pt x="165" y="128"/>
                  </a:lnTo>
                  <a:lnTo>
                    <a:pt x="165" y="126"/>
                  </a:lnTo>
                  <a:lnTo>
                    <a:pt x="165" y="128"/>
                  </a:lnTo>
                  <a:lnTo>
                    <a:pt x="160" y="123"/>
                  </a:lnTo>
                  <a:lnTo>
                    <a:pt x="160" y="121"/>
                  </a:lnTo>
                  <a:lnTo>
                    <a:pt x="160" y="119"/>
                  </a:lnTo>
                  <a:lnTo>
                    <a:pt x="160" y="121"/>
                  </a:lnTo>
                  <a:lnTo>
                    <a:pt x="160" y="119"/>
                  </a:lnTo>
                  <a:lnTo>
                    <a:pt x="158" y="119"/>
                  </a:lnTo>
                  <a:lnTo>
                    <a:pt x="158" y="116"/>
                  </a:lnTo>
                  <a:lnTo>
                    <a:pt x="158" y="114"/>
                  </a:lnTo>
                  <a:lnTo>
                    <a:pt x="156" y="114"/>
                  </a:lnTo>
                  <a:lnTo>
                    <a:pt x="153" y="112"/>
                  </a:lnTo>
                  <a:lnTo>
                    <a:pt x="151" y="112"/>
                  </a:lnTo>
                  <a:lnTo>
                    <a:pt x="151" y="109"/>
                  </a:lnTo>
                  <a:lnTo>
                    <a:pt x="151" y="112"/>
                  </a:lnTo>
                  <a:lnTo>
                    <a:pt x="153" y="112"/>
                  </a:lnTo>
                  <a:lnTo>
                    <a:pt x="153" y="109"/>
                  </a:lnTo>
                  <a:lnTo>
                    <a:pt x="156" y="109"/>
                  </a:lnTo>
                  <a:lnTo>
                    <a:pt x="153" y="109"/>
                  </a:lnTo>
                  <a:lnTo>
                    <a:pt x="156" y="109"/>
                  </a:lnTo>
                  <a:lnTo>
                    <a:pt x="153" y="109"/>
                  </a:lnTo>
                  <a:lnTo>
                    <a:pt x="156" y="109"/>
                  </a:lnTo>
                  <a:lnTo>
                    <a:pt x="156" y="107"/>
                  </a:lnTo>
                  <a:lnTo>
                    <a:pt x="156" y="105"/>
                  </a:lnTo>
                  <a:lnTo>
                    <a:pt x="158" y="105"/>
                  </a:lnTo>
                  <a:lnTo>
                    <a:pt x="158" y="102"/>
                  </a:lnTo>
                  <a:lnTo>
                    <a:pt x="158" y="100"/>
                  </a:lnTo>
                  <a:lnTo>
                    <a:pt x="160" y="100"/>
                  </a:lnTo>
                  <a:lnTo>
                    <a:pt x="160" y="98"/>
                  </a:lnTo>
                  <a:lnTo>
                    <a:pt x="158" y="98"/>
                  </a:lnTo>
                  <a:lnTo>
                    <a:pt x="158" y="96"/>
                  </a:lnTo>
                  <a:lnTo>
                    <a:pt x="156" y="96"/>
                  </a:lnTo>
                  <a:lnTo>
                    <a:pt x="156" y="98"/>
                  </a:lnTo>
                  <a:lnTo>
                    <a:pt x="158" y="98"/>
                  </a:lnTo>
                  <a:lnTo>
                    <a:pt x="158" y="100"/>
                  </a:lnTo>
                  <a:lnTo>
                    <a:pt x="156" y="100"/>
                  </a:lnTo>
                  <a:lnTo>
                    <a:pt x="156" y="98"/>
                  </a:lnTo>
                  <a:lnTo>
                    <a:pt x="156" y="96"/>
                  </a:lnTo>
                  <a:lnTo>
                    <a:pt x="153" y="96"/>
                  </a:lnTo>
                  <a:lnTo>
                    <a:pt x="151" y="96"/>
                  </a:lnTo>
                  <a:lnTo>
                    <a:pt x="151" y="93"/>
                  </a:lnTo>
                  <a:lnTo>
                    <a:pt x="151" y="96"/>
                  </a:lnTo>
                  <a:lnTo>
                    <a:pt x="149" y="93"/>
                  </a:lnTo>
                  <a:lnTo>
                    <a:pt x="151" y="93"/>
                  </a:lnTo>
                  <a:lnTo>
                    <a:pt x="151" y="96"/>
                  </a:lnTo>
                  <a:lnTo>
                    <a:pt x="149" y="98"/>
                  </a:lnTo>
                  <a:lnTo>
                    <a:pt x="151" y="98"/>
                  </a:lnTo>
                  <a:lnTo>
                    <a:pt x="153" y="98"/>
                  </a:lnTo>
                  <a:lnTo>
                    <a:pt x="153" y="100"/>
                  </a:lnTo>
                  <a:lnTo>
                    <a:pt x="153" y="102"/>
                  </a:lnTo>
                  <a:lnTo>
                    <a:pt x="153" y="105"/>
                  </a:lnTo>
                  <a:lnTo>
                    <a:pt x="151" y="105"/>
                  </a:lnTo>
                  <a:lnTo>
                    <a:pt x="151" y="102"/>
                  </a:lnTo>
                  <a:lnTo>
                    <a:pt x="149" y="102"/>
                  </a:lnTo>
                  <a:lnTo>
                    <a:pt x="149" y="100"/>
                  </a:lnTo>
                  <a:lnTo>
                    <a:pt x="146" y="100"/>
                  </a:lnTo>
                  <a:lnTo>
                    <a:pt x="149" y="102"/>
                  </a:lnTo>
                  <a:lnTo>
                    <a:pt x="151" y="105"/>
                  </a:lnTo>
                  <a:lnTo>
                    <a:pt x="149" y="105"/>
                  </a:lnTo>
                  <a:lnTo>
                    <a:pt x="149" y="102"/>
                  </a:lnTo>
                  <a:lnTo>
                    <a:pt x="146" y="102"/>
                  </a:lnTo>
                  <a:lnTo>
                    <a:pt x="146" y="100"/>
                  </a:lnTo>
                  <a:lnTo>
                    <a:pt x="146" y="98"/>
                  </a:lnTo>
                  <a:lnTo>
                    <a:pt x="146" y="96"/>
                  </a:lnTo>
                  <a:lnTo>
                    <a:pt x="146" y="93"/>
                  </a:lnTo>
                  <a:lnTo>
                    <a:pt x="146" y="91"/>
                  </a:lnTo>
                  <a:lnTo>
                    <a:pt x="146" y="89"/>
                  </a:lnTo>
                  <a:lnTo>
                    <a:pt x="146" y="86"/>
                  </a:lnTo>
                  <a:lnTo>
                    <a:pt x="149" y="86"/>
                  </a:lnTo>
                  <a:lnTo>
                    <a:pt x="149" y="84"/>
                  </a:lnTo>
                  <a:lnTo>
                    <a:pt x="146" y="84"/>
                  </a:lnTo>
                  <a:lnTo>
                    <a:pt x="146" y="86"/>
                  </a:lnTo>
                  <a:lnTo>
                    <a:pt x="149" y="82"/>
                  </a:lnTo>
                  <a:lnTo>
                    <a:pt x="149" y="79"/>
                  </a:lnTo>
                  <a:lnTo>
                    <a:pt x="149" y="77"/>
                  </a:lnTo>
                  <a:lnTo>
                    <a:pt x="149" y="75"/>
                  </a:lnTo>
                  <a:lnTo>
                    <a:pt x="149" y="72"/>
                  </a:lnTo>
                  <a:lnTo>
                    <a:pt x="149" y="70"/>
                  </a:lnTo>
                  <a:lnTo>
                    <a:pt x="146" y="70"/>
                  </a:lnTo>
                  <a:lnTo>
                    <a:pt x="146" y="68"/>
                  </a:lnTo>
                  <a:lnTo>
                    <a:pt x="149" y="70"/>
                  </a:lnTo>
                  <a:lnTo>
                    <a:pt x="146" y="68"/>
                  </a:lnTo>
                  <a:lnTo>
                    <a:pt x="146" y="65"/>
                  </a:lnTo>
                  <a:lnTo>
                    <a:pt x="144" y="63"/>
                  </a:lnTo>
                  <a:lnTo>
                    <a:pt x="144" y="61"/>
                  </a:lnTo>
                  <a:lnTo>
                    <a:pt x="142" y="61"/>
                  </a:lnTo>
                  <a:lnTo>
                    <a:pt x="142" y="58"/>
                  </a:lnTo>
                  <a:lnTo>
                    <a:pt x="139" y="58"/>
                  </a:lnTo>
                  <a:lnTo>
                    <a:pt x="137" y="58"/>
                  </a:lnTo>
                  <a:lnTo>
                    <a:pt x="135" y="58"/>
                  </a:lnTo>
                  <a:lnTo>
                    <a:pt x="132" y="58"/>
                  </a:lnTo>
                  <a:lnTo>
                    <a:pt x="132" y="56"/>
                  </a:lnTo>
                  <a:lnTo>
                    <a:pt x="130" y="56"/>
                  </a:lnTo>
                  <a:lnTo>
                    <a:pt x="130" y="54"/>
                  </a:lnTo>
                  <a:lnTo>
                    <a:pt x="128" y="51"/>
                  </a:lnTo>
                  <a:lnTo>
                    <a:pt x="125" y="51"/>
                  </a:lnTo>
                  <a:lnTo>
                    <a:pt x="123" y="49"/>
                  </a:lnTo>
                  <a:lnTo>
                    <a:pt x="123" y="47"/>
                  </a:lnTo>
                  <a:lnTo>
                    <a:pt x="123" y="44"/>
                  </a:lnTo>
                  <a:lnTo>
                    <a:pt x="121" y="44"/>
                  </a:lnTo>
                  <a:lnTo>
                    <a:pt x="118" y="44"/>
                  </a:lnTo>
                  <a:lnTo>
                    <a:pt x="118" y="42"/>
                  </a:lnTo>
                  <a:lnTo>
                    <a:pt x="116" y="42"/>
                  </a:lnTo>
                  <a:lnTo>
                    <a:pt x="116" y="40"/>
                  </a:lnTo>
                  <a:lnTo>
                    <a:pt x="114" y="40"/>
                  </a:lnTo>
                  <a:lnTo>
                    <a:pt x="114" y="37"/>
                  </a:lnTo>
                  <a:lnTo>
                    <a:pt x="111" y="37"/>
                  </a:lnTo>
                  <a:lnTo>
                    <a:pt x="111" y="35"/>
                  </a:lnTo>
                  <a:lnTo>
                    <a:pt x="109" y="35"/>
                  </a:lnTo>
                  <a:lnTo>
                    <a:pt x="107" y="35"/>
                  </a:lnTo>
                  <a:lnTo>
                    <a:pt x="104" y="35"/>
                  </a:lnTo>
                  <a:lnTo>
                    <a:pt x="102" y="33"/>
                  </a:lnTo>
                  <a:lnTo>
                    <a:pt x="100" y="33"/>
                  </a:lnTo>
                  <a:lnTo>
                    <a:pt x="97" y="35"/>
                  </a:lnTo>
                  <a:lnTo>
                    <a:pt x="97" y="33"/>
                  </a:lnTo>
                  <a:lnTo>
                    <a:pt x="95" y="33"/>
                  </a:lnTo>
                  <a:lnTo>
                    <a:pt x="97" y="33"/>
                  </a:lnTo>
                  <a:lnTo>
                    <a:pt x="95" y="33"/>
                  </a:lnTo>
                  <a:lnTo>
                    <a:pt x="95" y="35"/>
                  </a:lnTo>
                  <a:lnTo>
                    <a:pt x="93" y="35"/>
                  </a:lnTo>
                  <a:lnTo>
                    <a:pt x="93" y="37"/>
                  </a:lnTo>
                  <a:lnTo>
                    <a:pt x="95" y="37"/>
                  </a:lnTo>
                  <a:lnTo>
                    <a:pt x="93" y="37"/>
                  </a:lnTo>
                  <a:lnTo>
                    <a:pt x="91" y="37"/>
                  </a:lnTo>
                  <a:lnTo>
                    <a:pt x="91" y="40"/>
                  </a:lnTo>
                  <a:lnTo>
                    <a:pt x="93" y="40"/>
                  </a:lnTo>
                  <a:lnTo>
                    <a:pt x="95" y="40"/>
                  </a:lnTo>
                  <a:lnTo>
                    <a:pt x="93" y="42"/>
                  </a:lnTo>
                  <a:lnTo>
                    <a:pt x="93" y="40"/>
                  </a:lnTo>
                  <a:lnTo>
                    <a:pt x="91" y="40"/>
                  </a:lnTo>
                  <a:lnTo>
                    <a:pt x="88" y="42"/>
                  </a:lnTo>
                  <a:lnTo>
                    <a:pt x="86" y="42"/>
                  </a:lnTo>
                  <a:lnTo>
                    <a:pt x="86" y="44"/>
                  </a:lnTo>
                  <a:lnTo>
                    <a:pt x="84" y="44"/>
                  </a:lnTo>
                  <a:lnTo>
                    <a:pt x="84" y="47"/>
                  </a:lnTo>
                  <a:lnTo>
                    <a:pt x="81" y="47"/>
                  </a:lnTo>
                  <a:lnTo>
                    <a:pt x="79" y="49"/>
                  </a:lnTo>
                  <a:lnTo>
                    <a:pt x="79" y="47"/>
                  </a:lnTo>
                  <a:lnTo>
                    <a:pt x="81" y="47"/>
                  </a:lnTo>
                  <a:lnTo>
                    <a:pt x="81" y="44"/>
                  </a:lnTo>
                  <a:lnTo>
                    <a:pt x="79" y="47"/>
                  </a:lnTo>
                  <a:lnTo>
                    <a:pt x="77" y="47"/>
                  </a:lnTo>
                  <a:lnTo>
                    <a:pt x="77" y="49"/>
                  </a:lnTo>
                  <a:lnTo>
                    <a:pt x="74" y="49"/>
                  </a:lnTo>
                  <a:lnTo>
                    <a:pt x="70" y="51"/>
                  </a:lnTo>
                  <a:lnTo>
                    <a:pt x="67" y="51"/>
                  </a:lnTo>
                  <a:lnTo>
                    <a:pt x="65" y="49"/>
                  </a:lnTo>
                  <a:lnTo>
                    <a:pt x="65" y="47"/>
                  </a:lnTo>
                  <a:lnTo>
                    <a:pt x="65" y="44"/>
                  </a:lnTo>
                  <a:lnTo>
                    <a:pt x="65" y="47"/>
                  </a:lnTo>
                  <a:lnTo>
                    <a:pt x="65" y="49"/>
                  </a:lnTo>
                  <a:lnTo>
                    <a:pt x="67" y="49"/>
                  </a:lnTo>
                  <a:lnTo>
                    <a:pt x="67" y="51"/>
                  </a:lnTo>
                  <a:lnTo>
                    <a:pt x="70" y="49"/>
                  </a:lnTo>
                  <a:lnTo>
                    <a:pt x="67" y="49"/>
                  </a:lnTo>
                  <a:lnTo>
                    <a:pt x="67" y="47"/>
                  </a:lnTo>
                  <a:lnTo>
                    <a:pt x="67" y="44"/>
                  </a:lnTo>
                  <a:lnTo>
                    <a:pt x="65" y="44"/>
                  </a:lnTo>
                  <a:lnTo>
                    <a:pt x="65" y="42"/>
                  </a:lnTo>
                  <a:lnTo>
                    <a:pt x="60" y="42"/>
                  </a:lnTo>
                  <a:lnTo>
                    <a:pt x="60" y="40"/>
                  </a:lnTo>
                  <a:lnTo>
                    <a:pt x="60" y="42"/>
                  </a:lnTo>
                  <a:lnTo>
                    <a:pt x="63" y="42"/>
                  </a:lnTo>
                  <a:lnTo>
                    <a:pt x="58" y="40"/>
                  </a:lnTo>
                  <a:lnTo>
                    <a:pt x="56" y="37"/>
                  </a:lnTo>
                  <a:lnTo>
                    <a:pt x="58" y="37"/>
                  </a:lnTo>
                  <a:lnTo>
                    <a:pt x="60" y="40"/>
                  </a:lnTo>
                  <a:lnTo>
                    <a:pt x="63" y="40"/>
                  </a:lnTo>
                  <a:lnTo>
                    <a:pt x="65" y="40"/>
                  </a:lnTo>
                  <a:lnTo>
                    <a:pt x="63" y="40"/>
                  </a:lnTo>
                  <a:lnTo>
                    <a:pt x="63" y="37"/>
                  </a:lnTo>
                  <a:lnTo>
                    <a:pt x="60" y="37"/>
                  </a:lnTo>
                  <a:lnTo>
                    <a:pt x="58" y="37"/>
                  </a:lnTo>
                  <a:lnTo>
                    <a:pt x="56" y="37"/>
                  </a:lnTo>
                  <a:lnTo>
                    <a:pt x="56" y="35"/>
                  </a:lnTo>
                  <a:lnTo>
                    <a:pt x="56" y="33"/>
                  </a:lnTo>
                  <a:lnTo>
                    <a:pt x="58" y="33"/>
                  </a:lnTo>
                  <a:lnTo>
                    <a:pt x="58" y="30"/>
                  </a:lnTo>
                  <a:lnTo>
                    <a:pt x="58" y="33"/>
                  </a:lnTo>
                  <a:lnTo>
                    <a:pt x="56" y="33"/>
                  </a:lnTo>
                  <a:lnTo>
                    <a:pt x="56" y="35"/>
                  </a:lnTo>
                  <a:lnTo>
                    <a:pt x="56" y="33"/>
                  </a:lnTo>
                  <a:lnTo>
                    <a:pt x="53" y="33"/>
                  </a:lnTo>
                  <a:lnTo>
                    <a:pt x="51" y="33"/>
                  </a:lnTo>
                  <a:lnTo>
                    <a:pt x="51" y="35"/>
                  </a:lnTo>
                  <a:lnTo>
                    <a:pt x="53" y="35"/>
                  </a:lnTo>
                  <a:lnTo>
                    <a:pt x="53" y="37"/>
                  </a:lnTo>
                  <a:lnTo>
                    <a:pt x="56" y="37"/>
                  </a:lnTo>
                  <a:lnTo>
                    <a:pt x="53" y="37"/>
                  </a:lnTo>
                  <a:lnTo>
                    <a:pt x="51" y="35"/>
                  </a:lnTo>
                  <a:lnTo>
                    <a:pt x="49" y="35"/>
                  </a:lnTo>
                  <a:lnTo>
                    <a:pt x="44" y="33"/>
                  </a:lnTo>
                  <a:lnTo>
                    <a:pt x="42" y="33"/>
                  </a:lnTo>
                  <a:lnTo>
                    <a:pt x="37" y="33"/>
                  </a:lnTo>
                  <a:lnTo>
                    <a:pt x="32" y="33"/>
                  </a:lnTo>
                  <a:lnTo>
                    <a:pt x="32" y="30"/>
                  </a:lnTo>
                  <a:lnTo>
                    <a:pt x="35" y="30"/>
                  </a:lnTo>
                  <a:lnTo>
                    <a:pt x="37" y="30"/>
                  </a:lnTo>
                  <a:lnTo>
                    <a:pt x="39" y="30"/>
                  </a:lnTo>
                  <a:lnTo>
                    <a:pt x="42" y="30"/>
                  </a:lnTo>
                  <a:lnTo>
                    <a:pt x="44" y="30"/>
                  </a:lnTo>
                  <a:lnTo>
                    <a:pt x="42" y="28"/>
                  </a:lnTo>
                  <a:lnTo>
                    <a:pt x="39" y="28"/>
                  </a:lnTo>
                  <a:lnTo>
                    <a:pt x="37" y="28"/>
                  </a:lnTo>
                  <a:lnTo>
                    <a:pt x="35" y="28"/>
                  </a:lnTo>
                  <a:lnTo>
                    <a:pt x="35" y="30"/>
                  </a:lnTo>
                  <a:lnTo>
                    <a:pt x="35" y="28"/>
                  </a:lnTo>
                  <a:lnTo>
                    <a:pt x="32" y="28"/>
                  </a:lnTo>
                  <a:lnTo>
                    <a:pt x="32" y="30"/>
                  </a:lnTo>
                  <a:lnTo>
                    <a:pt x="30" y="30"/>
                  </a:lnTo>
                  <a:lnTo>
                    <a:pt x="28" y="30"/>
                  </a:lnTo>
                  <a:lnTo>
                    <a:pt x="25" y="33"/>
                  </a:lnTo>
                  <a:lnTo>
                    <a:pt x="23" y="33"/>
                  </a:lnTo>
                  <a:lnTo>
                    <a:pt x="21" y="33"/>
                  </a:lnTo>
                  <a:lnTo>
                    <a:pt x="16" y="33"/>
                  </a:lnTo>
                  <a:lnTo>
                    <a:pt x="14" y="35"/>
                  </a:lnTo>
                  <a:lnTo>
                    <a:pt x="14" y="33"/>
                  </a:lnTo>
                  <a:lnTo>
                    <a:pt x="16" y="33"/>
                  </a:lnTo>
                  <a:lnTo>
                    <a:pt x="18" y="33"/>
                  </a:lnTo>
                  <a:lnTo>
                    <a:pt x="21" y="30"/>
                  </a:lnTo>
                  <a:lnTo>
                    <a:pt x="21" y="33"/>
                  </a:lnTo>
                  <a:lnTo>
                    <a:pt x="21" y="30"/>
                  </a:lnTo>
                  <a:lnTo>
                    <a:pt x="18" y="30"/>
                  </a:lnTo>
                  <a:lnTo>
                    <a:pt x="18" y="28"/>
                  </a:lnTo>
                  <a:lnTo>
                    <a:pt x="18" y="26"/>
                  </a:lnTo>
                  <a:lnTo>
                    <a:pt x="16" y="26"/>
                  </a:lnTo>
                  <a:lnTo>
                    <a:pt x="18" y="28"/>
                  </a:lnTo>
                  <a:lnTo>
                    <a:pt x="16" y="28"/>
                  </a:lnTo>
                  <a:lnTo>
                    <a:pt x="16" y="30"/>
                  </a:lnTo>
                  <a:lnTo>
                    <a:pt x="16" y="33"/>
                  </a:lnTo>
                  <a:lnTo>
                    <a:pt x="16" y="30"/>
                  </a:lnTo>
                  <a:lnTo>
                    <a:pt x="16" y="28"/>
                  </a:lnTo>
                  <a:lnTo>
                    <a:pt x="14" y="28"/>
                  </a:lnTo>
                  <a:lnTo>
                    <a:pt x="14" y="30"/>
                  </a:lnTo>
                  <a:lnTo>
                    <a:pt x="14" y="33"/>
                  </a:lnTo>
                  <a:lnTo>
                    <a:pt x="11" y="33"/>
                  </a:lnTo>
                  <a:lnTo>
                    <a:pt x="11" y="35"/>
                  </a:lnTo>
                  <a:lnTo>
                    <a:pt x="9" y="35"/>
                  </a:lnTo>
                  <a:lnTo>
                    <a:pt x="9" y="37"/>
                  </a:lnTo>
                  <a:lnTo>
                    <a:pt x="7" y="37"/>
                  </a:lnTo>
                  <a:lnTo>
                    <a:pt x="4" y="37"/>
                  </a:lnTo>
                  <a:lnTo>
                    <a:pt x="4" y="40"/>
                  </a:lnTo>
                  <a:lnTo>
                    <a:pt x="4" y="37"/>
                  </a:lnTo>
                  <a:lnTo>
                    <a:pt x="7" y="37"/>
                  </a:lnTo>
                  <a:lnTo>
                    <a:pt x="4" y="37"/>
                  </a:lnTo>
                  <a:lnTo>
                    <a:pt x="7" y="37"/>
                  </a:lnTo>
                  <a:lnTo>
                    <a:pt x="7" y="35"/>
                  </a:lnTo>
                  <a:lnTo>
                    <a:pt x="7" y="33"/>
                  </a:lnTo>
                  <a:lnTo>
                    <a:pt x="9" y="33"/>
                  </a:lnTo>
                  <a:lnTo>
                    <a:pt x="7" y="33"/>
                  </a:lnTo>
                  <a:lnTo>
                    <a:pt x="7" y="30"/>
                  </a:lnTo>
                  <a:lnTo>
                    <a:pt x="7" y="28"/>
                  </a:lnTo>
                  <a:lnTo>
                    <a:pt x="7" y="26"/>
                  </a:lnTo>
                  <a:lnTo>
                    <a:pt x="4" y="23"/>
                  </a:lnTo>
                  <a:lnTo>
                    <a:pt x="2" y="23"/>
                  </a:lnTo>
                  <a:lnTo>
                    <a:pt x="2" y="21"/>
                  </a:lnTo>
                  <a:lnTo>
                    <a:pt x="0" y="21"/>
                  </a:lnTo>
                  <a:lnTo>
                    <a:pt x="0" y="19"/>
                  </a:lnTo>
                  <a:lnTo>
                    <a:pt x="0" y="16"/>
                  </a:lnTo>
                  <a:lnTo>
                    <a:pt x="2" y="16"/>
                  </a:lnTo>
                  <a:lnTo>
                    <a:pt x="7" y="14"/>
                  </a:lnTo>
                  <a:lnTo>
                    <a:pt x="9" y="14"/>
                  </a:lnTo>
                  <a:lnTo>
                    <a:pt x="14" y="14"/>
                  </a:lnTo>
                  <a:lnTo>
                    <a:pt x="18" y="14"/>
                  </a:lnTo>
                  <a:lnTo>
                    <a:pt x="23" y="14"/>
                  </a:lnTo>
                  <a:lnTo>
                    <a:pt x="28" y="12"/>
                  </a:lnTo>
                  <a:lnTo>
                    <a:pt x="32" y="12"/>
                  </a:lnTo>
                  <a:lnTo>
                    <a:pt x="37" y="12"/>
                  </a:lnTo>
                  <a:lnTo>
                    <a:pt x="42" y="12"/>
                  </a:lnTo>
                  <a:lnTo>
                    <a:pt x="46" y="12"/>
                  </a:lnTo>
                  <a:lnTo>
                    <a:pt x="49" y="9"/>
                  </a:lnTo>
                  <a:lnTo>
                    <a:pt x="53" y="9"/>
                  </a:lnTo>
                  <a:lnTo>
                    <a:pt x="58" y="9"/>
                  </a:lnTo>
                  <a:lnTo>
                    <a:pt x="63" y="9"/>
                  </a:lnTo>
                  <a:lnTo>
                    <a:pt x="67" y="7"/>
                  </a:lnTo>
                  <a:lnTo>
                    <a:pt x="72" y="7"/>
                  </a:lnTo>
                  <a:lnTo>
                    <a:pt x="72" y="9"/>
                  </a:lnTo>
                  <a:lnTo>
                    <a:pt x="74" y="9"/>
                  </a:lnTo>
                  <a:lnTo>
                    <a:pt x="74" y="12"/>
                  </a:lnTo>
                  <a:lnTo>
                    <a:pt x="74" y="1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798">
              <a:extLst>
                <a:ext uri="{FF2B5EF4-FFF2-40B4-BE49-F238E27FC236}">
                  <a16:creationId xmlns:a16="http://schemas.microsoft.com/office/drawing/2014/main" id="{B09CB8FB-49BD-4791-9A8E-5A5919A7C14C}"/>
                </a:ext>
              </a:extLst>
            </p:cNvPr>
            <p:cNvSpPr>
              <a:spLocks noEditPoints="1"/>
            </p:cNvSpPr>
            <p:nvPr/>
          </p:nvSpPr>
          <p:spPr bwMode="auto">
            <a:xfrm>
              <a:off x="6995319" y="4903788"/>
              <a:ext cx="225425" cy="228600"/>
            </a:xfrm>
            <a:custGeom>
              <a:avLst/>
              <a:gdLst>
                <a:gd name="T0" fmla="*/ 131 w 142"/>
                <a:gd name="T1" fmla="*/ 121 h 144"/>
                <a:gd name="T2" fmla="*/ 133 w 142"/>
                <a:gd name="T3" fmla="*/ 107 h 144"/>
                <a:gd name="T4" fmla="*/ 133 w 142"/>
                <a:gd name="T5" fmla="*/ 107 h 144"/>
                <a:gd name="T6" fmla="*/ 135 w 142"/>
                <a:gd name="T7" fmla="*/ 100 h 144"/>
                <a:gd name="T8" fmla="*/ 61 w 142"/>
                <a:gd name="T9" fmla="*/ 9 h 144"/>
                <a:gd name="T10" fmla="*/ 70 w 142"/>
                <a:gd name="T11" fmla="*/ 16 h 144"/>
                <a:gd name="T12" fmla="*/ 77 w 142"/>
                <a:gd name="T13" fmla="*/ 21 h 144"/>
                <a:gd name="T14" fmla="*/ 84 w 142"/>
                <a:gd name="T15" fmla="*/ 28 h 144"/>
                <a:gd name="T16" fmla="*/ 89 w 142"/>
                <a:gd name="T17" fmla="*/ 35 h 144"/>
                <a:gd name="T18" fmla="*/ 96 w 142"/>
                <a:gd name="T19" fmla="*/ 40 h 144"/>
                <a:gd name="T20" fmla="*/ 105 w 142"/>
                <a:gd name="T21" fmla="*/ 47 h 144"/>
                <a:gd name="T22" fmla="*/ 110 w 142"/>
                <a:gd name="T23" fmla="*/ 54 h 144"/>
                <a:gd name="T24" fmla="*/ 119 w 142"/>
                <a:gd name="T25" fmla="*/ 58 h 144"/>
                <a:gd name="T26" fmla="*/ 124 w 142"/>
                <a:gd name="T27" fmla="*/ 68 h 144"/>
                <a:gd name="T28" fmla="*/ 128 w 142"/>
                <a:gd name="T29" fmla="*/ 75 h 144"/>
                <a:gd name="T30" fmla="*/ 135 w 142"/>
                <a:gd name="T31" fmla="*/ 84 h 144"/>
                <a:gd name="T32" fmla="*/ 140 w 142"/>
                <a:gd name="T33" fmla="*/ 88 h 144"/>
                <a:gd name="T34" fmla="*/ 135 w 142"/>
                <a:gd name="T35" fmla="*/ 93 h 144"/>
                <a:gd name="T36" fmla="*/ 133 w 142"/>
                <a:gd name="T37" fmla="*/ 95 h 144"/>
                <a:gd name="T38" fmla="*/ 131 w 142"/>
                <a:gd name="T39" fmla="*/ 102 h 144"/>
                <a:gd name="T40" fmla="*/ 131 w 142"/>
                <a:gd name="T41" fmla="*/ 109 h 144"/>
                <a:gd name="T42" fmla="*/ 133 w 142"/>
                <a:gd name="T43" fmla="*/ 114 h 144"/>
                <a:gd name="T44" fmla="*/ 128 w 142"/>
                <a:gd name="T45" fmla="*/ 116 h 144"/>
                <a:gd name="T46" fmla="*/ 131 w 142"/>
                <a:gd name="T47" fmla="*/ 121 h 144"/>
                <a:gd name="T48" fmla="*/ 128 w 142"/>
                <a:gd name="T49" fmla="*/ 121 h 144"/>
                <a:gd name="T50" fmla="*/ 128 w 142"/>
                <a:gd name="T51" fmla="*/ 126 h 144"/>
                <a:gd name="T52" fmla="*/ 131 w 142"/>
                <a:gd name="T53" fmla="*/ 130 h 144"/>
                <a:gd name="T54" fmla="*/ 119 w 142"/>
                <a:gd name="T55" fmla="*/ 130 h 144"/>
                <a:gd name="T56" fmla="*/ 114 w 142"/>
                <a:gd name="T57" fmla="*/ 133 h 144"/>
                <a:gd name="T58" fmla="*/ 117 w 142"/>
                <a:gd name="T59" fmla="*/ 142 h 144"/>
                <a:gd name="T60" fmla="*/ 112 w 142"/>
                <a:gd name="T61" fmla="*/ 140 h 144"/>
                <a:gd name="T62" fmla="*/ 110 w 142"/>
                <a:gd name="T63" fmla="*/ 140 h 144"/>
                <a:gd name="T64" fmla="*/ 98 w 142"/>
                <a:gd name="T65" fmla="*/ 140 h 144"/>
                <a:gd name="T66" fmla="*/ 84 w 142"/>
                <a:gd name="T67" fmla="*/ 140 h 144"/>
                <a:gd name="T68" fmla="*/ 68 w 142"/>
                <a:gd name="T69" fmla="*/ 142 h 144"/>
                <a:gd name="T70" fmla="*/ 54 w 142"/>
                <a:gd name="T71" fmla="*/ 142 h 144"/>
                <a:gd name="T72" fmla="*/ 42 w 142"/>
                <a:gd name="T73" fmla="*/ 144 h 144"/>
                <a:gd name="T74" fmla="*/ 35 w 142"/>
                <a:gd name="T75" fmla="*/ 137 h 144"/>
                <a:gd name="T76" fmla="*/ 28 w 142"/>
                <a:gd name="T77" fmla="*/ 130 h 144"/>
                <a:gd name="T78" fmla="*/ 28 w 142"/>
                <a:gd name="T79" fmla="*/ 119 h 144"/>
                <a:gd name="T80" fmla="*/ 26 w 142"/>
                <a:gd name="T81" fmla="*/ 107 h 144"/>
                <a:gd name="T82" fmla="*/ 28 w 142"/>
                <a:gd name="T83" fmla="*/ 98 h 144"/>
                <a:gd name="T84" fmla="*/ 28 w 142"/>
                <a:gd name="T85" fmla="*/ 91 h 144"/>
                <a:gd name="T86" fmla="*/ 24 w 142"/>
                <a:gd name="T87" fmla="*/ 82 h 144"/>
                <a:gd name="T88" fmla="*/ 19 w 142"/>
                <a:gd name="T89" fmla="*/ 72 h 144"/>
                <a:gd name="T90" fmla="*/ 17 w 142"/>
                <a:gd name="T91" fmla="*/ 63 h 144"/>
                <a:gd name="T92" fmla="*/ 12 w 142"/>
                <a:gd name="T93" fmla="*/ 49 h 144"/>
                <a:gd name="T94" fmla="*/ 7 w 142"/>
                <a:gd name="T95" fmla="*/ 35 h 144"/>
                <a:gd name="T96" fmla="*/ 5 w 142"/>
                <a:gd name="T97" fmla="*/ 21 h 144"/>
                <a:gd name="T98" fmla="*/ 0 w 142"/>
                <a:gd name="T99" fmla="*/ 9 h 144"/>
                <a:gd name="T100" fmla="*/ 17 w 142"/>
                <a:gd name="T101" fmla="*/ 9 h 144"/>
                <a:gd name="T102" fmla="*/ 31 w 142"/>
                <a:gd name="T103" fmla="*/ 7 h 144"/>
                <a:gd name="T104" fmla="*/ 40 w 142"/>
                <a:gd name="T105" fmla="*/ 5 h 144"/>
                <a:gd name="T106" fmla="*/ 52 w 142"/>
                <a:gd name="T107" fmla="*/ 2 h 144"/>
                <a:gd name="T108" fmla="*/ 63 w 142"/>
                <a:gd name="T109"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44">
                  <a:moveTo>
                    <a:pt x="131" y="130"/>
                  </a:moveTo>
                  <a:lnTo>
                    <a:pt x="131" y="128"/>
                  </a:lnTo>
                  <a:lnTo>
                    <a:pt x="131" y="126"/>
                  </a:lnTo>
                  <a:lnTo>
                    <a:pt x="131" y="123"/>
                  </a:lnTo>
                  <a:lnTo>
                    <a:pt x="131" y="121"/>
                  </a:lnTo>
                  <a:lnTo>
                    <a:pt x="131" y="123"/>
                  </a:lnTo>
                  <a:lnTo>
                    <a:pt x="131" y="126"/>
                  </a:lnTo>
                  <a:lnTo>
                    <a:pt x="131" y="128"/>
                  </a:lnTo>
                  <a:lnTo>
                    <a:pt x="131" y="130"/>
                  </a:lnTo>
                  <a:close/>
                  <a:moveTo>
                    <a:pt x="133" y="107"/>
                  </a:moveTo>
                  <a:lnTo>
                    <a:pt x="133" y="105"/>
                  </a:lnTo>
                  <a:lnTo>
                    <a:pt x="133" y="102"/>
                  </a:lnTo>
                  <a:lnTo>
                    <a:pt x="135" y="102"/>
                  </a:lnTo>
                  <a:lnTo>
                    <a:pt x="135" y="105"/>
                  </a:lnTo>
                  <a:lnTo>
                    <a:pt x="133" y="107"/>
                  </a:lnTo>
                  <a:close/>
                  <a:moveTo>
                    <a:pt x="135" y="100"/>
                  </a:moveTo>
                  <a:lnTo>
                    <a:pt x="135" y="102"/>
                  </a:lnTo>
                  <a:lnTo>
                    <a:pt x="135" y="100"/>
                  </a:lnTo>
                  <a:lnTo>
                    <a:pt x="135" y="98"/>
                  </a:lnTo>
                  <a:lnTo>
                    <a:pt x="135" y="100"/>
                  </a:lnTo>
                  <a:close/>
                  <a:moveTo>
                    <a:pt x="65" y="2"/>
                  </a:moveTo>
                  <a:lnTo>
                    <a:pt x="63" y="5"/>
                  </a:lnTo>
                  <a:lnTo>
                    <a:pt x="63" y="7"/>
                  </a:lnTo>
                  <a:lnTo>
                    <a:pt x="61" y="7"/>
                  </a:lnTo>
                  <a:lnTo>
                    <a:pt x="61" y="9"/>
                  </a:lnTo>
                  <a:lnTo>
                    <a:pt x="61" y="12"/>
                  </a:lnTo>
                  <a:lnTo>
                    <a:pt x="65" y="14"/>
                  </a:lnTo>
                  <a:lnTo>
                    <a:pt x="68" y="14"/>
                  </a:lnTo>
                  <a:lnTo>
                    <a:pt x="68" y="16"/>
                  </a:lnTo>
                  <a:lnTo>
                    <a:pt x="70" y="16"/>
                  </a:lnTo>
                  <a:lnTo>
                    <a:pt x="72" y="16"/>
                  </a:lnTo>
                  <a:lnTo>
                    <a:pt x="75" y="16"/>
                  </a:lnTo>
                  <a:lnTo>
                    <a:pt x="75" y="19"/>
                  </a:lnTo>
                  <a:lnTo>
                    <a:pt x="77" y="19"/>
                  </a:lnTo>
                  <a:lnTo>
                    <a:pt x="77" y="21"/>
                  </a:lnTo>
                  <a:lnTo>
                    <a:pt x="79" y="23"/>
                  </a:lnTo>
                  <a:lnTo>
                    <a:pt x="79" y="26"/>
                  </a:lnTo>
                  <a:lnTo>
                    <a:pt x="82" y="26"/>
                  </a:lnTo>
                  <a:lnTo>
                    <a:pt x="82" y="28"/>
                  </a:lnTo>
                  <a:lnTo>
                    <a:pt x="84" y="28"/>
                  </a:lnTo>
                  <a:lnTo>
                    <a:pt x="84" y="30"/>
                  </a:lnTo>
                  <a:lnTo>
                    <a:pt x="84" y="33"/>
                  </a:lnTo>
                  <a:lnTo>
                    <a:pt x="86" y="33"/>
                  </a:lnTo>
                  <a:lnTo>
                    <a:pt x="89" y="33"/>
                  </a:lnTo>
                  <a:lnTo>
                    <a:pt x="89" y="35"/>
                  </a:lnTo>
                  <a:lnTo>
                    <a:pt x="91" y="35"/>
                  </a:lnTo>
                  <a:lnTo>
                    <a:pt x="93" y="35"/>
                  </a:lnTo>
                  <a:lnTo>
                    <a:pt x="93" y="37"/>
                  </a:lnTo>
                  <a:lnTo>
                    <a:pt x="96" y="37"/>
                  </a:lnTo>
                  <a:lnTo>
                    <a:pt x="96" y="40"/>
                  </a:lnTo>
                  <a:lnTo>
                    <a:pt x="98" y="42"/>
                  </a:lnTo>
                  <a:lnTo>
                    <a:pt x="100" y="42"/>
                  </a:lnTo>
                  <a:lnTo>
                    <a:pt x="103" y="44"/>
                  </a:lnTo>
                  <a:lnTo>
                    <a:pt x="105" y="44"/>
                  </a:lnTo>
                  <a:lnTo>
                    <a:pt x="105" y="47"/>
                  </a:lnTo>
                  <a:lnTo>
                    <a:pt x="105" y="49"/>
                  </a:lnTo>
                  <a:lnTo>
                    <a:pt x="107" y="49"/>
                  </a:lnTo>
                  <a:lnTo>
                    <a:pt x="107" y="51"/>
                  </a:lnTo>
                  <a:lnTo>
                    <a:pt x="110" y="51"/>
                  </a:lnTo>
                  <a:lnTo>
                    <a:pt x="110" y="54"/>
                  </a:lnTo>
                  <a:lnTo>
                    <a:pt x="112" y="54"/>
                  </a:lnTo>
                  <a:lnTo>
                    <a:pt x="114" y="56"/>
                  </a:lnTo>
                  <a:lnTo>
                    <a:pt x="117" y="56"/>
                  </a:lnTo>
                  <a:lnTo>
                    <a:pt x="119" y="56"/>
                  </a:lnTo>
                  <a:lnTo>
                    <a:pt x="119" y="58"/>
                  </a:lnTo>
                  <a:lnTo>
                    <a:pt x="119" y="61"/>
                  </a:lnTo>
                  <a:lnTo>
                    <a:pt x="121" y="63"/>
                  </a:lnTo>
                  <a:lnTo>
                    <a:pt x="121" y="65"/>
                  </a:lnTo>
                  <a:lnTo>
                    <a:pt x="121" y="68"/>
                  </a:lnTo>
                  <a:lnTo>
                    <a:pt x="124" y="68"/>
                  </a:lnTo>
                  <a:lnTo>
                    <a:pt x="124" y="70"/>
                  </a:lnTo>
                  <a:lnTo>
                    <a:pt x="126" y="70"/>
                  </a:lnTo>
                  <a:lnTo>
                    <a:pt x="126" y="72"/>
                  </a:lnTo>
                  <a:lnTo>
                    <a:pt x="128" y="72"/>
                  </a:lnTo>
                  <a:lnTo>
                    <a:pt x="128" y="75"/>
                  </a:lnTo>
                  <a:lnTo>
                    <a:pt x="131" y="77"/>
                  </a:lnTo>
                  <a:lnTo>
                    <a:pt x="133" y="79"/>
                  </a:lnTo>
                  <a:lnTo>
                    <a:pt x="133" y="82"/>
                  </a:lnTo>
                  <a:lnTo>
                    <a:pt x="133" y="84"/>
                  </a:lnTo>
                  <a:lnTo>
                    <a:pt x="135" y="84"/>
                  </a:lnTo>
                  <a:lnTo>
                    <a:pt x="138" y="84"/>
                  </a:lnTo>
                  <a:lnTo>
                    <a:pt x="138" y="86"/>
                  </a:lnTo>
                  <a:lnTo>
                    <a:pt x="140" y="86"/>
                  </a:lnTo>
                  <a:lnTo>
                    <a:pt x="142" y="86"/>
                  </a:lnTo>
                  <a:lnTo>
                    <a:pt x="140" y="88"/>
                  </a:lnTo>
                  <a:lnTo>
                    <a:pt x="138" y="88"/>
                  </a:lnTo>
                  <a:lnTo>
                    <a:pt x="140" y="91"/>
                  </a:lnTo>
                  <a:lnTo>
                    <a:pt x="138" y="91"/>
                  </a:lnTo>
                  <a:lnTo>
                    <a:pt x="135" y="91"/>
                  </a:lnTo>
                  <a:lnTo>
                    <a:pt x="135" y="93"/>
                  </a:lnTo>
                  <a:lnTo>
                    <a:pt x="133" y="93"/>
                  </a:lnTo>
                  <a:lnTo>
                    <a:pt x="135" y="93"/>
                  </a:lnTo>
                  <a:lnTo>
                    <a:pt x="138" y="93"/>
                  </a:lnTo>
                  <a:lnTo>
                    <a:pt x="135" y="95"/>
                  </a:lnTo>
                  <a:lnTo>
                    <a:pt x="133" y="95"/>
                  </a:lnTo>
                  <a:lnTo>
                    <a:pt x="131" y="95"/>
                  </a:lnTo>
                  <a:lnTo>
                    <a:pt x="133" y="95"/>
                  </a:lnTo>
                  <a:lnTo>
                    <a:pt x="133" y="98"/>
                  </a:lnTo>
                  <a:lnTo>
                    <a:pt x="133" y="100"/>
                  </a:lnTo>
                  <a:lnTo>
                    <a:pt x="131" y="102"/>
                  </a:lnTo>
                  <a:lnTo>
                    <a:pt x="131" y="105"/>
                  </a:lnTo>
                  <a:lnTo>
                    <a:pt x="131" y="107"/>
                  </a:lnTo>
                  <a:lnTo>
                    <a:pt x="131" y="109"/>
                  </a:lnTo>
                  <a:lnTo>
                    <a:pt x="133" y="109"/>
                  </a:lnTo>
                  <a:lnTo>
                    <a:pt x="131" y="109"/>
                  </a:lnTo>
                  <a:lnTo>
                    <a:pt x="128" y="109"/>
                  </a:lnTo>
                  <a:lnTo>
                    <a:pt x="131" y="109"/>
                  </a:lnTo>
                  <a:lnTo>
                    <a:pt x="133" y="109"/>
                  </a:lnTo>
                  <a:lnTo>
                    <a:pt x="133" y="112"/>
                  </a:lnTo>
                  <a:lnTo>
                    <a:pt x="133" y="114"/>
                  </a:lnTo>
                  <a:lnTo>
                    <a:pt x="131" y="116"/>
                  </a:lnTo>
                  <a:lnTo>
                    <a:pt x="131" y="114"/>
                  </a:lnTo>
                  <a:lnTo>
                    <a:pt x="128" y="114"/>
                  </a:lnTo>
                  <a:lnTo>
                    <a:pt x="131" y="116"/>
                  </a:lnTo>
                  <a:lnTo>
                    <a:pt x="128" y="116"/>
                  </a:lnTo>
                  <a:lnTo>
                    <a:pt x="128" y="119"/>
                  </a:lnTo>
                  <a:lnTo>
                    <a:pt x="131" y="119"/>
                  </a:lnTo>
                  <a:lnTo>
                    <a:pt x="131" y="116"/>
                  </a:lnTo>
                  <a:lnTo>
                    <a:pt x="131" y="119"/>
                  </a:lnTo>
                  <a:lnTo>
                    <a:pt x="131" y="121"/>
                  </a:lnTo>
                  <a:lnTo>
                    <a:pt x="131" y="119"/>
                  </a:lnTo>
                  <a:lnTo>
                    <a:pt x="128" y="119"/>
                  </a:lnTo>
                  <a:lnTo>
                    <a:pt x="131" y="119"/>
                  </a:lnTo>
                  <a:lnTo>
                    <a:pt x="131" y="121"/>
                  </a:lnTo>
                  <a:lnTo>
                    <a:pt x="128" y="121"/>
                  </a:lnTo>
                  <a:lnTo>
                    <a:pt x="128" y="123"/>
                  </a:lnTo>
                  <a:lnTo>
                    <a:pt x="131" y="121"/>
                  </a:lnTo>
                  <a:lnTo>
                    <a:pt x="131" y="123"/>
                  </a:lnTo>
                  <a:lnTo>
                    <a:pt x="128" y="123"/>
                  </a:lnTo>
                  <a:lnTo>
                    <a:pt x="128" y="126"/>
                  </a:lnTo>
                  <a:lnTo>
                    <a:pt x="131" y="126"/>
                  </a:lnTo>
                  <a:lnTo>
                    <a:pt x="128" y="126"/>
                  </a:lnTo>
                  <a:lnTo>
                    <a:pt x="128" y="128"/>
                  </a:lnTo>
                  <a:lnTo>
                    <a:pt x="131" y="128"/>
                  </a:lnTo>
                  <a:lnTo>
                    <a:pt x="131" y="130"/>
                  </a:lnTo>
                  <a:lnTo>
                    <a:pt x="128" y="130"/>
                  </a:lnTo>
                  <a:lnTo>
                    <a:pt x="126" y="130"/>
                  </a:lnTo>
                  <a:lnTo>
                    <a:pt x="124" y="130"/>
                  </a:lnTo>
                  <a:lnTo>
                    <a:pt x="121" y="130"/>
                  </a:lnTo>
                  <a:lnTo>
                    <a:pt x="119" y="130"/>
                  </a:lnTo>
                  <a:lnTo>
                    <a:pt x="119" y="128"/>
                  </a:lnTo>
                  <a:lnTo>
                    <a:pt x="117" y="128"/>
                  </a:lnTo>
                  <a:lnTo>
                    <a:pt x="117" y="130"/>
                  </a:lnTo>
                  <a:lnTo>
                    <a:pt x="117" y="133"/>
                  </a:lnTo>
                  <a:lnTo>
                    <a:pt x="114" y="133"/>
                  </a:lnTo>
                  <a:lnTo>
                    <a:pt x="117" y="133"/>
                  </a:lnTo>
                  <a:lnTo>
                    <a:pt x="117" y="135"/>
                  </a:lnTo>
                  <a:lnTo>
                    <a:pt x="117" y="137"/>
                  </a:lnTo>
                  <a:lnTo>
                    <a:pt x="117" y="140"/>
                  </a:lnTo>
                  <a:lnTo>
                    <a:pt x="117" y="142"/>
                  </a:lnTo>
                  <a:lnTo>
                    <a:pt x="117" y="144"/>
                  </a:lnTo>
                  <a:lnTo>
                    <a:pt x="114" y="144"/>
                  </a:lnTo>
                  <a:lnTo>
                    <a:pt x="112" y="144"/>
                  </a:lnTo>
                  <a:lnTo>
                    <a:pt x="112" y="142"/>
                  </a:lnTo>
                  <a:lnTo>
                    <a:pt x="112" y="140"/>
                  </a:lnTo>
                  <a:lnTo>
                    <a:pt x="110" y="140"/>
                  </a:lnTo>
                  <a:lnTo>
                    <a:pt x="112" y="140"/>
                  </a:lnTo>
                  <a:lnTo>
                    <a:pt x="112" y="137"/>
                  </a:lnTo>
                  <a:lnTo>
                    <a:pt x="110" y="137"/>
                  </a:lnTo>
                  <a:lnTo>
                    <a:pt x="110" y="140"/>
                  </a:lnTo>
                  <a:lnTo>
                    <a:pt x="107" y="140"/>
                  </a:lnTo>
                  <a:lnTo>
                    <a:pt x="105" y="140"/>
                  </a:lnTo>
                  <a:lnTo>
                    <a:pt x="103" y="140"/>
                  </a:lnTo>
                  <a:lnTo>
                    <a:pt x="100" y="140"/>
                  </a:lnTo>
                  <a:lnTo>
                    <a:pt x="98" y="140"/>
                  </a:lnTo>
                  <a:lnTo>
                    <a:pt x="96" y="140"/>
                  </a:lnTo>
                  <a:lnTo>
                    <a:pt x="91" y="140"/>
                  </a:lnTo>
                  <a:lnTo>
                    <a:pt x="89" y="140"/>
                  </a:lnTo>
                  <a:lnTo>
                    <a:pt x="86" y="140"/>
                  </a:lnTo>
                  <a:lnTo>
                    <a:pt x="84" y="140"/>
                  </a:lnTo>
                  <a:lnTo>
                    <a:pt x="79" y="142"/>
                  </a:lnTo>
                  <a:lnTo>
                    <a:pt x="77" y="142"/>
                  </a:lnTo>
                  <a:lnTo>
                    <a:pt x="75" y="142"/>
                  </a:lnTo>
                  <a:lnTo>
                    <a:pt x="70" y="142"/>
                  </a:lnTo>
                  <a:lnTo>
                    <a:pt x="68" y="142"/>
                  </a:lnTo>
                  <a:lnTo>
                    <a:pt x="65" y="142"/>
                  </a:lnTo>
                  <a:lnTo>
                    <a:pt x="61" y="142"/>
                  </a:lnTo>
                  <a:lnTo>
                    <a:pt x="58" y="142"/>
                  </a:lnTo>
                  <a:lnTo>
                    <a:pt x="56" y="142"/>
                  </a:lnTo>
                  <a:lnTo>
                    <a:pt x="54" y="142"/>
                  </a:lnTo>
                  <a:lnTo>
                    <a:pt x="52" y="142"/>
                  </a:lnTo>
                  <a:lnTo>
                    <a:pt x="49" y="144"/>
                  </a:lnTo>
                  <a:lnTo>
                    <a:pt x="47" y="144"/>
                  </a:lnTo>
                  <a:lnTo>
                    <a:pt x="45" y="144"/>
                  </a:lnTo>
                  <a:lnTo>
                    <a:pt x="42" y="144"/>
                  </a:lnTo>
                  <a:lnTo>
                    <a:pt x="40" y="144"/>
                  </a:lnTo>
                  <a:lnTo>
                    <a:pt x="38" y="144"/>
                  </a:lnTo>
                  <a:lnTo>
                    <a:pt x="35" y="142"/>
                  </a:lnTo>
                  <a:lnTo>
                    <a:pt x="35" y="140"/>
                  </a:lnTo>
                  <a:lnTo>
                    <a:pt x="35" y="137"/>
                  </a:lnTo>
                  <a:lnTo>
                    <a:pt x="33" y="137"/>
                  </a:lnTo>
                  <a:lnTo>
                    <a:pt x="33" y="135"/>
                  </a:lnTo>
                  <a:lnTo>
                    <a:pt x="33" y="133"/>
                  </a:lnTo>
                  <a:lnTo>
                    <a:pt x="31" y="130"/>
                  </a:lnTo>
                  <a:lnTo>
                    <a:pt x="28" y="130"/>
                  </a:lnTo>
                  <a:lnTo>
                    <a:pt x="28" y="128"/>
                  </a:lnTo>
                  <a:lnTo>
                    <a:pt x="28" y="126"/>
                  </a:lnTo>
                  <a:lnTo>
                    <a:pt x="28" y="123"/>
                  </a:lnTo>
                  <a:lnTo>
                    <a:pt x="28" y="121"/>
                  </a:lnTo>
                  <a:lnTo>
                    <a:pt x="28" y="119"/>
                  </a:lnTo>
                  <a:lnTo>
                    <a:pt x="28" y="116"/>
                  </a:lnTo>
                  <a:lnTo>
                    <a:pt x="28" y="114"/>
                  </a:lnTo>
                  <a:lnTo>
                    <a:pt x="26" y="114"/>
                  </a:lnTo>
                  <a:lnTo>
                    <a:pt x="26" y="109"/>
                  </a:lnTo>
                  <a:lnTo>
                    <a:pt x="26" y="107"/>
                  </a:lnTo>
                  <a:lnTo>
                    <a:pt x="26" y="105"/>
                  </a:lnTo>
                  <a:lnTo>
                    <a:pt x="26" y="102"/>
                  </a:lnTo>
                  <a:lnTo>
                    <a:pt x="26" y="100"/>
                  </a:lnTo>
                  <a:lnTo>
                    <a:pt x="26" y="98"/>
                  </a:lnTo>
                  <a:lnTo>
                    <a:pt x="28" y="98"/>
                  </a:lnTo>
                  <a:lnTo>
                    <a:pt x="28" y="95"/>
                  </a:lnTo>
                  <a:lnTo>
                    <a:pt x="31" y="95"/>
                  </a:lnTo>
                  <a:lnTo>
                    <a:pt x="31" y="93"/>
                  </a:lnTo>
                  <a:lnTo>
                    <a:pt x="28" y="93"/>
                  </a:lnTo>
                  <a:lnTo>
                    <a:pt x="28" y="91"/>
                  </a:lnTo>
                  <a:lnTo>
                    <a:pt x="28" y="88"/>
                  </a:lnTo>
                  <a:lnTo>
                    <a:pt x="26" y="88"/>
                  </a:lnTo>
                  <a:lnTo>
                    <a:pt x="26" y="86"/>
                  </a:lnTo>
                  <a:lnTo>
                    <a:pt x="24" y="84"/>
                  </a:lnTo>
                  <a:lnTo>
                    <a:pt x="24" y="82"/>
                  </a:lnTo>
                  <a:lnTo>
                    <a:pt x="24" y="79"/>
                  </a:lnTo>
                  <a:lnTo>
                    <a:pt x="21" y="79"/>
                  </a:lnTo>
                  <a:lnTo>
                    <a:pt x="21" y="77"/>
                  </a:lnTo>
                  <a:lnTo>
                    <a:pt x="19" y="75"/>
                  </a:lnTo>
                  <a:lnTo>
                    <a:pt x="19" y="72"/>
                  </a:lnTo>
                  <a:lnTo>
                    <a:pt x="19" y="70"/>
                  </a:lnTo>
                  <a:lnTo>
                    <a:pt x="19" y="68"/>
                  </a:lnTo>
                  <a:lnTo>
                    <a:pt x="17" y="68"/>
                  </a:lnTo>
                  <a:lnTo>
                    <a:pt x="17" y="65"/>
                  </a:lnTo>
                  <a:lnTo>
                    <a:pt x="17" y="63"/>
                  </a:lnTo>
                  <a:lnTo>
                    <a:pt x="17" y="61"/>
                  </a:lnTo>
                  <a:lnTo>
                    <a:pt x="14" y="58"/>
                  </a:lnTo>
                  <a:lnTo>
                    <a:pt x="14" y="56"/>
                  </a:lnTo>
                  <a:lnTo>
                    <a:pt x="14" y="54"/>
                  </a:lnTo>
                  <a:lnTo>
                    <a:pt x="12" y="49"/>
                  </a:lnTo>
                  <a:lnTo>
                    <a:pt x="12" y="47"/>
                  </a:lnTo>
                  <a:lnTo>
                    <a:pt x="10" y="44"/>
                  </a:lnTo>
                  <a:lnTo>
                    <a:pt x="10" y="42"/>
                  </a:lnTo>
                  <a:lnTo>
                    <a:pt x="10" y="40"/>
                  </a:lnTo>
                  <a:lnTo>
                    <a:pt x="7" y="35"/>
                  </a:lnTo>
                  <a:lnTo>
                    <a:pt x="7" y="33"/>
                  </a:lnTo>
                  <a:lnTo>
                    <a:pt x="7" y="30"/>
                  </a:lnTo>
                  <a:lnTo>
                    <a:pt x="5" y="28"/>
                  </a:lnTo>
                  <a:lnTo>
                    <a:pt x="5" y="23"/>
                  </a:lnTo>
                  <a:lnTo>
                    <a:pt x="5" y="21"/>
                  </a:lnTo>
                  <a:lnTo>
                    <a:pt x="3" y="19"/>
                  </a:lnTo>
                  <a:lnTo>
                    <a:pt x="3" y="16"/>
                  </a:lnTo>
                  <a:lnTo>
                    <a:pt x="3" y="14"/>
                  </a:lnTo>
                  <a:lnTo>
                    <a:pt x="0" y="12"/>
                  </a:lnTo>
                  <a:lnTo>
                    <a:pt x="0" y="9"/>
                  </a:lnTo>
                  <a:lnTo>
                    <a:pt x="3" y="9"/>
                  </a:lnTo>
                  <a:lnTo>
                    <a:pt x="7" y="9"/>
                  </a:lnTo>
                  <a:lnTo>
                    <a:pt x="10" y="9"/>
                  </a:lnTo>
                  <a:lnTo>
                    <a:pt x="14" y="9"/>
                  </a:lnTo>
                  <a:lnTo>
                    <a:pt x="17" y="9"/>
                  </a:lnTo>
                  <a:lnTo>
                    <a:pt x="19" y="7"/>
                  </a:lnTo>
                  <a:lnTo>
                    <a:pt x="24" y="7"/>
                  </a:lnTo>
                  <a:lnTo>
                    <a:pt x="26" y="7"/>
                  </a:lnTo>
                  <a:lnTo>
                    <a:pt x="28" y="7"/>
                  </a:lnTo>
                  <a:lnTo>
                    <a:pt x="31" y="7"/>
                  </a:lnTo>
                  <a:lnTo>
                    <a:pt x="33" y="7"/>
                  </a:lnTo>
                  <a:lnTo>
                    <a:pt x="35" y="7"/>
                  </a:lnTo>
                  <a:lnTo>
                    <a:pt x="35" y="5"/>
                  </a:lnTo>
                  <a:lnTo>
                    <a:pt x="38" y="5"/>
                  </a:lnTo>
                  <a:lnTo>
                    <a:pt x="40" y="5"/>
                  </a:lnTo>
                  <a:lnTo>
                    <a:pt x="42" y="5"/>
                  </a:lnTo>
                  <a:lnTo>
                    <a:pt x="45" y="5"/>
                  </a:lnTo>
                  <a:lnTo>
                    <a:pt x="47" y="5"/>
                  </a:lnTo>
                  <a:lnTo>
                    <a:pt x="49" y="5"/>
                  </a:lnTo>
                  <a:lnTo>
                    <a:pt x="52" y="2"/>
                  </a:lnTo>
                  <a:lnTo>
                    <a:pt x="54" y="2"/>
                  </a:lnTo>
                  <a:lnTo>
                    <a:pt x="56" y="2"/>
                  </a:lnTo>
                  <a:lnTo>
                    <a:pt x="58" y="2"/>
                  </a:lnTo>
                  <a:lnTo>
                    <a:pt x="61" y="2"/>
                  </a:lnTo>
                  <a:lnTo>
                    <a:pt x="63" y="2"/>
                  </a:lnTo>
                  <a:lnTo>
                    <a:pt x="65" y="0"/>
                  </a:lnTo>
                  <a:lnTo>
                    <a:pt x="65" y="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799">
              <a:extLst>
                <a:ext uri="{FF2B5EF4-FFF2-40B4-BE49-F238E27FC236}">
                  <a16:creationId xmlns:a16="http://schemas.microsoft.com/office/drawing/2014/main" id="{17CE6237-49CA-4631-9576-5BDF0BF38E04}"/>
                </a:ext>
              </a:extLst>
            </p:cNvPr>
            <p:cNvSpPr>
              <a:spLocks noEditPoints="1"/>
            </p:cNvSpPr>
            <p:nvPr/>
          </p:nvSpPr>
          <p:spPr bwMode="auto">
            <a:xfrm>
              <a:off x="6755606" y="4929188"/>
              <a:ext cx="144463" cy="252413"/>
            </a:xfrm>
            <a:custGeom>
              <a:avLst/>
              <a:gdLst>
                <a:gd name="T0" fmla="*/ 91 w 91"/>
                <a:gd name="T1" fmla="*/ 154 h 159"/>
                <a:gd name="T2" fmla="*/ 72 w 91"/>
                <a:gd name="T3" fmla="*/ 156 h 159"/>
                <a:gd name="T4" fmla="*/ 72 w 91"/>
                <a:gd name="T5" fmla="*/ 156 h 159"/>
                <a:gd name="T6" fmla="*/ 72 w 91"/>
                <a:gd name="T7" fmla="*/ 154 h 159"/>
                <a:gd name="T8" fmla="*/ 81 w 91"/>
                <a:gd name="T9" fmla="*/ 154 h 159"/>
                <a:gd name="T10" fmla="*/ 88 w 91"/>
                <a:gd name="T11" fmla="*/ 154 h 159"/>
                <a:gd name="T12" fmla="*/ 86 w 91"/>
                <a:gd name="T13" fmla="*/ 3 h 159"/>
                <a:gd name="T14" fmla="*/ 86 w 91"/>
                <a:gd name="T15" fmla="*/ 14 h 159"/>
                <a:gd name="T16" fmla="*/ 86 w 91"/>
                <a:gd name="T17" fmla="*/ 45 h 159"/>
                <a:gd name="T18" fmla="*/ 86 w 91"/>
                <a:gd name="T19" fmla="*/ 79 h 159"/>
                <a:gd name="T20" fmla="*/ 84 w 91"/>
                <a:gd name="T21" fmla="*/ 100 h 159"/>
                <a:gd name="T22" fmla="*/ 86 w 91"/>
                <a:gd name="T23" fmla="*/ 119 h 159"/>
                <a:gd name="T24" fmla="*/ 91 w 91"/>
                <a:gd name="T25" fmla="*/ 142 h 159"/>
                <a:gd name="T26" fmla="*/ 91 w 91"/>
                <a:gd name="T27" fmla="*/ 149 h 159"/>
                <a:gd name="T28" fmla="*/ 88 w 91"/>
                <a:gd name="T29" fmla="*/ 152 h 159"/>
                <a:gd name="T30" fmla="*/ 86 w 91"/>
                <a:gd name="T31" fmla="*/ 149 h 159"/>
                <a:gd name="T32" fmla="*/ 75 w 91"/>
                <a:gd name="T33" fmla="*/ 149 h 159"/>
                <a:gd name="T34" fmla="*/ 75 w 91"/>
                <a:gd name="T35" fmla="*/ 152 h 159"/>
                <a:gd name="T36" fmla="*/ 68 w 91"/>
                <a:gd name="T37" fmla="*/ 152 h 159"/>
                <a:gd name="T38" fmla="*/ 65 w 91"/>
                <a:gd name="T39" fmla="*/ 152 h 159"/>
                <a:gd name="T40" fmla="*/ 63 w 91"/>
                <a:gd name="T41" fmla="*/ 156 h 159"/>
                <a:gd name="T42" fmla="*/ 63 w 91"/>
                <a:gd name="T43" fmla="*/ 159 h 159"/>
                <a:gd name="T44" fmla="*/ 61 w 91"/>
                <a:gd name="T45" fmla="*/ 159 h 159"/>
                <a:gd name="T46" fmla="*/ 56 w 91"/>
                <a:gd name="T47" fmla="*/ 154 h 159"/>
                <a:gd name="T48" fmla="*/ 56 w 91"/>
                <a:gd name="T49" fmla="*/ 149 h 159"/>
                <a:gd name="T50" fmla="*/ 51 w 91"/>
                <a:gd name="T51" fmla="*/ 145 h 159"/>
                <a:gd name="T52" fmla="*/ 51 w 91"/>
                <a:gd name="T53" fmla="*/ 138 h 159"/>
                <a:gd name="T54" fmla="*/ 49 w 91"/>
                <a:gd name="T55" fmla="*/ 133 h 159"/>
                <a:gd name="T56" fmla="*/ 26 w 91"/>
                <a:gd name="T57" fmla="*/ 135 h 159"/>
                <a:gd name="T58" fmla="*/ 0 w 91"/>
                <a:gd name="T59" fmla="*/ 135 h 159"/>
                <a:gd name="T60" fmla="*/ 0 w 91"/>
                <a:gd name="T61" fmla="*/ 131 h 159"/>
                <a:gd name="T62" fmla="*/ 0 w 91"/>
                <a:gd name="T63" fmla="*/ 128 h 159"/>
                <a:gd name="T64" fmla="*/ 2 w 91"/>
                <a:gd name="T65" fmla="*/ 124 h 159"/>
                <a:gd name="T66" fmla="*/ 2 w 91"/>
                <a:gd name="T67" fmla="*/ 119 h 159"/>
                <a:gd name="T68" fmla="*/ 5 w 91"/>
                <a:gd name="T69" fmla="*/ 112 h 159"/>
                <a:gd name="T70" fmla="*/ 9 w 91"/>
                <a:gd name="T71" fmla="*/ 107 h 159"/>
                <a:gd name="T72" fmla="*/ 14 w 91"/>
                <a:gd name="T73" fmla="*/ 100 h 159"/>
                <a:gd name="T74" fmla="*/ 16 w 91"/>
                <a:gd name="T75" fmla="*/ 96 h 159"/>
                <a:gd name="T76" fmla="*/ 16 w 91"/>
                <a:gd name="T77" fmla="*/ 91 h 159"/>
                <a:gd name="T78" fmla="*/ 12 w 91"/>
                <a:gd name="T79" fmla="*/ 86 h 159"/>
                <a:gd name="T80" fmla="*/ 12 w 91"/>
                <a:gd name="T81" fmla="*/ 84 h 159"/>
                <a:gd name="T82" fmla="*/ 12 w 91"/>
                <a:gd name="T83" fmla="*/ 79 h 159"/>
                <a:gd name="T84" fmla="*/ 12 w 91"/>
                <a:gd name="T85" fmla="*/ 75 h 159"/>
                <a:gd name="T86" fmla="*/ 12 w 91"/>
                <a:gd name="T87" fmla="*/ 72 h 159"/>
                <a:gd name="T88" fmla="*/ 9 w 91"/>
                <a:gd name="T89" fmla="*/ 66 h 159"/>
                <a:gd name="T90" fmla="*/ 9 w 91"/>
                <a:gd name="T91" fmla="*/ 61 h 159"/>
                <a:gd name="T92" fmla="*/ 9 w 91"/>
                <a:gd name="T93" fmla="*/ 56 h 159"/>
                <a:gd name="T94" fmla="*/ 7 w 91"/>
                <a:gd name="T95" fmla="*/ 52 h 159"/>
                <a:gd name="T96" fmla="*/ 7 w 91"/>
                <a:gd name="T97" fmla="*/ 49 h 159"/>
                <a:gd name="T98" fmla="*/ 9 w 91"/>
                <a:gd name="T99" fmla="*/ 45 h 159"/>
                <a:gd name="T100" fmla="*/ 12 w 91"/>
                <a:gd name="T101" fmla="*/ 42 h 159"/>
                <a:gd name="T102" fmla="*/ 12 w 91"/>
                <a:gd name="T103" fmla="*/ 38 h 159"/>
                <a:gd name="T104" fmla="*/ 14 w 91"/>
                <a:gd name="T105" fmla="*/ 35 h 159"/>
                <a:gd name="T106" fmla="*/ 16 w 91"/>
                <a:gd name="T107" fmla="*/ 28 h 159"/>
                <a:gd name="T108" fmla="*/ 19 w 91"/>
                <a:gd name="T109" fmla="*/ 28 h 159"/>
                <a:gd name="T110" fmla="*/ 19 w 91"/>
                <a:gd name="T111" fmla="*/ 26 h 159"/>
                <a:gd name="T112" fmla="*/ 21 w 91"/>
                <a:gd name="T113" fmla="*/ 17 h 159"/>
                <a:gd name="T114" fmla="*/ 26 w 91"/>
                <a:gd name="T115" fmla="*/ 14 h 159"/>
                <a:gd name="T116" fmla="*/ 30 w 91"/>
                <a:gd name="T117" fmla="*/ 7 h 159"/>
                <a:gd name="T118" fmla="*/ 47 w 91"/>
                <a:gd name="T119" fmla="*/ 5 h 159"/>
                <a:gd name="T120" fmla="*/ 72 w 91"/>
                <a:gd name="T121" fmla="*/ 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 h="159">
                  <a:moveTo>
                    <a:pt x="77" y="156"/>
                  </a:moveTo>
                  <a:lnTo>
                    <a:pt x="77" y="156"/>
                  </a:lnTo>
                  <a:lnTo>
                    <a:pt x="77" y="156"/>
                  </a:lnTo>
                  <a:lnTo>
                    <a:pt x="77" y="156"/>
                  </a:lnTo>
                  <a:lnTo>
                    <a:pt x="77" y="156"/>
                  </a:lnTo>
                  <a:lnTo>
                    <a:pt x="77" y="156"/>
                  </a:lnTo>
                  <a:close/>
                  <a:moveTo>
                    <a:pt x="91" y="154"/>
                  </a:moveTo>
                  <a:lnTo>
                    <a:pt x="91" y="154"/>
                  </a:lnTo>
                  <a:lnTo>
                    <a:pt x="91" y="154"/>
                  </a:lnTo>
                  <a:lnTo>
                    <a:pt x="88" y="154"/>
                  </a:lnTo>
                  <a:lnTo>
                    <a:pt x="88" y="154"/>
                  </a:lnTo>
                  <a:lnTo>
                    <a:pt x="91" y="154"/>
                  </a:lnTo>
                  <a:close/>
                  <a:moveTo>
                    <a:pt x="72" y="156"/>
                  </a:moveTo>
                  <a:lnTo>
                    <a:pt x="72" y="156"/>
                  </a:lnTo>
                  <a:lnTo>
                    <a:pt x="72" y="156"/>
                  </a:lnTo>
                  <a:lnTo>
                    <a:pt x="72" y="156"/>
                  </a:lnTo>
                  <a:lnTo>
                    <a:pt x="72" y="156"/>
                  </a:lnTo>
                  <a:lnTo>
                    <a:pt x="72" y="156"/>
                  </a:lnTo>
                  <a:lnTo>
                    <a:pt x="72" y="156"/>
                  </a:lnTo>
                  <a:lnTo>
                    <a:pt x="72" y="156"/>
                  </a:lnTo>
                  <a:lnTo>
                    <a:pt x="72" y="156"/>
                  </a:lnTo>
                  <a:lnTo>
                    <a:pt x="72" y="156"/>
                  </a:lnTo>
                  <a:lnTo>
                    <a:pt x="72" y="156"/>
                  </a:lnTo>
                  <a:lnTo>
                    <a:pt x="72" y="156"/>
                  </a:lnTo>
                  <a:lnTo>
                    <a:pt x="72" y="156"/>
                  </a:lnTo>
                  <a:lnTo>
                    <a:pt x="72" y="156"/>
                  </a:lnTo>
                  <a:lnTo>
                    <a:pt x="70" y="156"/>
                  </a:lnTo>
                  <a:lnTo>
                    <a:pt x="70" y="156"/>
                  </a:lnTo>
                  <a:lnTo>
                    <a:pt x="72" y="156"/>
                  </a:lnTo>
                  <a:lnTo>
                    <a:pt x="72" y="156"/>
                  </a:lnTo>
                  <a:lnTo>
                    <a:pt x="72" y="154"/>
                  </a:lnTo>
                  <a:lnTo>
                    <a:pt x="72" y="154"/>
                  </a:lnTo>
                  <a:lnTo>
                    <a:pt x="75" y="154"/>
                  </a:lnTo>
                  <a:lnTo>
                    <a:pt x="72" y="156"/>
                  </a:lnTo>
                  <a:lnTo>
                    <a:pt x="72" y="156"/>
                  </a:lnTo>
                  <a:lnTo>
                    <a:pt x="72" y="156"/>
                  </a:lnTo>
                  <a:close/>
                  <a:moveTo>
                    <a:pt x="88" y="154"/>
                  </a:moveTo>
                  <a:lnTo>
                    <a:pt x="88" y="154"/>
                  </a:lnTo>
                  <a:lnTo>
                    <a:pt x="81" y="154"/>
                  </a:lnTo>
                  <a:lnTo>
                    <a:pt x="81" y="154"/>
                  </a:lnTo>
                  <a:lnTo>
                    <a:pt x="81" y="154"/>
                  </a:lnTo>
                  <a:lnTo>
                    <a:pt x="84" y="154"/>
                  </a:lnTo>
                  <a:lnTo>
                    <a:pt x="84" y="154"/>
                  </a:lnTo>
                  <a:lnTo>
                    <a:pt x="86" y="154"/>
                  </a:lnTo>
                  <a:lnTo>
                    <a:pt x="86" y="154"/>
                  </a:lnTo>
                  <a:lnTo>
                    <a:pt x="88" y="154"/>
                  </a:lnTo>
                  <a:lnTo>
                    <a:pt x="88" y="154"/>
                  </a:lnTo>
                  <a:lnTo>
                    <a:pt x="88" y="154"/>
                  </a:lnTo>
                  <a:close/>
                  <a:moveTo>
                    <a:pt x="79" y="0"/>
                  </a:moveTo>
                  <a:lnTo>
                    <a:pt x="84" y="0"/>
                  </a:lnTo>
                  <a:lnTo>
                    <a:pt x="84" y="0"/>
                  </a:lnTo>
                  <a:lnTo>
                    <a:pt x="84" y="0"/>
                  </a:lnTo>
                  <a:lnTo>
                    <a:pt x="84" y="3"/>
                  </a:lnTo>
                  <a:lnTo>
                    <a:pt x="86" y="3"/>
                  </a:lnTo>
                  <a:lnTo>
                    <a:pt x="86" y="3"/>
                  </a:lnTo>
                  <a:lnTo>
                    <a:pt x="86" y="3"/>
                  </a:lnTo>
                  <a:lnTo>
                    <a:pt x="86" y="5"/>
                  </a:lnTo>
                  <a:lnTo>
                    <a:pt x="86" y="5"/>
                  </a:lnTo>
                  <a:lnTo>
                    <a:pt x="86" y="5"/>
                  </a:lnTo>
                  <a:lnTo>
                    <a:pt x="86" y="7"/>
                  </a:lnTo>
                  <a:lnTo>
                    <a:pt x="86" y="7"/>
                  </a:lnTo>
                  <a:lnTo>
                    <a:pt x="86" y="10"/>
                  </a:lnTo>
                  <a:lnTo>
                    <a:pt x="86" y="12"/>
                  </a:lnTo>
                  <a:lnTo>
                    <a:pt x="86" y="14"/>
                  </a:lnTo>
                  <a:lnTo>
                    <a:pt x="86" y="17"/>
                  </a:lnTo>
                  <a:lnTo>
                    <a:pt x="86" y="21"/>
                  </a:lnTo>
                  <a:lnTo>
                    <a:pt x="86" y="24"/>
                  </a:lnTo>
                  <a:lnTo>
                    <a:pt x="86" y="28"/>
                  </a:lnTo>
                  <a:lnTo>
                    <a:pt x="86" y="31"/>
                  </a:lnTo>
                  <a:lnTo>
                    <a:pt x="86" y="35"/>
                  </a:lnTo>
                  <a:lnTo>
                    <a:pt x="86" y="40"/>
                  </a:lnTo>
                  <a:lnTo>
                    <a:pt x="86" y="45"/>
                  </a:lnTo>
                  <a:lnTo>
                    <a:pt x="86" y="49"/>
                  </a:lnTo>
                  <a:lnTo>
                    <a:pt x="86" y="54"/>
                  </a:lnTo>
                  <a:lnTo>
                    <a:pt x="86" y="59"/>
                  </a:lnTo>
                  <a:lnTo>
                    <a:pt x="86" y="63"/>
                  </a:lnTo>
                  <a:lnTo>
                    <a:pt x="86" y="66"/>
                  </a:lnTo>
                  <a:lnTo>
                    <a:pt x="86" y="70"/>
                  </a:lnTo>
                  <a:lnTo>
                    <a:pt x="86" y="75"/>
                  </a:lnTo>
                  <a:lnTo>
                    <a:pt x="86" y="79"/>
                  </a:lnTo>
                  <a:lnTo>
                    <a:pt x="86" y="82"/>
                  </a:lnTo>
                  <a:lnTo>
                    <a:pt x="86" y="86"/>
                  </a:lnTo>
                  <a:lnTo>
                    <a:pt x="86" y="89"/>
                  </a:lnTo>
                  <a:lnTo>
                    <a:pt x="86" y="91"/>
                  </a:lnTo>
                  <a:lnTo>
                    <a:pt x="84" y="96"/>
                  </a:lnTo>
                  <a:lnTo>
                    <a:pt x="84" y="98"/>
                  </a:lnTo>
                  <a:lnTo>
                    <a:pt x="84" y="98"/>
                  </a:lnTo>
                  <a:lnTo>
                    <a:pt x="84" y="100"/>
                  </a:lnTo>
                  <a:lnTo>
                    <a:pt x="84" y="100"/>
                  </a:lnTo>
                  <a:lnTo>
                    <a:pt x="84" y="100"/>
                  </a:lnTo>
                  <a:lnTo>
                    <a:pt x="86" y="105"/>
                  </a:lnTo>
                  <a:lnTo>
                    <a:pt x="86" y="107"/>
                  </a:lnTo>
                  <a:lnTo>
                    <a:pt x="86" y="110"/>
                  </a:lnTo>
                  <a:lnTo>
                    <a:pt x="86" y="112"/>
                  </a:lnTo>
                  <a:lnTo>
                    <a:pt x="86" y="117"/>
                  </a:lnTo>
                  <a:lnTo>
                    <a:pt x="86" y="119"/>
                  </a:lnTo>
                  <a:lnTo>
                    <a:pt x="88" y="121"/>
                  </a:lnTo>
                  <a:lnTo>
                    <a:pt x="88" y="126"/>
                  </a:lnTo>
                  <a:lnTo>
                    <a:pt x="88" y="128"/>
                  </a:lnTo>
                  <a:lnTo>
                    <a:pt x="88" y="131"/>
                  </a:lnTo>
                  <a:lnTo>
                    <a:pt x="88" y="135"/>
                  </a:lnTo>
                  <a:lnTo>
                    <a:pt x="91" y="138"/>
                  </a:lnTo>
                  <a:lnTo>
                    <a:pt x="91" y="140"/>
                  </a:lnTo>
                  <a:lnTo>
                    <a:pt x="91" y="142"/>
                  </a:lnTo>
                  <a:lnTo>
                    <a:pt x="91" y="147"/>
                  </a:lnTo>
                  <a:lnTo>
                    <a:pt x="91" y="149"/>
                  </a:lnTo>
                  <a:lnTo>
                    <a:pt x="91" y="149"/>
                  </a:lnTo>
                  <a:lnTo>
                    <a:pt x="91" y="149"/>
                  </a:lnTo>
                  <a:lnTo>
                    <a:pt x="91" y="149"/>
                  </a:lnTo>
                  <a:lnTo>
                    <a:pt x="91" y="149"/>
                  </a:lnTo>
                  <a:lnTo>
                    <a:pt x="91" y="149"/>
                  </a:lnTo>
                  <a:lnTo>
                    <a:pt x="91" y="149"/>
                  </a:lnTo>
                  <a:lnTo>
                    <a:pt x="91" y="149"/>
                  </a:lnTo>
                  <a:lnTo>
                    <a:pt x="91" y="152"/>
                  </a:lnTo>
                  <a:lnTo>
                    <a:pt x="91" y="152"/>
                  </a:lnTo>
                  <a:lnTo>
                    <a:pt x="91" y="152"/>
                  </a:lnTo>
                  <a:lnTo>
                    <a:pt x="88" y="152"/>
                  </a:lnTo>
                  <a:lnTo>
                    <a:pt x="88" y="152"/>
                  </a:lnTo>
                  <a:lnTo>
                    <a:pt x="88" y="152"/>
                  </a:lnTo>
                  <a:lnTo>
                    <a:pt x="88" y="152"/>
                  </a:lnTo>
                  <a:lnTo>
                    <a:pt x="88" y="152"/>
                  </a:lnTo>
                  <a:lnTo>
                    <a:pt x="86" y="152"/>
                  </a:lnTo>
                  <a:lnTo>
                    <a:pt x="86" y="152"/>
                  </a:lnTo>
                  <a:lnTo>
                    <a:pt x="86" y="149"/>
                  </a:lnTo>
                  <a:lnTo>
                    <a:pt x="86" y="149"/>
                  </a:lnTo>
                  <a:lnTo>
                    <a:pt x="86" y="149"/>
                  </a:lnTo>
                  <a:lnTo>
                    <a:pt x="86" y="149"/>
                  </a:lnTo>
                  <a:lnTo>
                    <a:pt x="86" y="149"/>
                  </a:lnTo>
                  <a:lnTo>
                    <a:pt x="84" y="152"/>
                  </a:lnTo>
                  <a:lnTo>
                    <a:pt x="84" y="152"/>
                  </a:lnTo>
                  <a:lnTo>
                    <a:pt x="81" y="152"/>
                  </a:lnTo>
                  <a:lnTo>
                    <a:pt x="79" y="149"/>
                  </a:lnTo>
                  <a:lnTo>
                    <a:pt x="77" y="149"/>
                  </a:lnTo>
                  <a:lnTo>
                    <a:pt x="77" y="149"/>
                  </a:lnTo>
                  <a:lnTo>
                    <a:pt x="75" y="149"/>
                  </a:lnTo>
                  <a:lnTo>
                    <a:pt x="75" y="149"/>
                  </a:lnTo>
                  <a:lnTo>
                    <a:pt x="75" y="149"/>
                  </a:lnTo>
                  <a:lnTo>
                    <a:pt x="79" y="149"/>
                  </a:lnTo>
                  <a:lnTo>
                    <a:pt x="79" y="149"/>
                  </a:lnTo>
                  <a:lnTo>
                    <a:pt x="77" y="149"/>
                  </a:lnTo>
                  <a:lnTo>
                    <a:pt x="75" y="149"/>
                  </a:lnTo>
                  <a:lnTo>
                    <a:pt x="75" y="152"/>
                  </a:lnTo>
                  <a:lnTo>
                    <a:pt x="75" y="152"/>
                  </a:lnTo>
                  <a:lnTo>
                    <a:pt x="75" y="152"/>
                  </a:lnTo>
                  <a:lnTo>
                    <a:pt x="75" y="152"/>
                  </a:lnTo>
                  <a:lnTo>
                    <a:pt x="72" y="152"/>
                  </a:lnTo>
                  <a:lnTo>
                    <a:pt x="70" y="152"/>
                  </a:lnTo>
                  <a:lnTo>
                    <a:pt x="68" y="154"/>
                  </a:lnTo>
                  <a:lnTo>
                    <a:pt x="68" y="154"/>
                  </a:lnTo>
                  <a:lnTo>
                    <a:pt x="68" y="154"/>
                  </a:lnTo>
                  <a:lnTo>
                    <a:pt x="68" y="154"/>
                  </a:lnTo>
                  <a:lnTo>
                    <a:pt x="68" y="152"/>
                  </a:lnTo>
                  <a:lnTo>
                    <a:pt x="68" y="152"/>
                  </a:lnTo>
                  <a:lnTo>
                    <a:pt x="68" y="152"/>
                  </a:lnTo>
                  <a:lnTo>
                    <a:pt x="65" y="152"/>
                  </a:lnTo>
                  <a:lnTo>
                    <a:pt x="65" y="152"/>
                  </a:lnTo>
                  <a:lnTo>
                    <a:pt x="65" y="152"/>
                  </a:lnTo>
                  <a:lnTo>
                    <a:pt x="65" y="152"/>
                  </a:lnTo>
                  <a:lnTo>
                    <a:pt x="65" y="152"/>
                  </a:lnTo>
                  <a:lnTo>
                    <a:pt x="65" y="152"/>
                  </a:lnTo>
                  <a:lnTo>
                    <a:pt x="65" y="152"/>
                  </a:lnTo>
                  <a:lnTo>
                    <a:pt x="65" y="152"/>
                  </a:lnTo>
                  <a:lnTo>
                    <a:pt x="65" y="152"/>
                  </a:lnTo>
                  <a:lnTo>
                    <a:pt x="65" y="154"/>
                  </a:lnTo>
                  <a:lnTo>
                    <a:pt x="65" y="154"/>
                  </a:lnTo>
                  <a:lnTo>
                    <a:pt x="65" y="154"/>
                  </a:lnTo>
                  <a:lnTo>
                    <a:pt x="63" y="156"/>
                  </a:lnTo>
                  <a:lnTo>
                    <a:pt x="63" y="156"/>
                  </a:lnTo>
                  <a:lnTo>
                    <a:pt x="63" y="156"/>
                  </a:lnTo>
                  <a:lnTo>
                    <a:pt x="63" y="156"/>
                  </a:lnTo>
                  <a:lnTo>
                    <a:pt x="63" y="156"/>
                  </a:lnTo>
                  <a:lnTo>
                    <a:pt x="63" y="159"/>
                  </a:lnTo>
                  <a:lnTo>
                    <a:pt x="63" y="159"/>
                  </a:lnTo>
                  <a:lnTo>
                    <a:pt x="63" y="159"/>
                  </a:lnTo>
                  <a:lnTo>
                    <a:pt x="63" y="159"/>
                  </a:lnTo>
                  <a:lnTo>
                    <a:pt x="63" y="159"/>
                  </a:lnTo>
                  <a:lnTo>
                    <a:pt x="63" y="159"/>
                  </a:lnTo>
                  <a:lnTo>
                    <a:pt x="63" y="159"/>
                  </a:lnTo>
                  <a:lnTo>
                    <a:pt x="63" y="159"/>
                  </a:lnTo>
                  <a:lnTo>
                    <a:pt x="61" y="159"/>
                  </a:lnTo>
                  <a:lnTo>
                    <a:pt x="61" y="159"/>
                  </a:lnTo>
                  <a:lnTo>
                    <a:pt x="61" y="159"/>
                  </a:lnTo>
                  <a:lnTo>
                    <a:pt x="61" y="159"/>
                  </a:lnTo>
                  <a:lnTo>
                    <a:pt x="61" y="159"/>
                  </a:lnTo>
                  <a:lnTo>
                    <a:pt x="61" y="159"/>
                  </a:lnTo>
                  <a:lnTo>
                    <a:pt x="61" y="159"/>
                  </a:lnTo>
                  <a:lnTo>
                    <a:pt x="61" y="159"/>
                  </a:lnTo>
                  <a:lnTo>
                    <a:pt x="58" y="159"/>
                  </a:lnTo>
                  <a:lnTo>
                    <a:pt x="58" y="159"/>
                  </a:lnTo>
                  <a:lnTo>
                    <a:pt x="58" y="156"/>
                  </a:lnTo>
                  <a:lnTo>
                    <a:pt x="56" y="154"/>
                  </a:lnTo>
                  <a:lnTo>
                    <a:pt x="56" y="154"/>
                  </a:lnTo>
                  <a:lnTo>
                    <a:pt x="56" y="154"/>
                  </a:lnTo>
                  <a:lnTo>
                    <a:pt x="56" y="152"/>
                  </a:lnTo>
                  <a:lnTo>
                    <a:pt x="56" y="152"/>
                  </a:lnTo>
                  <a:lnTo>
                    <a:pt x="56" y="152"/>
                  </a:lnTo>
                  <a:lnTo>
                    <a:pt x="56" y="149"/>
                  </a:lnTo>
                  <a:lnTo>
                    <a:pt x="56" y="149"/>
                  </a:lnTo>
                  <a:lnTo>
                    <a:pt x="56" y="149"/>
                  </a:lnTo>
                  <a:lnTo>
                    <a:pt x="56" y="149"/>
                  </a:lnTo>
                  <a:lnTo>
                    <a:pt x="54" y="149"/>
                  </a:lnTo>
                  <a:lnTo>
                    <a:pt x="54" y="147"/>
                  </a:lnTo>
                  <a:lnTo>
                    <a:pt x="54" y="147"/>
                  </a:lnTo>
                  <a:lnTo>
                    <a:pt x="51" y="147"/>
                  </a:lnTo>
                  <a:lnTo>
                    <a:pt x="51" y="147"/>
                  </a:lnTo>
                  <a:lnTo>
                    <a:pt x="51" y="145"/>
                  </a:lnTo>
                  <a:lnTo>
                    <a:pt x="51" y="145"/>
                  </a:lnTo>
                  <a:lnTo>
                    <a:pt x="51" y="145"/>
                  </a:lnTo>
                  <a:lnTo>
                    <a:pt x="51" y="142"/>
                  </a:lnTo>
                  <a:lnTo>
                    <a:pt x="51" y="142"/>
                  </a:lnTo>
                  <a:lnTo>
                    <a:pt x="51" y="142"/>
                  </a:lnTo>
                  <a:lnTo>
                    <a:pt x="51" y="142"/>
                  </a:lnTo>
                  <a:lnTo>
                    <a:pt x="51" y="140"/>
                  </a:lnTo>
                  <a:lnTo>
                    <a:pt x="51" y="140"/>
                  </a:lnTo>
                  <a:lnTo>
                    <a:pt x="51" y="140"/>
                  </a:lnTo>
                  <a:lnTo>
                    <a:pt x="51" y="138"/>
                  </a:lnTo>
                  <a:lnTo>
                    <a:pt x="51" y="135"/>
                  </a:lnTo>
                  <a:lnTo>
                    <a:pt x="51" y="135"/>
                  </a:lnTo>
                  <a:lnTo>
                    <a:pt x="54" y="133"/>
                  </a:lnTo>
                  <a:lnTo>
                    <a:pt x="54" y="133"/>
                  </a:lnTo>
                  <a:lnTo>
                    <a:pt x="54" y="133"/>
                  </a:lnTo>
                  <a:lnTo>
                    <a:pt x="51" y="133"/>
                  </a:lnTo>
                  <a:lnTo>
                    <a:pt x="51" y="133"/>
                  </a:lnTo>
                  <a:lnTo>
                    <a:pt x="49" y="133"/>
                  </a:lnTo>
                  <a:lnTo>
                    <a:pt x="49" y="133"/>
                  </a:lnTo>
                  <a:lnTo>
                    <a:pt x="47" y="133"/>
                  </a:lnTo>
                  <a:lnTo>
                    <a:pt x="42" y="133"/>
                  </a:lnTo>
                  <a:lnTo>
                    <a:pt x="40" y="133"/>
                  </a:lnTo>
                  <a:lnTo>
                    <a:pt x="35" y="133"/>
                  </a:lnTo>
                  <a:lnTo>
                    <a:pt x="35" y="133"/>
                  </a:lnTo>
                  <a:lnTo>
                    <a:pt x="30" y="133"/>
                  </a:lnTo>
                  <a:lnTo>
                    <a:pt x="26" y="135"/>
                  </a:lnTo>
                  <a:lnTo>
                    <a:pt x="21" y="135"/>
                  </a:lnTo>
                  <a:lnTo>
                    <a:pt x="16" y="135"/>
                  </a:lnTo>
                  <a:lnTo>
                    <a:pt x="12" y="135"/>
                  </a:lnTo>
                  <a:lnTo>
                    <a:pt x="9" y="135"/>
                  </a:lnTo>
                  <a:lnTo>
                    <a:pt x="5" y="135"/>
                  </a:lnTo>
                  <a:lnTo>
                    <a:pt x="2" y="135"/>
                  </a:lnTo>
                  <a:lnTo>
                    <a:pt x="2" y="135"/>
                  </a:lnTo>
                  <a:lnTo>
                    <a:pt x="0" y="135"/>
                  </a:lnTo>
                  <a:lnTo>
                    <a:pt x="0" y="135"/>
                  </a:lnTo>
                  <a:lnTo>
                    <a:pt x="0" y="135"/>
                  </a:lnTo>
                  <a:lnTo>
                    <a:pt x="2" y="133"/>
                  </a:lnTo>
                  <a:lnTo>
                    <a:pt x="0" y="133"/>
                  </a:lnTo>
                  <a:lnTo>
                    <a:pt x="0" y="133"/>
                  </a:lnTo>
                  <a:lnTo>
                    <a:pt x="0" y="131"/>
                  </a:lnTo>
                  <a:lnTo>
                    <a:pt x="0" y="131"/>
                  </a:lnTo>
                  <a:lnTo>
                    <a:pt x="0" y="131"/>
                  </a:lnTo>
                  <a:lnTo>
                    <a:pt x="0" y="131"/>
                  </a:lnTo>
                  <a:lnTo>
                    <a:pt x="0" y="131"/>
                  </a:lnTo>
                  <a:lnTo>
                    <a:pt x="0" y="128"/>
                  </a:lnTo>
                  <a:lnTo>
                    <a:pt x="0" y="128"/>
                  </a:lnTo>
                  <a:lnTo>
                    <a:pt x="0" y="128"/>
                  </a:lnTo>
                  <a:lnTo>
                    <a:pt x="0" y="128"/>
                  </a:lnTo>
                  <a:lnTo>
                    <a:pt x="0" y="128"/>
                  </a:lnTo>
                  <a:lnTo>
                    <a:pt x="0" y="128"/>
                  </a:lnTo>
                  <a:lnTo>
                    <a:pt x="0" y="126"/>
                  </a:lnTo>
                  <a:lnTo>
                    <a:pt x="0" y="126"/>
                  </a:lnTo>
                  <a:lnTo>
                    <a:pt x="0" y="126"/>
                  </a:lnTo>
                  <a:lnTo>
                    <a:pt x="2" y="126"/>
                  </a:lnTo>
                  <a:lnTo>
                    <a:pt x="2" y="126"/>
                  </a:lnTo>
                  <a:lnTo>
                    <a:pt x="2" y="126"/>
                  </a:lnTo>
                  <a:lnTo>
                    <a:pt x="2" y="126"/>
                  </a:lnTo>
                  <a:lnTo>
                    <a:pt x="2" y="124"/>
                  </a:lnTo>
                  <a:lnTo>
                    <a:pt x="2" y="124"/>
                  </a:lnTo>
                  <a:lnTo>
                    <a:pt x="2" y="124"/>
                  </a:lnTo>
                  <a:lnTo>
                    <a:pt x="2" y="121"/>
                  </a:lnTo>
                  <a:lnTo>
                    <a:pt x="2" y="121"/>
                  </a:lnTo>
                  <a:lnTo>
                    <a:pt x="2" y="121"/>
                  </a:lnTo>
                  <a:lnTo>
                    <a:pt x="2" y="121"/>
                  </a:lnTo>
                  <a:lnTo>
                    <a:pt x="2" y="121"/>
                  </a:lnTo>
                  <a:lnTo>
                    <a:pt x="2" y="119"/>
                  </a:lnTo>
                  <a:lnTo>
                    <a:pt x="2" y="119"/>
                  </a:lnTo>
                  <a:lnTo>
                    <a:pt x="5" y="117"/>
                  </a:lnTo>
                  <a:lnTo>
                    <a:pt x="5" y="117"/>
                  </a:lnTo>
                  <a:lnTo>
                    <a:pt x="5" y="117"/>
                  </a:lnTo>
                  <a:lnTo>
                    <a:pt x="5" y="117"/>
                  </a:lnTo>
                  <a:lnTo>
                    <a:pt x="5" y="112"/>
                  </a:lnTo>
                  <a:lnTo>
                    <a:pt x="5" y="112"/>
                  </a:lnTo>
                  <a:lnTo>
                    <a:pt x="5" y="112"/>
                  </a:lnTo>
                  <a:lnTo>
                    <a:pt x="5" y="110"/>
                  </a:lnTo>
                  <a:lnTo>
                    <a:pt x="7" y="110"/>
                  </a:lnTo>
                  <a:lnTo>
                    <a:pt x="7" y="107"/>
                  </a:lnTo>
                  <a:lnTo>
                    <a:pt x="7" y="107"/>
                  </a:lnTo>
                  <a:lnTo>
                    <a:pt x="7" y="107"/>
                  </a:lnTo>
                  <a:lnTo>
                    <a:pt x="9" y="107"/>
                  </a:lnTo>
                  <a:lnTo>
                    <a:pt x="9" y="107"/>
                  </a:lnTo>
                  <a:lnTo>
                    <a:pt x="9" y="107"/>
                  </a:lnTo>
                  <a:lnTo>
                    <a:pt x="12" y="105"/>
                  </a:lnTo>
                  <a:lnTo>
                    <a:pt x="12" y="105"/>
                  </a:lnTo>
                  <a:lnTo>
                    <a:pt x="12" y="103"/>
                  </a:lnTo>
                  <a:lnTo>
                    <a:pt x="12" y="103"/>
                  </a:lnTo>
                  <a:lnTo>
                    <a:pt x="12" y="103"/>
                  </a:lnTo>
                  <a:lnTo>
                    <a:pt x="12" y="103"/>
                  </a:lnTo>
                  <a:lnTo>
                    <a:pt x="14" y="103"/>
                  </a:lnTo>
                  <a:lnTo>
                    <a:pt x="14" y="100"/>
                  </a:lnTo>
                  <a:lnTo>
                    <a:pt x="14" y="100"/>
                  </a:lnTo>
                  <a:lnTo>
                    <a:pt x="12" y="98"/>
                  </a:lnTo>
                  <a:lnTo>
                    <a:pt x="12" y="98"/>
                  </a:lnTo>
                  <a:lnTo>
                    <a:pt x="12" y="98"/>
                  </a:lnTo>
                  <a:lnTo>
                    <a:pt x="14" y="98"/>
                  </a:lnTo>
                  <a:lnTo>
                    <a:pt x="14" y="98"/>
                  </a:lnTo>
                  <a:lnTo>
                    <a:pt x="14" y="98"/>
                  </a:lnTo>
                  <a:lnTo>
                    <a:pt x="16" y="96"/>
                  </a:lnTo>
                  <a:lnTo>
                    <a:pt x="16" y="93"/>
                  </a:lnTo>
                  <a:lnTo>
                    <a:pt x="16" y="93"/>
                  </a:lnTo>
                  <a:lnTo>
                    <a:pt x="16" y="93"/>
                  </a:lnTo>
                  <a:lnTo>
                    <a:pt x="19" y="93"/>
                  </a:lnTo>
                  <a:lnTo>
                    <a:pt x="19" y="91"/>
                  </a:lnTo>
                  <a:lnTo>
                    <a:pt x="16" y="91"/>
                  </a:lnTo>
                  <a:lnTo>
                    <a:pt x="16" y="91"/>
                  </a:lnTo>
                  <a:lnTo>
                    <a:pt x="16" y="91"/>
                  </a:lnTo>
                  <a:lnTo>
                    <a:pt x="16" y="91"/>
                  </a:lnTo>
                  <a:lnTo>
                    <a:pt x="14" y="91"/>
                  </a:lnTo>
                  <a:lnTo>
                    <a:pt x="14" y="89"/>
                  </a:lnTo>
                  <a:lnTo>
                    <a:pt x="14" y="89"/>
                  </a:lnTo>
                  <a:lnTo>
                    <a:pt x="14" y="89"/>
                  </a:lnTo>
                  <a:lnTo>
                    <a:pt x="12" y="89"/>
                  </a:lnTo>
                  <a:lnTo>
                    <a:pt x="12" y="89"/>
                  </a:lnTo>
                  <a:lnTo>
                    <a:pt x="12" y="86"/>
                  </a:lnTo>
                  <a:lnTo>
                    <a:pt x="12" y="86"/>
                  </a:lnTo>
                  <a:lnTo>
                    <a:pt x="12" y="86"/>
                  </a:lnTo>
                  <a:lnTo>
                    <a:pt x="12" y="84"/>
                  </a:lnTo>
                  <a:lnTo>
                    <a:pt x="12" y="84"/>
                  </a:lnTo>
                  <a:lnTo>
                    <a:pt x="12" y="84"/>
                  </a:lnTo>
                  <a:lnTo>
                    <a:pt x="12" y="84"/>
                  </a:lnTo>
                  <a:lnTo>
                    <a:pt x="12" y="84"/>
                  </a:lnTo>
                  <a:lnTo>
                    <a:pt x="12" y="84"/>
                  </a:lnTo>
                  <a:lnTo>
                    <a:pt x="9" y="84"/>
                  </a:lnTo>
                  <a:lnTo>
                    <a:pt x="9" y="82"/>
                  </a:lnTo>
                  <a:lnTo>
                    <a:pt x="9" y="82"/>
                  </a:lnTo>
                  <a:lnTo>
                    <a:pt x="9" y="82"/>
                  </a:lnTo>
                  <a:lnTo>
                    <a:pt x="9" y="82"/>
                  </a:lnTo>
                  <a:lnTo>
                    <a:pt x="12" y="82"/>
                  </a:lnTo>
                  <a:lnTo>
                    <a:pt x="12" y="82"/>
                  </a:lnTo>
                  <a:lnTo>
                    <a:pt x="12" y="79"/>
                  </a:lnTo>
                  <a:lnTo>
                    <a:pt x="12" y="79"/>
                  </a:lnTo>
                  <a:lnTo>
                    <a:pt x="12" y="79"/>
                  </a:lnTo>
                  <a:lnTo>
                    <a:pt x="12" y="79"/>
                  </a:lnTo>
                  <a:lnTo>
                    <a:pt x="9" y="79"/>
                  </a:lnTo>
                  <a:lnTo>
                    <a:pt x="9" y="79"/>
                  </a:lnTo>
                  <a:lnTo>
                    <a:pt x="9" y="77"/>
                  </a:lnTo>
                  <a:lnTo>
                    <a:pt x="9" y="77"/>
                  </a:lnTo>
                  <a:lnTo>
                    <a:pt x="12" y="75"/>
                  </a:lnTo>
                  <a:lnTo>
                    <a:pt x="12" y="75"/>
                  </a:lnTo>
                  <a:lnTo>
                    <a:pt x="12" y="75"/>
                  </a:lnTo>
                  <a:lnTo>
                    <a:pt x="12" y="75"/>
                  </a:lnTo>
                  <a:lnTo>
                    <a:pt x="12" y="72"/>
                  </a:lnTo>
                  <a:lnTo>
                    <a:pt x="12" y="72"/>
                  </a:lnTo>
                  <a:lnTo>
                    <a:pt x="12" y="72"/>
                  </a:lnTo>
                  <a:lnTo>
                    <a:pt x="12" y="72"/>
                  </a:lnTo>
                  <a:lnTo>
                    <a:pt x="12" y="72"/>
                  </a:lnTo>
                  <a:lnTo>
                    <a:pt x="9" y="72"/>
                  </a:lnTo>
                  <a:lnTo>
                    <a:pt x="9" y="72"/>
                  </a:lnTo>
                  <a:lnTo>
                    <a:pt x="9" y="72"/>
                  </a:lnTo>
                  <a:lnTo>
                    <a:pt x="9" y="70"/>
                  </a:lnTo>
                  <a:lnTo>
                    <a:pt x="9" y="70"/>
                  </a:lnTo>
                  <a:lnTo>
                    <a:pt x="9" y="68"/>
                  </a:lnTo>
                  <a:lnTo>
                    <a:pt x="9" y="66"/>
                  </a:lnTo>
                  <a:lnTo>
                    <a:pt x="9" y="66"/>
                  </a:lnTo>
                  <a:lnTo>
                    <a:pt x="12" y="66"/>
                  </a:lnTo>
                  <a:lnTo>
                    <a:pt x="12" y="66"/>
                  </a:lnTo>
                  <a:lnTo>
                    <a:pt x="12" y="66"/>
                  </a:lnTo>
                  <a:lnTo>
                    <a:pt x="12" y="66"/>
                  </a:lnTo>
                  <a:lnTo>
                    <a:pt x="12" y="63"/>
                  </a:lnTo>
                  <a:lnTo>
                    <a:pt x="9" y="61"/>
                  </a:lnTo>
                  <a:lnTo>
                    <a:pt x="9" y="61"/>
                  </a:lnTo>
                  <a:lnTo>
                    <a:pt x="9" y="61"/>
                  </a:lnTo>
                  <a:lnTo>
                    <a:pt x="9" y="61"/>
                  </a:lnTo>
                  <a:lnTo>
                    <a:pt x="9" y="61"/>
                  </a:lnTo>
                  <a:lnTo>
                    <a:pt x="9" y="61"/>
                  </a:lnTo>
                  <a:lnTo>
                    <a:pt x="9" y="61"/>
                  </a:lnTo>
                  <a:lnTo>
                    <a:pt x="9" y="59"/>
                  </a:lnTo>
                  <a:lnTo>
                    <a:pt x="9" y="59"/>
                  </a:lnTo>
                  <a:lnTo>
                    <a:pt x="9" y="56"/>
                  </a:lnTo>
                  <a:lnTo>
                    <a:pt x="9" y="56"/>
                  </a:lnTo>
                  <a:lnTo>
                    <a:pt x="9" y="56"/>
                  </a:lnTo>
                  <a:lnTo>
                    <a:pt x="9" y="54"/>
                  </a:lnTo>
                  <a:lnTo>
                    <a:pt x="7" y="54"/>
                  </a:lnTo>
                  <a:lnTo>
                    <a:pt x="7" y="54"/>
                  </a:lnTo>
                  <a:lnTo>
                    <a:pt x="7" y="54"/>
                  </a:lnTo>
                  <a:lnTo>
                    <a:pt x="7" y="54"/>
                  </a:lnTo>
                  <a:lnTo>
                    <a:pt x="7" y="52"/>
                  </a:lnTo>
                  <a:lnTo>
                    <a:pt x="7" y="52"/>
                  </a:lnTo>
                  <a:lnTo>
                    <a:pt x="7" y="52"/>
                  </a:lnTo>
                  <a:lnTo>
                    <a:pt x="7" y="52"/>
                  </a:lnTo>
                  <a:lnTo>
                    <a:pt x="9" y="52"/>
                  </a:lnTo>
                  <a:lnTo>
                    <a:pt x="9" y="52"/>
                  </a:lnTo>
                  <a:lnTo>
                    <a:pt x="9" y="49"/>
                  </a:lnTo>
                  <a:lnTo>
                    <a:pt x="9" y="49"/>
                  </a:lnTo>
                  <a:lnTo>
                    <a:pt x="7" y="49"/>
                  </a:lnTo>
                  <a:lnTo>
                    <a:pt x="7" y="49"/>
                  </a:lnTo>
                  <a:lnTo>
                    <a:pt x="7" y="49"/>
                  </a:lnTo>
                  <a:lnTo>
                    <a:pt x="7" y="49"/>
                  </a:lnTo>
                  <a:lnTo>
                    <a:pt x="7" y="47"/>
                  </a:lnTo>
                  <a:lnTo>
                    <a:pt x="9" y="47"/>
                  </a:lnTo>
                  <a:lnTo>
                    <a:pt x="9" y="47"/>
                  </a:lnTo>
                  <a:lnTo>
                    <a:pt x="9" y="47"/>
                  </a:lnTo>
                  <a:lnTo>
                    <a:pt x="9" y="45"/>
                  </a:lnTo>
                  <a:lnTo>
                    <a:pt x="9" y="45"/>
                  </a:lnTo>
                  <a:lnTo>
                    <a:pt x="9" y="45"/>
                  </a:lnTo>
                  <a:lnTo>
                    <a:pt x="12" y="45"/>
                  </a:lnTo>
                  <a:lnTo>
                    <a:pt x="12" y="45"/>
                  </a:lnTo>
                  <a:lnTo>
                    <a:pt x="12" y="45"/>
                  </a:lnTo>
                  <a:lnTo>
                    <a:pt x="12" y="45"/>
                  </a:lnTo>
                  <a:lnTo>
                    <a:pt x="12" y="42"/>
                  </a:lnTo>
                  <a:lnTo>
                    <a:pt x="9" y="42"/>
                  </a:lnTo>
                  <a:lnTo>
                    <a:pt x="12" y="42"/>
                  </a:lnTo>
                  <a:lnTo>
                    <a:pt x="12" y="40"/>
                  </a:lnTo>
                  <a:lnTo>
                    <a:pt x="12" y="40"/>
                  </a:lnTo>
                  <a:lnTo>
                    <a:pt x="9" y="40"/>
                  </a:lnTo>
                  <a:lnTo>
                    <a:pt x="9" y="40"/>
                  </a:lnTo>
                  <a:lnTo>
                    <a:pt x="9" y="40"/>
                  </a:lnTo>
                  <a:lnTo>
                    <a:pt x="9" y="40"/>
                  </a:lnTo>
                  <a:lnTo>
                    <a:pt x="9" y="38"/>
                  </a:lnTo>
                  <a:lnTo>
                    <a:pt x="12" y="38"/>
                  </a:lnTo>
                  <a:lnTo>
                    <a:pt x="12" y="38"/>
                  </a:lnTo>
                  <a:lnTo>
                    <a:pt x="12" y="38"/>
                  </a:lnTo>
                  <a:lnTo>
                    <a:pt x="14" y="38"/>
                  </a:lnTo>
                  <a:lnTo>
                    <a:pt x="14" y="38"/>
                  </a:lnTo>
                  <a:lnTo>
                    <a:pt x="14" y="38"/>
                  </a:lnTo>
                  <a:lnTo>
                    <a:pt x="14" y="38"/>
                  </a:lnTo>
                  <a:lnTo>
                    <a:pt x="14" y="35"/>
                  </a:lnTo>
                  <a:lnTo>
                    <a:pt x="14" y="35"/>
                  </a:lnTo>
                  <a:lnTo>
                    <a:pt x="14" y="35"/>
                  </a:lnTo>
                  <a:lnTo>
                    <a:pt x="14" y="33"/>
                  </a:lnTo>
                  <a:lnTo>
                    <a:pt x="14" y="33"/>
                  </a:lnTo>
                  <a:lnTo>
                    <a:pt x="14" y="33"/>
                  </a:lnTo>
                  <a:lnTo>
                    <a:pt x="14" y="33"/>
                  </a:lnTo>
                  <a:lnTo>
                    <a:pt x="16" y="31"/>
                  </a:lnTo>
                  <a:lnTo>
                    <a:pt x="16" y="28"/>
                  </a:lnTo>
                  <a:lnTo>
                    <a:pt x="16" y="28"/>
                  </a:lnTo>
                  <a:lnTo>
                    <a:pt x="16" y="28"/>
                  </a:lnTo>
                  <a:lnTo>
                    <a:pt x="16" y="28"/>
                  </a:lnTo>
                  <a:lnTo>
                    <a:pt x="16" y="28"/>
                  </a:lnTo>
                  <a:lnTo>
                    <a:pt x="16" y="28"/>
                  </a:lnTo>
                  <a:lnTo>
                    <a:pt x="19" y="28"/>
                  </a:lnTo>
                  <a:lnTo>
                    <a:pt x="19" y="28"/>
                  </a:lnTo>
                  <a:lnTo>
                    <a:pt x="19" y="28"/>
                  </a:lnTo>
                  <a:lnTo>
                    <a:pt x="19" y="28"/>
                  </a:lnTo>
                  <a:lnTo>
                    <a:pt x="19" y="28"/>
                  </a:lnTo>
                  <a:lnTo>
                    <a:pt x="19" y="26"/>
                  </a:lnTo>
                  <a:lnTo>
                    <a:pt x="19" y="26"/>
                  </a:lnTo>
                  <a:lnTo>
                    <a:pt x="19" y="26"/>
                  </a:lnTo>
                  <a:lnTo>
                    <a:pt x="19" y="26"/>
                  </a:lnTo>
                  <a:lnTo>
                    <a:pt x="19" y="26"/>
                  </a:lnTo>
                  <a:lnTo>
                    <a:pt x="19" y="26"/>
                  </a:lnTo>
                  <a:lnTo>
                    <a:pt x="19" y="26"/>
                  </a:lnTo>
                  <a:lnTo>
                    <a:pt x="19" y="26"/>
                  </a:lnTo>
                  <a:lnTo>
                    <a:pt x="21" y="26"/>
                  </a:lnTo>
                  <a:lnTo>
                    <a:pt x="21" y="26"/>
                  </a:lnTo>
                  <a:lnTo>
                    <a:pt x="21" y="24"/>
                  </a:lnTo>
                  <a:lnTo>
                    <a:pt x="23" y="24"/>
                  </a:lnTo>
                  <a:lnTo>
                    <a:pt x="21" y="21"/>
                  </a:lnTo>
                  <a:lnTo>
                    <a:pt x="23" y="19"/>
                  </a:lnTo>
                  <a:lnTo>
                    <a:pt x="21" y="17"/>
                  </a:lnTo>
                  <a:lnTo>
                    <a:pt x="21" y="17"/>
                  </a:lnTo>
                  <a:lnTo>
                    <a:pt x="21" y="14"/>
                  </a:lnTo>
                  <a:lnTo>
                    <a:pt x="23" y="14"/>
                  </a:lnTo>
                  <a:lnTo>
                    <a:pt x="23" y="14"/>
                  </a:lnTo>
                  <a:lnTo>
                    <a:pt x="23" y="14"/>
                  </a:lnTo>
                  <a:lnTo>
                    <a:pt x="23" y="14"/>
                  </a:lnTo>
                  <a:lnTo>
                    <a:pt x="23" y="14"/>
                  </a:lnTo>
                  <a:lnTo>
                    <a:pt x="26" y="14"/>
                  </a:lnTo>
                  <a:lnTo>
                    <a:pt x="26" y="14"/>
                  </a:lnTo>
                  <a:lnTo>
                    <a:pt x="26" y="12"/>
                  </a:lnTo>
                  <a:lnTo>
                    <a:pt x="26" y="12"/>
                  </a:lnTo>
                  <a:lnTo>
                    <a:pt x="23" y="12"/>
                  </a:lnTo>
                  <a:lnTo>
                    <a:pt x="26" y="12"/>
                  </a:lnTo>
                  <a:lnTo>
                    <a:pt x="28" y="10"/>
                  </a:lnTo>
                  <a:lnTo>
                    <a:pt x="28" y="10"/>
                  </a:lnTo>
                  <a:lnTo>
                    <a:pt x="30" y="7"/>
                  </a:lnTo>
                  <a:lnTo>
                    <a:pt x="30" y="7"/>
                  </a:lnTo>
                  <a:lnTo>
                    <a:pt x="28" y="5"/>
                  </a:lnTo>
                  <a:lnTo>
                    <a:pt x="28" y="5"/>
                  </a:lnTo>
                  <a:lnTo>
                    <a:pt x="33" y="5"/>
                  </a:lnTo>
                  <a:lnTo>
                    <a:pt x="35" y="5"/>
                  </a:lnTo>
                  <a:lnTo>
                    <a:pt x="40" y="5"/>
                  </a:lnTo>
                  <a:lnTo>
                    <a:pt x="42" y="5"/>
                  </a:lnTo>
                  <a:lnTo>
                    <a:pt x="47" y="5"/>
                  </a:lnTo>
                  <a:lnTo>
                    <a:pt x="49" y="5"/>
                  </a:lnTo>
                  <a:lnTo>
                    <a:pt x="51" y="3"/>
                  </a:lnTo>
                  <a:lnTo>
                    <a:pt x="56" y="3"/>
                  </a:lnTo>
                  <a:lnTo>
                    <a:pt x="58" y="3"/>
                  </a:lnTo>
                  <a:lnTo>
                    <a:pt x="63" y="3"/>
                  </a:lnTo>
                  <a:lnTo>
                    <a:pt x="65" y="3"/>
                  </a:lnTo>
                  <a:lnTo>
                    <a:pt x="70" y="3"/>
                  </a:lnTo>
                  <a:lnTo>
                    <a:pt x="72" y="3"/>
                  </a:lnTo>
                  <a:lnTo>
                    <a:pt x="77" y="3"/>
                  </a:lnTo>
                  <a:lnTo>
                    <a:pt x="79"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800">
              <a:extLst>
                <a:ext uri="{FF2B5EF4-FFF2-40B4-BE49-F238E27FC236}">
                  <a16:creationId xmlns:a16="http://schemas.microsoft.com/office/drawing/2014/main" id="{AE33FF64-F511-4E44-9F56-5752500402AF}"/>
                </a:ext>
              </a:extLst>
            </p:cNvPr>
            <p:cNvSpPr>
              <a:spLocks noEditPoints="1"/>
            </p:cNvSpPr>
            <p:nvPr/>
          </p:nvSpPr>
          <p:spPr bwMode="auto">
            <a:xfrm>
              <a:off x="7092156" y="4884738"/>
              <a:ext cx="206375" cy="155575"/>
            </a:xfrm>
            <a:custGeom>
              <a:avLst/>
              <a:gdLst>
                <a:gd name="T0" fmla="*/ 23 w 130"/>
                <a:gd name="T1" fmla="*/ 3 h 98"/>
                <a:gd name="T2" fmla="*/ 32 w 130"/>
                <a:gd name="T3" fmla="*/ 3 h 98"/>
                <a:gd name="T4" fmla="*/ 42 w 130"/>
                <a:gd name="T5" fmla="*/ 3 h 98"/>
                <a:gd name="T6" fmla="*/ 51 w 130"/>
                <a:gd name="T7" fmla="*/ 0 h 98"/>
                <a:gd name="T8" fmla="*/ 58 w 130"/>
                <a:gd name="T9" fmla="*/ 3 h 98"/>
                <a:gd name="T10" fmla="*/ 65 w 130"/>
                <a:gd name="T11" fmla="*/ 7 h 98"/>
                <a:gd name="T12" fmla="*/ 72 w 130"/>
                <a:gd name="T13" fmla="*/ 7 h 98"/>
                <a:gd name="T14" fmla="*/ 81 w 130"/>
                <a:gd name="T15" fmla="*/ 7 h 98"/>
                <a:gd name="T16" fmla="*/ 91 w 130"/>
                <a:gd name="T17" fmla="*/ 5 h 98"/>
                <a:gd name="T18" fmla="*/ 100 w 130"/>
                <a:gd name="T19" fmla="*/ 7 h 98"/>
                <a:gd name="T20" fmla="*/ 109 w 130"/>
                <a:gd name="T21" fmla="*/ 14 h 98"/>
                <a:gd name="T22" fmla="*/ 116 w 130"/>
                <a:gd name="T23" fmla="*/ 19 h 98"/>
                <a:gd name="T24" fmla="*/ 125 w 130"/>
                <a:gd name="T25" fmla="*/ 24 h 98"/>
                <a:gd name="T26" fmla="*/ 130 w 130"/>
                <a:gd name="T27" fmla="*/ 28 h 98"/>
                <a:gd name="T28" fmla="*/ 123 w 130"/>
                <a:gd name="T29" fmla="*/ 35 h 98"/>
                <a:gd name="T30" fmla="*/ 119 w 130"/>
                <a:gd name="T31" fmla="*/ 47 h 98"/>
                <a:gd name="T32" fmla="*/ 114 w 130"/>
                <a:gd name="T33" fmla="*/ 49 h 98"/>
                <a:gd name="T34" fmla="*/ 114 w 130"/>
                <a:gd name="T35" fmla="*/ 47 h 98"/>
                <a:gd name="T36" fmla="*/ 119 w 130"/>
                <a:gd name="T37" fmla="*/ 52 h 98"/>
                <a:gd name="T38" fmla="*/ 116 w 130"/>
                <a:gd name="T39" fmla="*/ 54 h 98"/>
                <a:gd name="T40" fmla="*/ 114 w 130"/>
                <a:gd name="T41" fmla="*/ 56 h 98"/>
                <a:gd name="T42" fmla="*/ 109 w 130"/>
                <a:gd name="T43" fmla="*/ 59 h 98"/>
                <a:gd name="T44" fmla="*/ 109 w 130"/>
                <a:gd name="T45" fmla="*/ 63 h 98"/>
                <a:gd name="T46" fmla="*/ 102 w 130"/>
                <a:gd name="T47" fmla="*/ 70 h 98"/>
                <a:gd name="T48" fmla="*/ 100 w 130"/>
                <a:gd name="T49" fmla="*/ 68 h 98"/>
                <a:gd name="T50" fmla="*/ 102 w 130"/>
                <a:gd name="T51" fmla="*/ 70 h 98"/>
                <a:gd name="T52" fmla="*/ 100 w 130"/>
                <a:gd name="T53" fmla="*/ 75 h 98"/>
                <a:gd name="T54" fmla="*/ 93 w 130"/>
                <a:gd name="T55" fmla="*/ 77 h 98"/>
                <a:gd name="T56" fmla="*/ 93 w 130"/>
                <a:gd name="T57" fmla="*/ 77 h 98"/>
                <a:gd name="T58" fmla="*/ 88 w 130"/>
                <a:gd name="T59" fmla="*/ 82 h 98"/>
                <a:gd name="T60" fmla="*/ 81 w 130"/>
                <a:gd name="T61" fmla="*/ 82 h 98"/>
                <a:gd name="T62" fmla="*/ 86 w 130"/>
                <a:gd name="T63" fmla="*/ 82 h 98"/>
                <a:gd name="T64" fmla="*/ 86 w 130"/>
                <a:gd name="T65" fmla="*/ 84 h 98"/>
                <a:gd name="T66" fmla="*/ 88 w 130"/>
                <a:gd name="T67" fmla="*/ 87 h 98"/>
                <a:gd name="T68" fmla="*/ 84 w 130"/>
                <a:gd name="T69" fmla="*/ 84 h 98"/>
                <a:gd name="T70" fmla="*/ 81 w 130"/>
                <a:gd name="T71" fmla="*/ 82 h 98"/>
                <a:gd name="T72" fmla="*/ 84 w 130"/>
                <a:gd name="T73" fmla="*/ 89 h 98"/>
                <a:gd name="T74" fmla="*/ 77 w 130"/>
                <a:gd name="T75" fmla="*/ 82 h 98"/>
                <a:gd name="T76" fmla="*/ 79 w 130"/>
                <a:gd name="T77" fmla="*/ 89 h 98"/>
                <a:gd name="T78" fmla="*/ 81 w 130"/>
                <a:gd name="T79" fmla="*/ 94 h 98"/>
                <a:gd name="T80" fmla="*/ 79 w 130"/>
                <a:gd name="T81" fmla="*/ 94 h 98"/>
                <a:gd name="T82" fmla="*/ 77 w 130"/>
                <a:gd name="T83" fmla="*/ 96 h 98"/>
                <a:gd name="T84" fmla="*/ 72 w 130"/>
                <a:gd name="T85" fmla="*/ 91 h 98"/>
                <a:gd name="T86" fmla="*/ 65 w 130"/>
                <a:gd name="T87" fmla="*/ 84 h 98"/>
                <a:gd name="T88" fmla="*/ 60 w 130"/>
                <a:gd name="T89" fmla="*/ 80 h 98"/>
                <a:gd name="T90" fmla="*/ 58 w 130"/>
                <a:gd name="T91" fmla="*/ 70 h 98"/>
                <a:gd name="T92" fmla="*/ 51 w 130"/>
                <a:gd name="T93" fmla="*/ 66 h 98"/>
                <a:gd name="T94" fmla="*/ 46 w 130"/>
                <a:gd name="T95" fmla="*/ 61 h 98"/>
                <a:gd name="T96" fmla="*/ 42 w 130"/>
                <a:gd name="T97" fmla="*/ 56 h 98"/>
                <a:gd name="T98" fmla="*/ 35 w 130"/>
                <a:gd name="T99" fmla="*/ 49 h 98"/>
                <a:gd name="T100" fmla="*/ 28 w 130"/>
                <a:gd name="T101" fmla="*/ 47 h 98"/>
                <a:gd name="T102" fmla="*/ 23 w 130"/>
                <a:gd name="T103" fmla="*/ 42 h 98"/>
                <a:gd name="T104" fmla="*/ 18 w 130"/>
                <a:gd name="T105" fmla="*/ 38 h 98"/>
                <a:gd name="T106" fmla="*/ 14 w 130"/>
                <a:gd name="T107" fmla="*/ 31 h 98"/>
                <a:gd name="T108" fmla="*/ 7 w 130"/>
                <a:gd name="T109" fmla="*/ 28 h 98"/>
                <a:gd name="T110" fmla="*/ 0 w 130"/>
                <a:gd name="T111" fmla="*/ 21 h 98"/>
                <a:gd name="T112" fmla="*/ 4 w 130"/>
                <a:gd name="T113" fmla="*/ 14 h 98"/>
                <a:gd name="T114" fmla="*/ 16 w 130"/>
                <a:gd name="T115" fmla="*/ 7 h 98"/>
                <a:gd name="T116" fmla="*/ 23 w 130"/>
                <a:gd name="T117"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98">
                  <a:moveTo>
                    <a:pt x="114" y="59"/>
                  </a:moveTo>
                  <a:lnTo>
                    <a:pt x="114" y="56"/>
                  </a:lnTo>
                  <a:lnTo>
                    <a:pt x="114" y="59"/>
                  </a:lnTo>
                  <a:close/>
                  <a:moveTo>
                    <a:pt x="23" y="3"/>
                  </a:moveTo>
                  <a:lnTo>
                    <a:pt x="25" y="3"/>
                  </a:lnTo>
                  <a:lnTo>
                    <a:pt x="28" y="3"/>
                  </a:lnTo>
                  <a:lnTo>
                    <a:pt x="30" y="3"/>
                  </a:lnTo>
                  <a:lnTo>
                    <a:pt x="32" y="3"/>
                  </a:lnTo>
                  <a:lnTo>
                    <a:pt x="35" y="3"/>
                  </a:lnTo>
                  <a:lnTo>
                    <a:pt x="37" y="3"/>
                  </a:lnTo>
                  <a:lnTo>
                    <a:pt x="39" y="3"/>
                  </a:lnTo>
                  <a:lnTo>
                    <a:pt x="42" y="3"/>
                  </a:lnTo>
                  <a:lnTo>
                    <a:pt x="44" y="0"/>
                  </a:lnTo>
                  <a:lnTo>
                    <a:pt x="46" y="0"/>
                  </a:lnTo>
                  <a:lnTo>
                    <a:pt x="49" y="0"/>
                  </a:lnTo>
                  <a:lnTo>
                    <a:pt x="51" y="0"/>
                  </a:lnTo>
                  <a:lnTo>
                    <a:pt x="53" y="0"/>
                  </a:lnTo>
                  <a:lnTo>
                    <a:pt x="56" y="0"/>
                  </a:lnTo>
                  <a:lnTo>
                    <a:pt x="58" y="0"/>
                  </a:lnTo>
                  <a:lnTo>
                    <a:pt x="58" y="3"/>
                  </a:lnTo>
                  <a:lnTo>
                    <a:pt x="60" y="0"/>
                  </a:lnTo>
                  <a:lnTo>
                    <a:pt x="63" y="3"/>
                  </a:lnTo>
                  <a:lnTo>
                    <a:pt x="65" y="5"/>
                  </a:lnTo>
                  <a:lnTo>
                    <a:pt x="65" y="7"/>
                  </a:lnTo>
                  <a:lnTo>
                    <a:pt x="65" y="10"/>
                  </a:lnTo>
                  <a:lnTo>
                    <a:pt x="67" y="10"/>
                  </a:lnTo>
                  <a:lnTo>
                    <a:pt x="70" y="7"/>
                  </a:lnTo>
                  <a:lnTo>
                    <a:pt x="72" y="7"/>
                  </a:lnTo>
                  <a:lnTo>
                    <a:pt x="74" y="7"/>
                  </a:lnTo>
                  <a:lnTo>
                    <a:pt x="77" y="7"/>
                  </a:lnTo>
                  <a:lnTo>
                    <a:pt x="79" y="7"/>
                  </a:lnTo>
                  <a:lnTo>
                    <a:pt x="81" y="7"/>
                  </a:lnTo>
                  <a:lnTo>
                    <a:pt x="84" y="5"/>
                  </a:lnTo>
                  <a:lnTo>
                    <a:pt x="86" y="5"/>
                  </a:lnTo>
                  <a:lnTo>
                    <a:pt x="88" y="5"/>
                  </a:lnTo>
                  <a:lnTo>
                    <a:pt x="91" y="5"/>
                  </a:lnTo>
                  <a:lnTo>
                    <a:pt x="93" y="5"/>
                  </a:lnTo>
                  <a:lnTo>
                    <a:pt x="95" y="5"/>
                  </a:lnTo>
                  <a:lnTo>
                    <a:pt x="98" y="5"/>
                  </a:lnTo>
                  <a:lnTo>
                    <a:pt x="100" y="7"/>
                  </a:lnTo>
                  <a:lnTo>
                    <a:pt x="102" y="10"/>
                  </a:lnTo>
                  <a:lnTo>
                    <a:pt x="105" y="10"/>
                  </a:lnTo>
                  <a:lnTo>
                    <a:pt x="107" y="12"/>
                  </a:lnTo>
                  <a:lnTo>
                    <a:pt x="109" y="14"/>
                  </a:lnTo>
                  <a:lnTo>
                    <a:pt x="112" y="14"/>
                  </a:lnTo>
                  <a:lnTo>
                    <a:pt x="114" y="17"/>
                  </a:lnTo>
                  <a:lnTo>
                    <a:pt x="116" y="17"/>
                  </a:lnTo>
                  <a:lnTo>
                    <a:pt x="116" y="19"/>
                  </a:lnTo>
                  <a:lnTo>
                    <a:pt x="119" y="21"/>
                  </a:lnTo>
                  <a:lnTo>
                    <a:pt x="121" y="21"/>
                  </a:lnTo>
                  <a:lnTo>
                    <a:pt x="123" y="24"/>
                  </a:lnTo>
                  <a:lnTo>
                    <a:pt x="125" y="24"/>
                  </a:lnTo>
                  <a:lnTo>
                    <a:pt x="128" y="26"/>
                  </a:lnTo>
                  <a:lnTo>
                    <a:pt x="130" y="28"/>
                  </a:lnTo>
                  <a:lnTo>
                    <a:pt x="128" y="28"/>
                  </a:lnTo>
                  <a:lnTo>
                    <a:pt x="130" y="28"/>
                  </a:lnTo>
                  <a:lnTo>
                    <a:pt x="128" y="28"/>
                  </a:lnTo>
                  <a:lnTo>
                    <a:pt x="128" y="31"/>
                  </a:lnTo>
                  <a:lnTo>
                    <a:pt x="125" y="33"/>
                  </a:lnTo>
                  <a:lnTo>
                    <a:pt x="123" y="35"/>
                  </a:lnTo>
                  <a:lnTo>
                    <a:pt x="121" y="38"/>
                  </a:lnTo>
                  <a:lnTo>
                    <a:pt x="121" y="40"/>
                  </a:lnTo>
                  <a:lnTo>
                    <a:pt x="119" y="45"/>
                  </a:lnTo>
                  <a:lnTo>
                    <a:pt x="119" y="47"/>
                  </a:lnTo>
                  <a:lnTo>
                    <a:pt x="119" y="52"/>
                  </a:lnTo>
                  <a:lnTo>
                    <a:pt x="116" y="52"/>
                  </a:lnTo>
                  <a:lnTo>
                    <a:pt x="116" y="49"/>
                  </a:lnTo>
                  <a:lnTo>
                    <a:pt x="114" y="49"/>
                  </a:lnTo>
                  <a:lnTo>
                    <a:pt x="116" y="47"/>
                  </a:lnTo>
                  <a:lnTo>
                    <a:pt x="116" y="45"/>
                  </a:lnTo>
                  <a:lnTo>
                    <a:pt x="116" y="47"/>
                  </a:lnTo>
                  <a:lnTo>
                    <a:pt x="114" y="47"/>
                  </a:lnTo>
                  <a:lnTo>
                    <a:pt x="114" y="49"/>
                  </a:lnTo>
                  <a:lnTo>
                    <a:pt x="114" y="52"/>
                  </a:lnTo>
                  <a:lnTo>
                    <a:pt x="116" y="52"/>
                  </a:lnTo>
                  <a:lnTo>
                    <a:pt x="119" y="52"/>
                  </a:lnTo>
                  <a:lnTo>
                    <a:pt x="119" y="54"/>
                  </a:lnTo>
                  <a:lnTo>
                    <a:pt x="116" y="54"/>
                  </a:lnTo>
                  <a:lnTo>
                    <a:pt x="116" y="56"/>
                  </a:lnTo>
                  <a:lnTo>
                    <a:pt x="116" y="54"/>
                  </a:lnTo>
                  <a:lnTo>
                    <a:pt x="114" y="54"/>
                  </a:lnTo>
                  <a:lnTo>
                    <a:pt x="116" y="54"/>
                  </a:lnTo>
                  <a:lnTo>
                    <a:pt x="116" y="56"/>
                  </a:lnTo>
                  <a:lnTo>
                    <a:pt x="114" y="56"/>
                  </a:lnTo>
                  <a:lnTo>
                    <a:pt x="114" y="59"/>
                  </a:lnTo>
                  <a:lnTo>
                    <a:pt x="112" y="59"/>
                  </a:lnTo>
                  <a:lnTo>
                    <a:pt x="112" y="61"/>
                  </a:lnTo>
                  <a:lnTo>
                    <a:pt x="109" y="59"/>
                  </a:lnTo>
                  <a:lnTo>
                    <a:pt x="109" y="61"/>
                  </a:lnTo>
                  <a:lnTo>
                    <a:pt x="107" y="61"/>
                  </a:lnTo>
                  <a:lnTo>
                    <a:pt x="107" y="63"/>
                  </a:lnTo>
                  <a:lnTo>
                    <a:pt x="109" y="63"/>
                  </a:lnTo>
                  <a:lnTo>
                    <a:pt x="107" y="63"/>
                  </a:lnTo>
                  <a:lnTo>
                    <a:pt x="107" y="66"/>
                  </a:lnTo>
                  <a:lnTo>
                    <a:pt x="105" y="68"/>
                  </a:lnTo>
                  <a:lnTo>
                    <a:pt x="102" y="70"/>
                  </a:lnTo>
                  <a:lnTo>
                    <a:pt x="102" y="68"/>
                  </a:lnTo>
                  <a:lnTo>
                    <a:pt x="100" y="68"/>
                  </a:lnTo>
                  <a:lnTo>
                    <a:pt x="102" y="68"/>
                  </a:lnTo>
                  <a:lnTo>
                    <a:pt x="100" y="68"/>
                  </a:lnTo>
                  <a:lnTo>
                    <a:pt x="100" y="70"/>
                  </a:lnTo>
                  <a:lnTo>
                    <a:pt x="100" y="68"/>
                  </a:lnTo>
                  <a:lnTo>
                    <a:pt x="100" y="70"/>
                  </a:lnTo>
                  <a:lnTo>
                    <a:pt x="102" y="70"/>
                  </a:lnTo>
                  <a:lnTo>
                    <a:pt x="102" y="73"/>
                  </a:lnTo>
                  <a:lnTo>
                    <a:pt x="100" y="73"/>
                  </a:lnTo>
                  <a:lnTo>
                    <a:pt x="98" y="75"/>
                  </a:lnTo>
                  <a:lnTo>
                    <a:pt x="100" y="75"/>
                  </a:lnTo>
                  <a:lnTo>
                    <a:pt x="98" y="75"/>
                  </a:lnTo>
                  <a:lnTo>
                    <a:pt x="98" y="77"/>
                  </a:lnTo>
                  <a:lnTo>
                    <a:pt x="95" y="77"/>
                  </a:lnTo>
                  <a:lnTo>
                    <a:pt x="93" y="77"/>
                  </a:lnTo>
                  <a:lnTo>
                    <a:pt x="93" y="75"/>
                  </a:lnTo>
                  <a:lnTo>
                    <a:pt x="93" y="77"/>
                  </a:lnTo>
                  <a:lnTo>
                    <a:pt x="95" y="77"/>
                  </a:lnTo>
                  <a:lnTo>
                    <a:pt x="93" y="77"/>
                  </a:lnTo>
                  <a:lnTo>
                    <a:pt x="93" y="80"/>
                  </a:lnTo>
                  <a:lnTo>
                    <a:pt x="91" y="80"/>
                  </a:lnTo>
                  <a:lnTo>
                    <a:pt x="91" y="82"/>
                  </a:lnTo>
                  <a:lnTo>
                    <a:pt x="88" y="82"/>
                  </a:lnTo>
                  <a:lnTo>
                    <a:pt x="88" y="80"/>
                  </a:lnTo>
                  <a:lnTo>
                    <a:pt x="86" y="80"/>
                  </a:lnTo>
                  <a:lnTo>
                    <a:pt x="84" y="82"/>
                  </a:lnTo>
                  <a:lnTo>
                    <a:pt x="81" y="82"/>
                  </a:lnTo>
                  <a:lnTo>
                    <a:pt x="84" y="82"/>
                  </a:lnTo>
                  <a:lnTo>
                    <a:pt x="86" y="82"/>
                  </a:lnTo>
                  <a:lnTo>
                    <a:pt x="88" y="82"/>
                  </a:lnTo>
                  <a:lnTo>
                    <a:pt x="86" y="82"/>
                  </a:lnTo>
                  <a:lnTo>
                    <a:pt x="84" y="82"/>
                  </a:lnTo>
                  <a:lnTo>
                    <a:pt x="88" y="82"/>
                  </a:lnTo>
                  <a:lnTo>
                    <a:pt x="88" y="84"/>
                  </a:lnTo>
                  <a:lnTo>
                    <a:pt x="86" y="84"/>
                  </a:lnTo>
                  <a:lnTo>
                    <a:pt x="86" y="87"/>
                  </a:lnTo>
                  <a:lnTo>
                    <a:pt x="88" y="87"/>
                  </a:lnTo>
                  <a:lnTo>
                    <a:pt x="88" y="84"/>
                  </a:lnTo>
                  <a:lnTo>
                    <a:pt x="88" y="87"/>
                  </a:lnTo>
                  <a:lnTo>
                    <a:pt x="86" y="89"/>
                  </a:lnTo>
                  <a:lnTo>
                    <a:pt x="84" y="89"/>
                  </a:lnTo>
                  <a:lnTo>
                    <a:pt x="84" y="87"/>
                  </a:lnTo>
                  <a:lnTo>
                    <a:pt x="84" y="84"/>
                  </a:lnTo>
                  <a:lnTo>
                    <a:pt x="84" y="87"/>
                  </a:lnTo>
                  <a:lnTo>
                    <a:pt x="84" y="84"/>
                  </a:lnTo>
                  <a:lnTo>
                    <a:pt x="84" y="82"/>
                  </a:lnTo>
                  <a:lnTo>
                    <a:pt x="81" y="82"/>
                  </a:lnTo>
                  <a:lnTo>
                    <a:pt x="81" y="84"/>
                  </a:lnTo>
                  <a:lnTo>
                    <a:pt x="84" y="84"/>
                  </a:lnTo>
                  <a:lnTo>
                    <a:pt x="84" y="87"/>
                  </a:lnTo>
                  <a:lnTo>
                    <a:pt x="84" y="89"/>
                  </a:lnTo>
                  <a:lnTo>
                    <a:pt x="81" y="87"/>
                  </a:lnTo>
                  <a:lnTo>
                    <a:pt x="79" y="84"/>
                  </a:lnTo>
                  <a:lnTo>
                    <a:pt x="79" y="82"/>
                  </a:lnTo>
                  <a:lnTo>
                    <a:pt x="77" y="82"/>
                  </a:lnTo>
                  <a:lnTo>
                    <a:pt x="79" y="82"/>
                  </a:lnTo>
                  <a:lnTo>
                    <a:pt x="79" y="84"/>
                  </a:lnTo>
                  <a:lnTo>
                    <a:pt x="79" y="87"/>
                  </a:lnTo>
                  <a:lnTo>
                    <a:pt x="79" y="89"/>
                  </a:lnTo>
                  <a:lnTo>
                    <a:pt x="81" y="89"/>
                  </a:lnTo>
                  <a:lnTo>
                    <a:pt x="84" y="89"/>
                  </a:lnTo>
                  <a:lnTo>
                    <a:pt x="84" y="91"/>
                  </a:lnTo>
                  <a:lnTo>
                    <a:pt x="81" y="94"/>
                  </a:lnTo>
                  <a:lnTo>
                    <a:pt x="81" y="96"/>
                  </a:lnTo>
                  <a:lnTo>
                    <a:pt x="81" y="94"/>
                  </a:lnTo>
                  <a:lnTo>
                    <a:pt x="81" y="91"/>
                  </a:lnTo>
                  <a:lnTo>
                    <a:pt x="79" y="94"/>
                  </a:lnTo>
                  <a:lnTo>
                    <a:pt x="79" y="96"/>
                  </a:lnTo>
                  <a:lnTo>
                    <a:pt x="79" y="98"/>
                  </a:lnTo>
                  <a:lnTo>
                    <a:pt x="77" y="98"/>
                  </a:lnTo>
                  <a:lnTo>
                    <a:pt x="77" y="96"/>
                  </a:lnTo>
                  <a:lnTo>
                    <a:pt x="74" y="96"/>
                  </a:lnTo>
                  <a:lnTo>
                    <a:pt x="72" y="96"/>
                  </a:lnTo>
                  <a:lnTo>
                    <a:pt x="72" y="94"/>
                  </a:lnTo>
                  <a:lnTo>
                    <a:pt x="72" y="91"/>
                  </a:lnTo>
                  <a:lnTo>
                    <a:pt x="70" y="89"/>
                  </a:lnTo>
                  <a:lnTo>
                    <a:pt x="67" y="87"/>
                  </a:lnTo>
                  <a:lnTo>
                    <a:pt x="67" y="84"/>
                  </a:lnTo>
                  <a:lnTo>
                    <a:pt x="65" y="84"/>
                  </a:lnTo>
                  <a:lnTo>
                    <a:pt x="65" y="82"/>
                  </a:lnTo>
                  <a:lnTo>
                    <a:pt x="63" y="82"/>
                  </a:lnTo>
                  <a:lnTo>
                    <a:pt x="63" y="80"/>
                  </a:lnTo>
                  <a:lnTo>
                    <a:pt x="60" y="80"/>
                  </a:lnTo>
                  <a:lnTo>
                    <a:pt x="60" y="77"/>
                  </a:lnTo>
                  <a:lnTo>
                    <a:pt x="60" y="75"/>
                  </a:lnTo>
                  <a:lnTo>
                    <a:pt x="58" y="73"/>
                  </a:lnTo>
                  <a:lnTo>
                    <a:pt x="58" y="70"/>
                  </a:lnTo>
                  <a:lnTo>
                    <a:pt x="58" y="68"/>
                  </a:lnTo>
                  <a:lnTo>
                    <a:pt x="56" y="68"/>
                  </a:lnTo>
                  <a:lnTo>
                    <a:pt x="53" y="68"/>
                  </a:lnTo>
                  <a:lnTo>
                    <a:pt x="51" y="66"/>
                  </a:lnTo>
                  <a:lnTo>
                    <a:pt x="49" y="66"/>
                  </a:lnTo>
                  <a:lnTo>
                    <a:pt x="49" y="63"/>
                  </a:lnTo>
                  <a:lnTo>
                    <a:pt x="46" y="63"/>
                  </a:lnTo>
                  <a:lnTo>
                    <a:pt x="46" y="61"/>
                  </a:lnTo>
                  <a:lnTo>
                    <a:pt x="44" y="61"/>
                  </a:lnTo>
                  <a:lnTo>
                    <a:pt x="44" y="59"/>
                  </a:lnTo>
                  <a:lnTo>
                    <a:pt x="44" y="56"/>
                  </a:lnTo>
                  <a:lnTo>
                    <a:pt x="42" y="56"/>
                  </a:lnTo>
                  <a:lnTo>
                    <a:pt x="39" y="54"/>
                  </a:lnTo>
                  <a:lnTo>
                    <a:pt x="37" y="54"/>
                  </a:lnTo>
                  <a:lnTo>
                    <a:pt x="35" y="52"/>
                  </a:lnTo>
                  <a:lnTo>
                    <a:pt x="35" y="49"/>
                  </a:lnTo>
                  <a:lnTo>
                    <a:pt x="32" y="49"/>
                  </a:lnTo>
                  <a:lnTo>
                    <a:pt x="32" y="47"/>
                  </a:lnTo>
                  <a:lnTo>
                    <a:pt x="30" y="47"/>
                  </a:lnTo>
                  <a:lnTo>
                    <a:pt x="28" y="47"/>
                  </a:lnTo>
                  <a:lnTo>
                    <a:pt x="28" y="45"/>
                  </a:lnTo>
                  <a:lnTo>
                    <a:pt x="25" y="45"/>
                  </a:lnTo>
                  <a:lnTo>
                    <a:pt x="23" y="45"/>
                  </a:lnTo>
                  <a:lnTo>
                    <a:pt x="23" y="42"/>
                  </a:lnTo>
                  <a:lnTo>
                    <a:pt x="23" y="40"/>
                  </a:lnTo>
                  <a:lnTo>
                    <a:pt x="21" y="40"/>
                  </a:lnTo>
                  <a:lnTo>
                    <a:pt x="21" y="38"/>
                  </a:lnTo>
                  <a:lnTo>
                    <a:pt x="18" y="38"/>
                  </a:lnTo>
                  <a:lnTo>
                    <a:pt x="18" y="35"/>
                  </a:lnTo>
                  <a:lnTo>
                    <a:pt x="16" y="33"/>
                  </a:lnTo>
                  <a:lnTo>
                    <a:pt x="16" y="31"/>
                  </a:lnTo>
                  <a:lnTo>
                    <a:pt x="14" y="31"/>
                  </a:lnTo>
                  <a:lnTo>
                    <a:pt x="14" y="28"/>
                  </a:lnTo>
                  <a:lnTo>
                    <a:pt x="11" y="28"/>
                  </a:lnTo>
                  <a:lnTo>
                    <a:pt x="9" y="28"/>
                  </a:lnTo>
                  <a:lnTo>
                    <a:pt x="7" y="28"/>
                  </a:lnTo>
                  <a:lnTo>
                    <a:pt x="7" y="26"/>
                  </a:lnTo>
                  <a:lnTo>
                    <a:pt x="4" y="26"/>
                  </a:lnTo>
                  <a:lnTo>
                    <a:pt x="0" y="24"/>
                  </a:lnTo>
                  <a:lnTo>
                    <a:pt x="0" y="21"/>
                  </a:lnTo>
                  <a:lnTo>
                    <a:pt x="0" y="19"/>
                  </a:lnTo>
                  <a:lnTo>
                    <a:pt x="2" y="19"/>
                  </a:lnTo>
                  <a:lnTo>
                    <a:pt x="2" y="17"/>
                  </a:lnTo>
                  <a:lnTo>
                    <a:pt x="4" y="14"/>
                  </a:lnTo>
                  <a:lnTo>
                    <a:pt x="4" y="12"/>
                  </a:lnTo>
                  <a:lnTo>
                    <a:pt x="11" y="10"/>
                  </a:lnTo>
                  <a:lnTo>
                    <a:pt x="14" y="10"/>
                  </a:lnTo>
                  <a:lnTo>
                    <a:pt x="16" y="7"/>
                  </a:lnTo>
                  <a:lnTo>
                    <a:pt x="18" y="5"/>
                  </a:lnTo>
                  <a:lnTo>
                    <a:pt x="21" y="5"/>
                  </a:lnTo>
                  <a:lnTo>
                    <a:pt x="21" y="3"/>
                  </a:lnTo>
                  <a:lnTo>
                    <a:pt x="23" y="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801">
              <a:extLst>
                <a:ext uri="{FF2B5EF4-FFF2-40B4-BE49-F238E27FC236}">
                  <a16:creationId xmlns:a16="http://schemas.microsoft.com/office/drawing/2014/main" id="{80A928BD-32C0-4E6E-A1CD-08411145E371}"/>
                </a:ext>
              </a:extLst>
            </p:cNvPr>
            <p:cNvSpPr>
              <a:spLocks/>
            </p:cNvSpPr>
            <p:nvPr/>
          </p:nvSpPr>
          <p:spPr bwMode="auto">
            <a:xfrm>
              <a:off x="6736556" y="4552951"/>
              <a:ext cx="163513" cy="280988"/>
            </a:xfrm>
            <a:custGeom>
              <a:avLst/>
              <a:gdLst>
                <a:gd name="T0" fmla="*/ 84 w 103"/>
                <a:gd name="T1" fmla="*/ 7 h 177"/>
                <a:gd name="T2" fmla="*/ 89 w 103"/>
                <a:gd name="T3" fmla="*/ 12 h 177"/>
                <a:gd name="T4" fmla="*/ 91 w 103"/>
                <a:gd name="T5" fmla="*/ 21 h 177"/>
                <a:gd name="T6" fmla="*/ 93 w 103"/>
                <a:gd name="T7" fmla="*/ 37 h 177"/>
                <a:gd name="T8" fmla="*/ 96 w 103"/>
                <a:gd name="T9" fmla="*/ 56 h 177"/>
                <a:gd name="T10" fmla="*/ 98 w 103"/>
                <a:gd name="T11" fmla="*/ 74 h 177"/>
                <a:gd name="T12" fmla="*/ 98 w 103"/>
                <a:gd name="T13" fmla="*/ 93 h 177"/>
                <a:gd name="T14" fmla="*/ 98 w 103"/>
                <a:gd name="T15" fmla="*/ 102 h 177"/>
                <a:gd name="T16" fmla="*/ 100 w 103"/>
                <a:gd name="T17" fmla="*/ 112 h 177"/>
                <a:gd name="T18" fmla="*/ 100 w 103"/>
                <a:gd name="T19" fmla="*/ 121 h 177"/>
                <a:gd name="T20" fmla="*/ 98 w 103"/>
                <a:gd name="T21" fmla="*/ 126 h 177"/>
                <a:gd name="T22" fmla="*/ 96 w 103"/>
                <a:gd name="T23" fmla="*/ 130 h 177"/>
                <a:gd name="T24" fmla="*/ 93 w 103"/>
                <a:gd name="T25" fmla="*/ 137 h 177"/>
                <a:gd name="T26" fmla="*/ 91 w 103"/>
                <a:gd name="T27" fmla="*/ 140 h 177"/>
                <a:gd name="T28" fmla="*/ 89 w 103"/>
                <a:gd name="T29" fmla="*/ 147 h 177"/>
                <a:gd name="T30" fmla="*/ 89 w 103"/>
                <a:gd name="T31" fmla="*/ 151 h 177"/>
                <a:gd name="T32" fmla="*/ 91 w 103"/>
                <a:gd name="T33" fmla="*/ 158 h 177"/>
                <a:gd name="T34" fmla="*/ 82 w 103"/>
                <a:gd name="T35" fmla="*/ 163 h 177"/>
                <a:gd name="T36" fmla="*/ 84 w 103"/>
                <a:gd name="T37" fmla="*/ 170 h 177"/>
                <a:gd name="T38" fmla="*/ 73 w 103"/>
                <a:gd name="T39" fmla="*/ 170 h 177"/>
                <a:gd name="T40" fmla="*/ 66 w 103"/>
                <a:gd name="T41" fmla="*/ 174 h 177"/>
                <a:gd name="T42" fmla="*/ 61 w 103"/>
                <a:gd name="T43" fmla="*/ 174 h 177"/>
                <a:gd name="T44" fmla="*/ 61 w 103"/>
                <a:gd name="T45" fmla="*/ 174 h 177"/>
                <a:gd name="T46" fmla="*/ 56 w 103"/>
                <a:gd name="T47" fmla="*/ 167 h 177"/>
                <a:gd name="T48" fmla="*/ 54 w 103"/>
                <a:gd name="T49" fmla="*/ 160 h 177"/>
                <a:gd name="T50" fmla="*/ 49 w 103"/>
                <a:gd name="T51" fmla="*/ 151 h 177"/>
                <a:gd name="T52" fmla="*/ 42 w 103"/>
                <a:gd name="T53" fmla="*/ 147 h 177"/>
                <a:gd name="T54" fmla="*/ 35 w 103"/>
                <a:gd name="T55" fmla="*/ 142 h 177"/>
                <a:gd name="T56" fmla="*/ 33 w 103"/>
                <a:gd name="T57" fmla="*/ 135 h 177"/>
                <a:gd name="T58" fmla="*/ 35 w 103"/>
                <a:gd name="T59" fmla="*/ 126 h 177"/>
                <a:gd name="T60" fmla="*/ 35 w 103"/>
                <a:gd name="T61" fmla="*/ 119 h 177"/>
                <a:gd name="T62" fmla="*/ 26 w 103"/>
                <a:gd name="T63" fmla="*/ 119 h 177"/>
                <a:gd name="T64" fmla="*/ 21 w 103"/>
                <a:gd name="T65" fmla="*/ 112 h 177"/>
                <a:gd name="T66" fmla="*/ 19 w 103"/>
                <a:gd name="T67" fmla="*/ 105 h 177"/>
                <a:gd name="T68" fmla="*/ 3 w 103"/>
                <a:gd name="T69" fmla="*/ 91 h 177"/>
                <a:gd name="T70" fmla="*/ 0 w 103"/>
                <a:gd name="T71" fmla="*/ 84 h 177"/>
                <a:gd name="T72" fmla="*/ 3 w 103"/>
                <a:gd name="T73" fmla="*/ 72 h 177"/>
                <a:gd name="T74" fmla="*/ 5 w 103"/>
                <a:gd name="T75" fmla="*/ 65 h 177"/>
                <a:gd name="T76" fmla="*/ 10 w 103"/>
                <a:gd name="T77" fmla="*/ 60 h 177"/>
                <a:gd name="T78" fmla="*/ 12 w 103"/>
                <a:gd name="T79" fmla="*/ 51 h 177"/>
                <a:gd name="T80" fmla="*/ 7 w 103"/>
                <a:gd name="T81" fmla="*/ 44 h 177"/>
                <a:gd name="T82" fmla="*/ 17 w 103"/>
                <a:gd name="T83" fmla="*/ 37 h 177"/>
                <a:gd name="T84" fmla="*/ 24 w 103"/>
                <a:gd name="T85" fmla="*/ 35 h 177"/>
                <a:gd name="T86" fmla="*/ 26 w 103"/>
                <a:gd name="T87" fmla="*/ 28 h 177"/>
                <a:gd name="T88" fmla="*/ 28 w 103"/>
                <a:gd name="T89" fmla="*/ 21 h 177"/>
                <a:gd name="T90" fmla="*/ 28 w 103"/>
                <a:gd name="T91" fmla="*/ 14 h 177"/>
                <a:gd name="T92" fmla="*/ 24 w 103"/>
                <a:gd name="T93" fmla="*/ 9 h 177"/>
                <a:gd name="T94" fmla="*/ 19 w 103"/>
                <a:gd name="T95" fmla="*/ 5 h 177"/>
                <a:gd name="T96" fmla="*/ 31 w 103"/>
                <a:gd name="T97" fmla="*/ 2 h 177"/>
                <a:gd name="T98" fmla="*/ 47 w 103"/>
                <a:gd name="T99" fmla="*/ 2 h 177"/>
                <a:gd name="T100" fmla="*/ 63 w 103"/>
                <a:gd name="T101" fmla="*/ 0 h 177"/>
                <a:gd name="T102" fmla="*/ 80 w 103"/>
                <a:gd name="T10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7">
                  <a:moveTo>
                    <a:pt x="84" y="0"/>
                  </a:moveTo>
                  <a:lnTo>
                    <a:pt x="84" y="2"/>
                  </a:lnTo>
                  <a:lnTo>
                    <a:pt x="84" y="5"/>
                  </a:lnTo>
                  <a:lnTo>
                    <a:pt x="84" y="7"/>
                  </a:lnTo>
                  <a:lnTo>
                    <a:pt x="84" y="9"/>
                  </a:lnTo>
                  <a:lnTo>
                    <a:pt x="87" y="9"/>
                  </a:lnTo>
                  <a:lnTo>
                    <a:pt x="87" y="12"/>
                  </a:lnTo>
                  <a:lnTo>
                    <a:pt x="89" y="12"/>
                  </a:lnTo>
                  <a:lnTo>
                    <a:pt x="89" y="14"/>
                  </a:lnTo>
                  <a:lnTo>
                    <a:pt x="89" y="16"/>
                  </a:lnTo>
                  <a:lnTo>
                    <a:pt x="89" y="18"/>
                  </a:lnTo>
                  <a:lnTo>
                    <a:pt x="91" y="21"/>
                  </a:lnTo>
                  <a:lnTo>
                    <a:pt x="93" y="23"/>
                  </a:lnTo>
                  <a:lnTo>
                    <a:pt x="93" y="28"/>
                  </a:lnTo>
                  <a:lnTo>
                    <a:pt x="93" y="32"/>
                  </a:lnTo>
                  <a:lnTo>
                    <a:pt x="93" y="37"/>
                  </a:lnTo>
                  <a:lnTo>
                    <a:pt x="93" y="42"/>
                  </a:lnTo>
                  <a:lnTo>
                    <a:pt x="96" y="46"/>
                  </a:lnTo>
                  <a:lnTo>
                    <a:pt x="96" y="51"/>
                  </a:lnTo>
                  <a:lnTo>
                    <a:pt x="96" y="56"/>
                  </a:lnTo>
                  <a:lnTo>
                    <a:pt x="96" y="60"/>
                  </a:lnTo>
                  <a:lnTo>
                    <a:pt x="96" y="65"/>
                  </a:lnTo>
                  <a:lnTo>
                    <a:pt x="98" y="70"/>
                  </a:lnTo>
                  <a:lnTo>
                    <a:pt x="98" y="74"/>
                  </a:lnTo>
                  <a:lnTo>
                    <a:pt x="98" y="79"/>
                  </a:lnTo>
                  <a:lnTo>
                    <a:pt x="98" y="84"/>
                  </a:lnTo>
                  <a:lnTo>
                    <a:pt x="98" y="88"/>
                  </a:lnTo>
                  <a:lnTo>
                    <a:pt x="98" y="93"/>
                  </a:lnTo>
                  <a:lnTo>
                    <a:pt x="100" y="98"/>
                  </a:lnTo>
                  <a:lnTo>
                    <a:pt x="98" y="98"/>
                  </a:lnTo>
                  <a:lnTo>
                    <a:pt x="98" y="100"/>
                  </a:lnTo>
                  <a:lnTo>
                    <a:pt x="98" y="102"/>
                  </a:lnTo>
                  <a:lnTo>
                    <a:pt x="98" y="105"/>
                  </a:lnTo>
                  <a:lnTo>
                    <a:pt x="98" y="107"/>
                  </a:lnTo>
                  <a:lnTo>
                    <a:pt x="100" y="109"/>
                  </a:lnTo>
                  <a:lnTo>
                    <a:pt x="100" y="112"/>
                  </a:lnTo>
                  <a:lnTo>
                    <a:pt x="100" y="114"/>
                  </a:lnTo>
                  <a:lnTo>
                    <a:pt x="103" y="116"/>
                  </a:lnTo>
                  <a:lnTo>
                    <a:pt x="100" y="119"/>
                  </a:lnTo>
                  <a:lnTo>
                    <a:pt x="100" y="121"/>
                  </a:lnTo>
                  <a:lnTo>
                    <a:pt x="100" y="123"/>
                  </a:lnTo>
                  <a:lnTo>
                    <a:pt x="98" y="123"/>
                  </a:lnTo>
                  <a:lnTo>
                    <a:pt x="100" y="126"/>
                  </a:lnTo>
                  <a:lnTo>
                    <a:pt x="98" y="126"/>
                  </a:lnTo>
                  <a:lnTo>
                    <a:pt x="96" y="128"/>
                  </a:lnTo>
                  <a:lnTo>
                    <a:pt x="98" y="128"/>
                  </a:lnTo>
                  <a:lnTo>
                    <a:pt x="96" y="128"/>
                  </a:lnTo>
                  <a:lnTo>
                    <a:pt x="96" y="130"/>
                  </a:lnTo>
                  <a:lnTo>
                    <a:pt x="96" y="133"/>
                  </a:lnTo>
                  <a:lnTo>
                    <a:pt x="93" y="133"/>
                  </a:lnTo>
                  <a:lnTo>
                    <a:pt x="91" y="135"/>
                  </a:lnTo>
                  <a:lnTo>
                    <a:pt x="93" y="137"/>
                  </a:lnTo>
                  <a:lnTo>
                    <a:pt x="91" y="137"/>
                  </a:lnTo>
                  <a:lnTo>
                    <a:pt x="91" y="140"/>
                  </a:lnTo>
                  <a:lnTo>
                    <a:pt x="93" y="140"/>
                  </a:lnTo>
                  <a:lnTo>
                    <a:pt x="91" y="140"/>
                  </a:lnTo>
                  <a:lnTo>
                    <a:pt x="91" y="142"/>
                  </a:lnTo>
                  <a:lnTo>
                    <a:pt x="91" y="144"/>
                  </a:lnTo>
                  <a:lnTo>
                    <a:pt x="91" y="147"/>
                  </a:lnTo>
                  <a:lnTo>
                    <a:pt x="89" y="147"/>
                  </a:lnTo>
                  <a:lnTo>
                    <a:pt x="91" y="147"/>
                  </a:lnTo>
                  <a:lnTo>
                    <a:pt x="91" y="149"/>
                  </a:lnTo>
                  <a:lnTo>
                    <a:pt x="91" y="151"/>
                  </a:lnTo>
                  <a:lnTo>
                    <a:pt x="89" y="151"/>
                  </a:lnTo>
                  <a:lnTo>
                    <a:pt x="89" y="154"/>
                  </a:lnTo>
                  <a:lnTo>
                    <a:pt x="89" y="156"/>
                  </a:lnTo>
                  <a:lnTo>
                    <a:pt x="91" y="156"/>
                  </a:lnTo>
                  <a:lnTo>
                    <a:pt x="91" y="158"/>
                  </a:lnTo>
                  <a:lnTo>
                    <a:pt x="87" y="160"/>
                  </a:lnTo>
                  <a:lnTo>
                    <a:pt x="84" y="160"/>
                  </a:lnTo>
                  <a:lnTo>
                    <a:pt x="82" y="160"/>
                  </a:lnTo>
                  <a:lnTo>
                    <a:pt x="82" y="163"/>
                  </a:lnTo>
                  <a:lnTo>
                    <a:pt x="82" y="165"/>
                  </a:lnTo>
                  <a:lnTo>
                    <a:pt x="82" y="167"/>
                  </a:lnTo>
                  <a:lnTo>
                    <a:pt x="84" y="167"/>
                  </a:lnTo>
                  <a:lnTo>
                    <a:pt x="84" y="170"/>
                  </a:lnTo>
                  <a:lnTo>
                    <a:pt x="84" y="172"/>
                  </a:lnTo>
                  <a:lnTo>
                    <a:pt x="82" y="172"/>
                  </a:lnTo>
                  <a:lnTo>
                    <a:pt x="80" y="172"/>
                  </a:lnTo>
                  <a:lnTo>
                    <a:pt x="73" y="170"/>
                  </a:lnTo>
                  <a:lnTo>
                    <a:pt x="70" y="170"/>
                  </a:lnTo>
                  <a:lnTo>
                    <a:pt x="68" y="170"/>
                  </a:lnTo>
                  <a:lnTo>
                    <a:pt x="66" y="172"/>
                  </a:lnTo>
                  <a:lnTo>
                    <a:pt x="66" y="174"/>
                  </a:lnTo>
                  <a:lnTo>
                    <a:pt x="66" y="177"/>
                  </a:lnTo>
                  <a:lnTo>
                    <a:pt x="63" y="177"/>
                  </a:lnTo>
                  <a:lnTo>
                    <a:pt x="63" y="174"/>
                  </a:lnTo>
                  <a:lnTo>
                    <a:pt x="61" y="174"/>
                  </a:lnTo>
                  <a:lnTo>
                    <a:pt x="63" y="174"/>
                  </a:lnTo>
                  <a:lnTo>
                    <a:pt x="63" y="177"/>
                  </a:lnTo>
                  <a:lnTo>
                    <a:pt x="61" y="177"/>
                  </a:lnTo>
                  <a:lnTo>
                    <a:pt x="61" y="174"/>
                  </a:lnTo>
                  <a:lnTo>
                    <a:pt x="59" y="174"/>
                  </a:lnTo>
                  <a:lnTo>
                    <a:pt x="59" y="172"/>
                  </a:lnTo>
                  <a:lnTo>
                    <a:pt x="56" y="170"/>
                  </a:lnTo>
                  <a:lnTo>
                    <a:pt x="56" y="167"/>
                  </a:lnTo>
                  <a:lnTo>
                    <a:pt x="56" y="165"/>
                  </a:lnTo>
                  <a:lnTo>
                    <a:pt x="56" y="163"/>
                  </a:lnTo>
                  <a:lnTo>
                    <a:pt x="56" y="160"/>
                  </a:lnTo>
                  <a:lnTo>
                    <a:pt x="54" y="160"/>
                  </a:lnTo>
                  <a:lnTo>
                    <a:pt x="54" y="158"/>
                  </a:lnTo>
                  <a:lnTo>
                    <a:pt x="54" y="156"/>
                  </a:lnTo>
                  <a:lnTo>
                    <a:pt x="52" y="154"/>
                  </a:lnTo>
                  <a:lnTo>
                    <a:pt x="49" y="151"/>
                  </a:lnTo>
                  <a:lnTo>
                    <a:pt x="47" y="149"/>
                  </a:lnTo>
                  <a:lnTo>
                    <a:pt x="45" y="149"/>
                  </a:lnTo>
                  <a:lnTo>
                    <a:pt x="45" y="147"/>
                  </a:lnTo>
                  <a:lnTo>
                    <a:pt x="42" y="147"/>
                  </a:lnTo>
                  <a:lnTo>
                    <a:pt x="40" y="147"/>
                  </a:lnTo>
                  <a:lnTo>
                    <a:pt x="38" y="144"/>
                  </a:lnTo>
                  <a:lnTo>
                    <a:pt x="35" y="144"/>
                  </a:lnTo>
                  <a:lnTo>
                    <a:pt x="35" y="142"/>
                  </a:lnTo>
                  <a:lnTo>
                    <a:pt x="33" y="140"/>
                  </a:lnTo>
                  <a:lnTo>
                    <a:pt x="31" y="137"/>
                  </a:lnTo>
                  <a:lnTo>
                    <a:pt x="31" y="135"/>
                  </a:lnTo>
                  <a:lnTo>
                    <a:pt x="33" y="135"/>
                  </a:lnTo>
                  <a:lnTo>
                    <a:pt x="33" y="133"/>
                  </a:lnTo>
                  <a:lnTo>
                    <a:pt x="33" y="130"/>
                  </a:lnTo>
                  <a:lnTo>
                    <a:pt x="35" y="128"/>
                  </a:lnTo>
                  <a:lnTo>
                    <a:pt x="35" y="126"/>
                  </a:lnTo>
                  <a:lnTo>
                    <a:pt x="35" y="123"/>
                  </a:lnTo>
                  <a:lnTo>
                    <a:pt x="35" y="121"/>
                  </a:lnTo>
                  <a:lnTo>
                    <a:pt x="38" y="121"/>
                  </a:lnTo>
                  <a:lnTo>
                    <a:pt x="35" y="119"/>
                  </a:lnTo>
                  <a:lnTo>
                    <a:pt x="33" y="116"/>
                  </a:lnTo>
                  <a:lnTo>
                    <a:pt x="31" y="116"/>
                  </a:lnTo>
                  <a:lnTo>
                    <a:pt x="28" y="116"/>
                  </a:lnTo>
                  <a:lnTo>
                    <a:pt x="26" y="119"/>
                  </a:lnTo>
                  <a:lnTo>
                    <a:pt x="24" y="119"/>
                  </a:lnTo>
                  <a:lnTo>
                    <a:pt x="21" y="116"/>
                  </a:lnTo>
                  <a:lnTo>
                    <a:pt x="21" y="114"/>
                  </a:lnTo>
                  <a:lnTo>
                    <a:pt x="21" y="112"/>
                  </a:lnTo>
                  <a:lnTo>
                    <a:pt x="21" y="109"/>
                  </a:lnTo>
                  <a:lnTo>
                    <a:pt x="21" y="107"/>
                  </a:lnTo>
                  <a:lnTo>
                    <a:pt x="19" y="107"/>
                  </a:lnTo>
                  <a:lnTo>
                    <a:pt x="19" y="105"/>
                  </a:lnTo>
                  <a:lnTo>
                    <a:pt x="12" y="102"/>
                  </a:lnTo>
                  <a:lnTo>
                    <a:pt x="12" y="100"/>
                  </a:lnTo>
                  <a:lnTo>
                    <a:pt x="5" y="93"/>
                  </a:lnTo>
                  <a:lnTo>
                    <a:pt x="3" y="91"/>
                  </a:lnTo>
                  <a:lnTo>
                    <a:pt x="3" y="88"/>
                  </a:lnTo>
                  <a:lnTo>
                    <a:pt x="3" y="86"/>
                  </a:lnTo>
                  <a:lnTo>
                    <a:pt x="0" y="86"/>
                  </a:lnTo>
                  <a:lnTo>
                    <a:pt x="0" y="84"/>
                  </a:lnTo>
                  <a:lnTo>
                    <a:pt x="0" y="79"/>
                  </a:lnTo>
                  <a:lnTo>
                    <a:pt x="0" y="77"/>
                  </a:lnTo>
                  <a:lnTo>
                    <a:pt x="0" y="74"/>
                  </a:lnTo>
                  <a:lnTo>
                    <a:pt x="3" y="72"/>
                  </a:lnTo>
                  <a:lnTo>
                    <a:pt x="3" y="70"/>
                  </a:lnTo>
                  <a:lnTo>
                    <a:pt x="3" y="67"/>
                  </a:lnTo>
                  <a:lnTo>
                    <a:pt x="3" y="65"/>
                  </a:lnTo>
                  <a:lnTo>
                    <a:pt x="5" y="65"/>
                  </a:lnTo>
                  <a:lnTo>
                    <a:pt x="7" y="65"/>
                  </a:lnTo>
                  <a:lnTo>
                    <a:pt x="7" y="63"/>
                  </a:lnTo>
                  <a:lnTo>
                    <a:pt x="10" y="63"/>
                  </a:lnTo>
                  <a:lnTo>
                    <a:pt x="10" y="60"/>
                  </a:lnTo>
                  <a:lnTo>
                    <a:pt x="10" y="58"/>
                  </a:lnTo>
                  <a:lnTo>
                    <a:pt x="10" y="56"/>
                  </a:lnTo>
                  <a:lnTo>
                    <a:pt x="12" y="53"/>
                  </a:lnTo>
                  <a:lnTo>
                    <a:pt x="12" y="51"/>
                  </a:lnTo>
                  <a:lnTo>
                    <a:pt x="12" y="49"/>
                  </a:lnTo>
                  <a:lnTo>
                    <a:pt x="12" y="46"/>
                  </a:lnTo>
                  <a:lnTo>
                    <a:pt x="10" y="46"/>
                  </a:lnTo>
                  <a:lnTo>
                    <a:pt x="7" y="44"/>
                  </a:lnTo>
                  <a:lnTo>
                    <a:pt x="7" y="42"/>
                  </a:lnTo>
                  <a:lnTo>
                    <a:pt x="10" y="42"/>
                  </a:lnTo>
                  <a:lnTo>
                    <a:pt x="10" y="39"/>
                  </a:lnTo>
                  <a:lnTo>
                    <a:pt x="17" y="37"/>
                  </a:lnTo>
                  <a:lnTo>
                    <a:pt x="19" y="37"/>
                  </a:lnTo>
                  <a:lnTo>
                    <a:pt x="19" y="35"/>
                  </a:lnTo>
                  <a:lnTo>
                    <a:pt x="21" y="35"/>
                  </a:lnTo>
                  <a:lnTo>
                    <a:pt x="24" y="35"/>
                  </a:lnTo>
                  <a:lnTo>
                    <a:pt x="24" y="32"/>
                  </a:lnTo>
                  <a:lnTo>
                    <a:pt x="26" y="32"/>
                  </a:lnTo>
                  <a:lnTo>
                    <a:pt x="26" y="30"/>
                  </a:lnTo>
                  <a:lnTo>
                    <a:pt x="26" y="28"/>
                  </a:lnTo>
                  <a:lnTo>
                    <a:pt x="26" y="25"/>
                  </a:lnTo>
                  <a:lnTo>
                    <a:pt x="28" y="25"/>
                  </a:lnTo>
                  <a:lnTo>
                    <a:pt x="28" y="23"/>
                  </a:lnTo>
                  <a:lnTo>
                    <a:pt x="28" y="21"/>
                  </a:lnTo>
                  <a:lnTo>
                    <a:pt x="31" y="21"/>
                  </a:lnTo>
                  <a:lnTo>
                    <a:pt x="31" y="18"/>
                  </a:lnTo>
                  <a:lnTo>
                    <a:pt x="28" y="16"/>
                  </a:lnTo>
                  <a:lnTo>
                    <a:pt x="28" y="14"/>
                  </a:lnTo>
                  <a:lnTo>
                    <a:pt x="26" y="14"/>
                  </a:lnTo>
                  <a:lnTo>
                    <a:pt x="24" y="14"/>
                  </a:lnTo>
                  <a:lnTo>
                    <a:pt x="24" y="12"/>
                  </a:lnTo>
                  <a:lnTo>
                    <a:pt x="24" y="9"/>
                  </a:lnTo>
                  <a:lnTo>
                    <a:pt x="21" y="9"/>
                  </a:lnTo>
                  <a:lnTo>
                    <a:pt x="21" y="7"/>
                  </a:lnTo>
                  <a:lnTo>
                    <a:pt x="19" y="7"/>
                  </a:lnTo>
                  <a:lnTo>
                    <a:pt x="19" y="5"/>
                  </a:lnTo>
                  <a:lnTo>
                    <a:pt x="17" y="5"/>
                  </a:lnTo>
                  <a:lnTo>
                    <a:pt x="21" y="5"/>
                  </a:lnTo>
                  <a:lnTo>
                    <a:pt x="26" y="2"/>
                  </a:lnTo>
                  <a:lnTo>
                    <a:pt x="31" y="2"/>
                  </a:lnTo>
                  <a:lnTo>
                    <a:pt x="33" y="2"/>
                  </a:lnTo>
                  <a:lnTo>
                    <a:pt x="38" y="2"/>
                  </a:lnTo>
                  <a:lnTo>
                    <a:pt x="42" y="2"/>
                  </a:lnTo>
                  <a:lnTo>
                    <a:pt x="47" y="2"/>
                  </a:lnTo>
                  <a:lnTo>
                    <a:pt x="49" y="2"/>
                  </a:lnTo>
                  <a:lnTo>
                    <a:pt x="54" y="2"/>
                  </a:lnTo>
                  <a:lnTo>
                    <a:pt x="59" y="2"/>
                  </a:lnTo>
                  <a:lnTo>
                    <a:pt x="63" y="0"/>
                  </a:lnTo>
                  <a:lnTo>
                    <a:pt x="68" y="0"/>
                  </a:lnTo>
                  <a:lnTo>
                    <a:pt x="70" y="0"/>
                  </a:lnTo>
                  <a:lnTo>
                    <a:pt x="75" y="0"/>
                  </a:lnTo>
                  <a:lnTo>
                    <a:pt x="80" y="0"/>
                  </a:lnTo>
                  <a:lnTo>
                    <a:pt x="84"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802">
              <a:extLst>
                <a:ext uri="{FF2B5EF4-FFF2-40B4-BE49-F238E27FC236}">
                  <a16:creationId xmlns:a16="http://schemas.microsoft.com/office/drawing/2014/main" id="{0B7A3770-A436-40D1-BAB9-6448E9C81CE7}"/>
                </a:ext>
              </a:extLst>
            </p:cNvPr>
            <p:cNvSpPr>
              <a:spLocks/>
            </p:cNvSpPr>
            <p:nvPr/>
          </p:nvSpPr>
          <p:spPr bwMode="auto">
            <a:xfrm>
              <a:off x="6877844" y="4575176"/>
              <a:ext cx="128588" cy="214313"/>
            </a:xfrm>
            <a:custGeom>
              <a:avLst/>
              <a:gdLst>
                <a:gd name="T0" fmla="*/ 70 w 81"/>
                <a:gd name="T1" fmla="*/ 18 h 135"/>
                <a:gd name="T2" fmla="*/ 72 w 81"/>
                <a:gd name="T3" fmla="*/ 35 h 135"/>
                <a:gd name="T4" fmla="*/ 74 w 81"/>
                <a:gd name="T5" fmla="*/ 53 h 135"/>
                <a:gd name="T6" fmla="*/ 77 w 81"/>
                <a:gd name="T7" fmla="*/ 72 h 135"/>
                <a:gd name="T8" fmla="*/ 77 w 81"/>
                <a:gd name="T9" fmla="*/ 86 h 135"/>
                <a:gd name="T10" fmla="*/ 77 w 81"/>
                <a:gd name="T11" fmla="*/ 91 h 135"/>
                <a:gd name="T12" fmla="*/ 79 w 81"/>
                <a:gd name="T13" fmla="*/ 93 h 135"/>
                <a:gd name="T14" fmla="*/ 72 w 81"/>
                <a:gd name="T15" fmla="*/ 98 h 135"/>
                <a:gd name="T16" fmla="*/ 65 w 81"/>
                <a:gd name="T17" fmla="*/ 98 h 135"/>
                <a:gd name="T18" fmla="*/ 65 w 81"/>
                <a:gd name="T19" fmla="*/ 105 h 135"/>
                <a:gd name="T20" fmla="*/ 60 w 81"/>
                <a:gd name="T21" fmla="*/ 109 h 135"/>
                <a:gd name="T22" fmla="*/ 58 w 81"/>
                <a:gd name="T23" fmla="*/ 114 h 135"/>
                <a:gd name="T24" fmla="*/ 56 w 81"/>
                <a:gd name="T25" fmla="*/ 116 h 135"/>
                <a:gd name="T26" fmla="*/ 56 w 81"/>
                <a:gd name="T27" fmla="*/ 121 h 135"/>
                <a:gd name="T28" fmla="*/ 53 w 81"/>
                <a:gd name="T29" fmla="*/ 123 h 135"/>
                <a:gd name="T30" fmla="*/ 46 w 81"/>
                <a:gd name="T31" fmla="*/ 121 h 135"/>
                <a:gd name="T32" fmla="*/ 44 w 81"/>
                <a:gd name="T33" fmla="*/ 119 h 135"/>
                <a:gd name="T34" fmla="*/ 44 w 81"/>
                <a:gd name="T35" fmla="*/ 119 h 135"/>
                <a:gd name="T36" fmla="*/ 42 w 81"/>
                <a:gd name="T37" fmla="*/ 121 h 135"/>
                <a:gd name="T38" fmla="*/ 42 w 81"/>
                <a:gd name="T39" fmla="*/ 123 h 135"/>
                <a:gd name="T40" fmla="*/ 39 w 81"/>
                <a:gd name="T41" fmla="*/ 128 h 135"/>
                <a:gd name="T42" fmla="*/ 37 w 81"/>
                <a:gd name="T43" fmla="*/ 128 h 135"/>
                <a:gd name="T44" fmla="*/ 32 w 81"/>
                <a:gd name="T45" fmla="*/ 126 h 135"/>
                <a:gd name="T46" fmla="*/ 28 w 81"/>
                <a:gd name="T47" fmla="*/ 128 h 135"/>
                <a:gd name="T48" fmla="*/ 25 w 81"/>
                <a:gd name="T49" fmla="*/ 133 h 135"/>
                <a:gd name="T50" fmla="*/ 23 w 81"/>
                <a:gd name="T51" fmla="*/ 130 h 135"/>
                <a:gd name="T52" fmla="*/ 18 w 81"/>
                <a:gd name="T53" fmla="*/ 128 h 135"/>
                <a:gd name="T54" fmla="*/ 14 w 81"/>
                <a:gd name="T55" fmla="*/ 128 h 135"/>
                <a:gd name="T56" fmla="*/ 14 w 81"/>
                <a:gd name="T57" fmla="*/ 130 h 135"/>
                <a:gd name="T58" fmla="*/ 11 w 81"/>
                <a:gd name="T59" fmla="*/ 133 h 135"/>
                <a:gd name="T60" fmla="*/ 9 w 81"/>
                <a:gd name="T61" fmla="*/ 130 h 135"/>
                <a:gd name="T62" fmla="*/ 7 w 81"/>
                <a:gd name="T63" fmla="*/ 130 h 135"/>
                <a:gd name="T64" fmla="*/ 4 w 81"/>
                <a:gd name="T65" fmla="*/ 135 h 135"/>
                <a:gd name="T66" fmla="*/ 2 w 81"/>
                <a:gd name="T67" fmla="*/ 135 h 135"/>
                <a:gd name="T68" fmla="*/ 2 w 81"/>
                <a:gd name="T69" fmla="*/ 133 h 135"/>
                <a:gd name="T70" fmla="*/ 2 w 81"/>
                <a:gd name="T71" fmla="*/ 130 h 135"/>
                <a:gd name="T72" fmla="*/ 2 w 81"/>
                <a:gd name="T73" fmla="*/ 128 h 135"/>
                <a:gd name="T74" fmla="*/ 4 w 81"/>
                <a:gd name="T75" fmla="*/ 126 h 135"/>
                <a:gd name="T76" fmla="*/ 4 w 81"/>
                <a:gd name="T77" fmla="*/ 123 h 135"/>
                <a:gd name="T78" fmla="*/ 2 w 81"/>
                <a:gd name="T79" fmla="*/ 121 h 135"/>
                <a:gd name="T80" fmla="*/ 2 w 81"/>
                <a:gd name="T81" fmla="*/ 121 h 135"/>
                <a:gd name="T82" fmla="*/ 4 w 81"/>
                <a:gd name="T83" fmla="*/ 119 h 135"/>
                <a:gd name="T84" fmla="*/ 7 w 81"/>
                <a:gd name="T85" fmla="*/ 119 h 135"/>
                <a:gd name="T86" fmla="*/ 7 w 81"/>
                <a:gd name="T87" fmla="*/ 116 h 135"/>
                <a:gd name="T88" fmla="*/ 9 w 81"/>
                <a:gd name="T89" fmla="*/ 114 h 135"/>
                <a:gd name="T90" fmla="*/ 9 w 81"/>
                <a:gd name="T91" fmla="*/ 112 h 135"/>
                <a:gd name="T92" fmla="*/ 9 w 81"/>
                <a:gd name="T93" fmla="*/ 109 h 135"/>
                <a:gd name="T94" fmla="*/ 11 w 81"/>
                <a:gd name="T95" fmla="*/ 107 h 135"/>
                <a:gd name="T96" fmla="*/ 11 w 81"/>
                <a:gd name="T97" fmla="*/ 105 h 135"/>
                <a:gd name="T98" fmla="*/ 11 w 81"/>
                <a:gd name="T99" fmla="*/ 100 h 135"/>
                <a:gd name="T100" fmla="*/ 11 w 81"/>
                <a:gd name="T101" fmla="*/ 95 h 135"/>
                <a:gd name="T102" fmla="*/ 9 w 81"/>
                <a:gd name="T103" fmla="*/ 93 h 135"/>
                <a:gd name="T104" fmla="*/ 9 w 81"/>
                <a:gd name="T105" fmla="*/ 84 h 135"/>
                <a:gd name="T106" fmla="*/ 9 w 81"/>
                <a:gd name="T107" fmla="*/ 65 h 135"/>
                <a:gd name="T108" fmla="*/ 7 w 81"/>
                <a:gd name="T109" fmla="*/ 32 h 135"/>
                <a:gd name="T110" fmla="*/ 4 w 81"/>
                <a:gd name="T111" fmla="*/ 9 h 135"/>
                <a:gd name="T112" fmla="*/ 9 w 81"/>
                <a:gd name="T113" fmla="*/ 11 h 135"/>
                <a:gd name="T114" fmla="*/ 25 w 81"/>
                <a:gd name="T115" fmla="*/ 4 h 135"/>
                <a:gd name="T116" fmla="*/ 39 w 81"/>
                <a:gd name="T117" fmla="*/ 4 h 135"/>
                <a:gd name="T118" fmla="*/ 51 w 81"/>
                <a:gd name="T119" fmla="*/ 2 h 135"/>
                <a:gd name="T120" fmla="*/ 65 w 81"/>
                <a:gd name="T12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 h="135">
                  <a:moveTo>
                    <a:pt x="67" y="2"/>
                  </a:moveTo>
                  <a:lnTo>
                    <a:pt x="70" y="4"/>
                  </a:lnTo>
                  <a:lnTo>
                    <a:pt x="70" y="7"/>
                  </a:lnTo>
                  <a:lnTo>
                    <a:pt x="70" y="9"/>
                  </a:lnTo>
                  <a:lnTo>
                    <a:pt x="70" y="14"/>
                  </a:lnTo>
                  <a:lnTo>
                    <a:pt x="70" y="16"/>
                  </a:lnTo>
                  <a:lnTo>
                    <a:pt x="70" y="18"/>
                  </a:lnTo>
                  <a:lnTo>
                    <a:pt x="70" y="21"/>
                  </a:lnTo>
                  <a:lnTo>
                    <a:pt x="72" y="23"/>
                  </a:lnTo>
                  <a:lnTo>
                    <a:pt x="72" y="25"/>
                  </a:lnTo>
                  <a:lnTo>
                    <a:pt x="72" y="28"/>
                  </a:lnTo>
                  <a:lnTo>
                    <a:pt x="72" y="30"/>
                  </a:lnTo>
                  <a:lnTo>
                    <a:pt x="72" y="32"/>
                  </a:lnTo>
                  <a:lnTo>
                    <a:pt x="72" y="35"/>
                  </a:lnTo>
                  <a:lnTo>
                    <a:pt x="72" y="39"/>
                  </a:lnTo>
                  <a:lnTo>
                    <a:pt x="72" y="42"/>
                  </a:lnTo>
                  <a:lnTo>
                    <a:pt x="74" y="44"/>
                  </a:lnTo>
                  <a:lnTo>
                    <a:pt x="74" y="46"/>
                  </a:lnTo>
                  <a:lnTo>
                    <a:pt x="74" y="49"/>
                  </a:lnTo>
                  <a:lnTo>
                    <a:pt x="74" y="51"/>
                  </a:lnTo>
                  <a:lnTo>
                    <a:pt x="74" y="53"/>
                  </a:lnTo>
                  <a:lnTo>
                    <a:pt x="74" y="56"/>
                  </a:lnTo>
                  <a:lnTo>
                    <a:pt x="74" y="58"/>
                  </a:lnTo>
                  <a:lnTo>
                    <a:pt x="77" y="60"/>
                  </a:lnTo>
                  <a:lnTo>
                    <a:pt x="77" y="65"/>
                  </a:lnTo>
                  <a:lnTo>
                    <a:pt x="77" y="67"/>
                  </a:lnTo>
                  <a:lnTo>
                    <a:pt x="77" y="70"/>
                  </a:lnTo>
                  <a:lnTo>
                    <a:pt x="77" y="72"/>
                  </a:lnTo>
                  <a:lnTo>
                    <a:pt x="77" y="74"/>
                  </a:lnTo>
                  <a:lnTo>
                    <a:pt x="77" y="77"/>
                  </a:lnTo>
                  <a:lnTo>
                    <a:pt x="77" y="79"/>
                  </a:lnTo>
                  <a:lnTo>
                    <a:pt x="79" y="81"/>
                  </a:lnTo>
                  <a:lnTo>
                    <a:pt x="79" y="84"/>
                  </a:lnTo>
                  <a:lnTo>
                    <a:pt x="79" y="86"/>
                  </a:lnTo>
                  <a:lnTo>
                    <a:pt x="77" y="86"/>
                  </a:lnTo>
                  <a:lnTo>
                    <a:pt x="77" y="86"/>
                  </a:lnTo>
                  <a:lnTo>
                    <a:pt x="79" y="88"/>
                  </a:lnTo>
                  <a:lnTo>
                    <a:pt x="79" y="88"/>
                  </a:lnTo>
                  <a:lnTo>
                    <a:pt x="79" y="88"/>
                  </a:lnTo>
                  <a:lnTo>
                    <a:pt x="79" y="88"/>
                  </a:lnTo>
                  <a:lnTo>
                    <a:pt x="79" y="91"/>
                  </a:lnTo>
                  <a:lnTo>
                    <a:pt x="77" y="91"/>
                  </a:lnTo>
                  <a:lnTo>
                    <a:pt x="79" y="91"/>
                  </a:lnTo>
                  <a:lnTo>
                    <a:pt x="79" y="91"/>
                  </a:lnTo>
                  <a:lnTo>
                    <a:pt x="79" y="91"/>
                  </a:lnTo>
                  <a:lnTo>
                    <a:pt x="81" y="91"/>
                  </a:lnTo>
                  <a:lnTo>
                    <a:pt x="81" y="91"/>
                  </a:lnTo>
                  <a:lnTo>
                    <a:pt x="79" y="93"/>
                  </a:lnTo>
                  <a:lnTo>
                    <a:pt x="79" y="93"/>
                  </a:lnTo>
                  <a:lnTo>
                    <a:pt x="79" y="93"/>
                  </a:lnTo>
                  <a:lnTo>
                    <a:pt x="79" y="93"/>
                  </a:lnTo>
                  <a:lnTo>
                    <a:pt x="79" y="95"/>
                  </a:lnTo>
                  <a:lnTo>
                    <a:pt x="77" y="95"/>
                  </a:lnTo>
                  <a:lnTo>
                    <a:pt x="77" y="95"/>
                  </a:lnTo>
                  <a:lnTo>
                    <a:pt x="74" y="95"/>
                  </a:lnTo>
                  <a:lnTo>
                    <a:pt x="72" y="98"/>
                  </a:lnTo>
                  <a:lnTo>
                    <a:pt x="72" y="98"/>
                  </a:lnTo>
                  <a:lnTo>
                    <a:pt x="70" y="98"/>
                  </a:lnTo>
                  <a:lnTo>
                    <a:pt x="70" y="98"/>
                  </a:lnTo>
                  <a:lnTo>
                    <a:pt x="70" y="98"/>
                  </a:lnTo>
                  <a:lnTo>
                    <a:pt x="67" y="98"/>
                  </a:lnTo>
                  <a:lnTo>
                    <a:pt x="65" y="98"/>
                  </a:lnTo>
                  <a:lnTo>
                    <a:pt x="65" y="98"/>
                  </a:lnTo>
                  <a:lnTo>
                    <a:pt x="65" y="100"/>
                  </a:lnTo>
                  <a:lnTo>
                    <a:pt x="65" y="100"/>
                  </a:lnTo>
                  <a:lnTo>
                    <a:pt x="65" y="100"/>
                  </a:lnTo>
                  <a:lnTo>
                    <a:pt x="65" y="102"/>
                  </a:lnTo>
                  <a:lnTo>
                    <a:pt x="65" y="102"/>
                  </a:lnTo>
                  <a:lnTo>
                    <a:pt x="65" y="105"/>
                  </a:lnTo>
                  <a:lnTo>
                    <a:pt x="65" y="105"/>
                  </a:lnTo>
                  <a:lnTo>
                    <a:pt x="65" y="105"/>
                  </a:lnTo>
                  <a:lnTo>
                    <a:pt x="65" y="105"/>
                  </a:lnTo>
                  <a:lnTo>
                    <a:pt x="63" y="107"/>
                  </a:lnTo>
                  <a:lnTo>
                    <a:pt x="63" y="107"/>
                  </a:lnTo>
                  <a:lnTo>
                    <a:pt x="63" y="107"/>
                  </a:lnTo>
                  <a:lnTo>
                    <a:pt x="63" y="107"/>
                  </a:lnTo>
                  <a:lnTo>
                    <a:pt x="60" y="109"/>
                  </a:lnTo>
                  <a:lnTo>
                    <a:pt x="60" y="112"/>
                  </a:lnTo>
                  <a:lnTo>
                    <a:pt x="60" y="112"/>
                  </a:lnTo>
                  <a:lnTo>
                    <a:pt x="60" y="114"/>
                  </a:lnTo>
                  <a:lnTo>
                    <a:pt x="60" y="114"/>
                  </a:lnTo>
                  <a:lnTo>
                    <a:pt x="58" y="114"/>
                  </a:lnTo>
                  <a:lnTo>
                    <a:pt x="58" y="114"/>
                  </a:lnTo>
                  <a:lnTo>
                    <a:pt x="58" y="114"/>
                  </a:lnTo>
                  <a:lnTo>
                    <a:pt x="58" y="114"/>
                  </a:lnTo>
                  <a:lnTo>
                    <a:pt x="58" y="114"/>
                  </a:lnTo>
                  <a:lnTo>
                    <a:pt x="58" y="114"/>
                  </a:lnTo>
                  <a:lnTo>
                    <a:pt x="58" y="114"/>
                  </a:lnTo>
                  <a:lnTo>
                    <a:pt x="56" y="114"/>
                  </a:lnTo>
                  <a:lnTo>
                    <a:pt x="56" y="114"/>
                  </a:lnTo>
                  <a:lnTo>
                    <a:pt x="56" y="116"/>
                  </a:lnTo>
                  <a:lnTo>
                    <a:pt x="56" y="116"/>
                  </a:lnTo>
                  <a:lnTo>
                    <a:pt x="56" y="116"/>
                  </a:lnTo>
                  <a:lnTo>
                    <a:pt x="56" y="116"/>
                  </a:lnTo>
                  <a:lnTo>
                    <a:pt x="56" y="119"/>
                  </a:lnTo>
                  <a:lnTo>
                    <a:pt x="56" y="121"/>
                  </a:lnTo>
                  <a:lnTo>
                    <a:pt x="56" y="121"/>
                  </a:lnTo>
                  <a:lnTo>
                    <a:pt x="56" y="121"/>
                  </a:lnTo>
                  <a:lnTo>
                    <a:pt x="56" y="121"/>
                  </a:lnTo>
                  <a:lnTo>
                    <a:pt x="56" y="123"/>
                  </a:lnTo>
                  <a:lnTo>
                    <a:pt x="53" y="123"/>
                  </a:lnTo>
                  <a:lnTo>
                    <a:pt x="53" y="123"/>
                  </a:lnTo>
                  <a:lnTo>
                    <a:pt x="53" y="123"/>
                  </a:lnTo>
                  <a:lnTo>
                    <a:pt x="53" y="123"/>
                  </a:lnTo>
                  <a:lnTo>
                    <a:pt x="53" y="123"/>
                  </a:lnTo>
                  <a:lnTo>
                    <a:pt x="51" y="123"/>
                  </a:lnTo>
                  <a:lnTo>
                    <a:pt x="51" y="123"/>
                  </a:lnTo>
                  <a:lnTo>
                    <a:pt x="51" y="123"/>
                  </a:lnTo>
                  <a:lnTo>
                    <a:pt x="49" y="123"/>
                  </a:lnTo>
                  <a:lnTo>
                    <a:pt x="49" y="123"/>
                  </a:lnTo>
                  <a:lnTo>
                    <a:pt x="49" y="123"/>
                  </a:lnTo>
                  <a:lnTo>
                    <a:pt x="46" y="121"/>
                  </a:lnTo>
                  <a:lnTo>
                    <a:pt x="46" y="121"/>
                  </a:lnTo>
                  <a:lnTo>
                    <a:pt x="46" y="121"/>
                  </a:lnTo>
                  <a:lnTo>
                    <a:pt x="46" y="121"/>
                  </a:lnTo>
                  <a:lnTo>
                    <a:pt x="46" y="119"/>
                  </a:lnTo>
                  <a:lnTo>
                    <a:pt x="46" y="119"/>
                  </a:lnTo>
                  <a:lnTo>
                    <a:pt x="44" y="119"/>
                  </a:lnTo>
                  <a:lnTo>
                    <a:pt x="44" y="119"/>
                  </a:lnTo>
                  <a:lnTo>
                    <a:pt x="44" y="119"/>
                  </a:lnTo>
                  <a:lnTo>
                    <a:pt x="42" y="119"/>
                  </a:lnTo>
                  <a:lnTo>
                    <a:pt x="44" y="119"/>
                  </a:lnTo>
                  <a:lnTo>
                    <a:pt x="44" y="119"/>
                  </a:lnTo>
                  <a:lnTo>
                    <a:pt x="44" y="119"/>
                  </a:lnTo>
                  <a:lnTo>
                    <a:pt x="44" y="119"/>
                  </a:lnTo>
                  <a:lnTo>
                    <a:pt x="44" y="119"/>
                  </a:lnTo>
                  <a:lnTo>
                    <a:pt x="44" y="121"/>
                  </a:lnTo>
                  <a:lnTo>
                    <a:pt x="42" y="121"/>
                  </a:lnTo>
                  <a:lnTo>
                    <a:pt x="42" y="121"/>
                  </a:lnTo>
                  <a:lnTo>
                    <a:pt x="42" y="121"/>
                  </a:lnTo>
                  <a:lnTo>
                    <a:pt x="42" y="121"/>
                  </a:lnTo>
                  <a:lnTo>
                    <a:pt x="42" y="121"/>
                  </a:lnTo>
                  <a:lnTo>
                    <a:pt x="42" y="121"/>
                  </a:lnTo>
                  <a:lnTo>
                    <a:pt x="42" y="121"/>
                  </a:lnTo>
                  <a:lnTo>
                    <a:pt x="42" y="121"/>
                  </a:lnTo>
                  <a:lnTo>
                    <a:pt x="42" y="121"/>
                  </a:lnTo>
                  <a:lnTo>
                    <a:pt x="42" y="121"/>
                  </a:lnTo>
                  <a:lnTo>
                    <a:pt x="42" y="121"/>
                  </a:lnTo>
                  <a:lnTo>
                    <a:pt x="42" y="123"/>
                  </a:lnTo>
                  <a:lnTo>
                    <a:pt x="42" y="123"/>
                  </a:lnTo>
                  <a:lnTo>
                    <a:pt x="39" y="123"/>
                  </a:lnTo>
                  <a:lnTo>
                    <a:pt x="39" y="123"/>
                  </a:lnTo>
                  <a:lnTo>
                    <a:pt x="39" y="123"/>
                  </a:lnTo>
                  <a:lnTo>
                    <a:pt x="39" y="126"/>
                  </a:lnTo>
                  <a:lnTo>
                    <a:pt x="39" y="126"/>
                  </a:lnTo>
                  <a:lnTo>
                    <a:pt x="39" y="126"/>
                  </a:lnTo>
                  <a:lnTo>
                    <a:pt x="39" y="128"/>
                  </a:lnTo>
                  <a:lnTo>
                    <a:pt x="39" y="128"/>
                  </a:lnTo>
                  <a:lnTo>
                    <a:pt x="39" y="128"/>
                  </a:lnTo>
                  <a:lnTo>
                    <a:pt x="39" y="128"/>
                  </a:lnTo>
                  <a:lnTo>
                    <a:pt x="37" y="130"/>
                  </a:lnTo>
                  <a:lnTo>
                    <a:pt x="37" y="130"/>
                  </a:lnTo>
                  <a:lnTo>
                    <a:pt x="37" y="130"/>
                  </a:lnTo>
                  <a:lnTo>
                    <a:pt x="37" y="128"/>
                  </a:lnTo>
                  <a:lnTo>
                    <a:pt x="37" y="128"/>
                  </a:lnTo>
                  <a:lnTo>
                    <a:pt x="37" y="128"/>
                  </a:lnTo>
                  <a:lnTo>
                    <a:pt x="37" y="128"/>
                  </a:lnTo>
                  <a:lnTo>
                    <a:pt x="35" y="128"/>
                  </a:lnTo>
                  <a:lnTo>
                    <a:pt x="35" y="128"/>
                  </a:lnTo>
                  <a:lnTo>
                    <a:pt x="35" y="126"/>
                  </a:lnTo>
                  <a:lnTo>
                    <a:pt x="32" y="126"/>
                  </a:lnTo>
                  <a:lnTo>
                    <a:pt x="32" y="126"/>
                  </a:lnTo>
                  <a:lnTo>
                    <a:pt x="32" y="126"/>
                  </a:lnTo>
                  <a:lnTo>
                    <a:pt x="30" y="126"/>
                  </a:lnTo>
                  <a:lnTo>
                    <a:pt x="30" y="128"/>
                  </a:lnTo>
                  <a:lnTo>
                    <a:pt x="30" y="128"/>
                  </a:lnTo>
                  <a:lnTo>
                    <a:pt x="28" y="128"/>
                  </a:lnTo>
                  <a:lnTo>
                    <a:pt x="28" y="128"/>
                  </a:lnTo>
                  <a:lnTo>
                    <a:pt x="28" y="128"/>
                  </a:lnTo>
                  <a:lnTo>
                    <a:pt x="28" y="128"/>
                  </a:lnTo>
                  <a:lnTo>
                    <a:pt x="28" y="130"/>
                  </a:lnTo>
                  <a:lnTo>
                    <a:pt x="28" y="130"/>
                  </a:lnTo>
                  <a:lnTo>
                    <a:pt x="28" y="133"/>
                  </a:lnTo>
                  <a:lnTo>
                    <a:pt x="25" y="133"/>
                  </a:lnTo>
                  <a:lnTo>
                    <a:pt x="25" y="133"/>
                  </a:lnTo>
                  <a:lnTo>
                    <a:pt x="25" y="133"/>
                  </a:lnTo>
                  <a:lnTo>
                    <a:pt x="25" y="133"/>
                  </a:lnTo>
                  <a:lnTo>
                    <a:pt x="25" y="133"/>
                  </a:lnTo>
                  <a:lnTo>
                    <a:pt x="25" y="130"/>
                  </a:lnTo>
                  <a:lnTo>
                    <a:pt x="25" y="130"/>
                  </a:lnTo>
                  <a:lnTo>
                    <a:pt x="25" y="130"/>
                  </a:lnTo>
                  <a:lnTo>
                    <a:pt x="23" y="130"/>
                  </a:lnTo>
                  <a:lnTo>
                    <a:pt x="23" y="130"/>
                  </a:lnTo>
                  <a:lnTo>
                    <a:pt x="23" y="130"/>
                  </a:lnTo>
                  <a:lnTo>
                    <a:pt x="23" y="130"/>
                  </a:lnTo>
                  <a:lnTo>
                    <a:pt x="21" y="130"/>
                  </a:lnTo>
                  <a:lnTo>
                    <a:pt x="21" y="130"/>
                  </a:lnTo>
                  <a:lnTo>
                    <a:pt x="18" y="128"/>
                  </a:lnTo>
                  <a:lnTo>
                    <a:pt x="18" y="128"/>
                  </a:lnTo>
                  <a:lnTo>
                    <a:pt x="18" y="128"/>
                  </a:lnTo>
                  <a:lnTo>
                    <a:pt x="18" y="128"/>
                  </a:lnTo>
                  <a:lnTo>
                    <a:pt x="16" y="128"/>
                  </a:lnTo>
                  <a:lnTo>
                    <a:pt x="16" y="130"/>
                  </a:lnTo>
                  <a:lnTo>
                    <a:pt x="14" y="130"/>
                  </a:lnTo>
                  <a:lnTo>
                    <a:pt x="14" y="128"/>
                  </a:lnTo>
                  <a:lnTo>
                    <a:pt x="14" y="128"/>
                  </a:lnTo>
                  <a:lnTo>
                    <a:pt x="14" y="128"/>
                  </a:lnTo>
                  <a:lnTo>
                    <a:pt x="14" y="128"/>
                  </a:lnTo>
                  <a:lnTo>
                    <a:pt x="14" y="128"/>
                  </a:lnTo>
                  <a:lnTo>
                    <a:pt x="14" y="128"/>
                  </a:lnTo>
                  <a:lnTo>
                    <a:pt x="14" y="128"/>
                  </a:lnTo>
                  <a:lnTo>
                    <a:pt x="14" y="128"/>
                  </a:lnTo>
                  <a:lnTo>
                    <a:pt x="14" y="130"/>
                  </a:lnTo>
                  <a:lnTo>
                    <a:pt x="14" y="130"/>
                  </a:lnTo>
                  <a:lnTo>
                    <a:pt x="14" y="130"/>
                  </a:lnTo>
                  <a:lnTo>
                    <a:pt x="14" y="133"/>
                  </a:lnTo>
                  <a:lnTo>
                    <a:pt x="14" y="133"/>
                  </a:lnTo>
                  <a:lnTo>
                    <a:pt x="11" y="133"/>
                  </a:lnTo>
                  <a:lnTo>
                    <a:pt x="11" y="133"/>
                  </a:lnTo>
                  <a:lnTo>
                    <a:pt x="11" y="133"/>
                  </a:lnTo>
                  <a:lnTo>
                    <a:pt x="11" y="130"/>
                  </a:lnTo>
                  <a:lnTo>
                    <a:pt x="11" y="130"/>
                  </a:lnTo>
                  <a:lnTo>
                    <a:pt x="11" y="130"/>
                  </a:lnTo>
                  <a:lnTo>
                    <a:pt x="11" y="130"/>
                  </a:lnTo>
                  <a:lnTo>
                    <a:pt x="11" y="130"/>
                  </a:lnTo>
                  <a:lnTo>
                    <a:pt x="11" y="130"/>
                  </a:lnTo>
                  <a:lnTo>
                    <a:pt x="9" y="130"/>
                  </a:lnTo>
                  <a:lnTo>
                    <a:pt x="9" y="130"/>
                  </a:lnTo>
                  <a:lnTo>
                    <a:pt x="9" y="133"/>
                  </a:lnTo>
                  <a:lnTo>
                    <a:pt x="9" y="133"/>
                  </a:lnTo>
                  <a:lnTo>
                    <a:pt x="7" y="130"/>
                  </a:lnTo>
                  <a:lnTo>
                    <a:pt x="7" y="130"/>
                  </a:lnTo>
                  <a:lnTo>
                    <a:pt x="7" y="130"/>
                  </a:lnTo>
                  <a:lnTo>
                    <a:pt x="7" y="130"/>
                  </a:lnTo>
                  <a:lnTo>
                    <a:pt x="7" y="130"/>
                  </a:lnTo>
                  <a:lnTo>
                    <a:pt x="4" y="130"/>
                  </a:lnTo>
                  <a:lnTo>
                    <a:pt x="4" y="130"/>
                  </a:lnTo>
                  <a:lnTo>
                    <a:pt x="4" y="133"/>
                  </a:lnTo>
                  <a:lnTo>
                    <a:pt x="7" y="133"/>
                  </a:lnTo>
                  <a:lnTo>
                    <a:pt x="4" y="135"/>
                  </a:lnTo>
                  <a:lnTo>
                    <a:pt x="4" y="135"/>
                  </a:lnTo>
                  <a:lnTo>
                    <a:pt x="4" y="135"/>
                  </a:lnTo>
                  <a:lnTo>
                    <a:pt x="4" y="135"/>
                  </a:lnTo>
                  <a:lnTo>
                    <a:pt x="2" y="135"/>
                  </a:lnTo>
                  <a:lnTo>
                    <a:pt x="2" y="135"/>
                  </a:lnTo>
                  <a:lnTo>
                    <a:pt x="2" y="135"/>
                  </a:lnTo>
                  <a:lnTo>
                    <a:pt x="2" y="135"/>
                  </a:lnTo>
                  <a:lnTo>
                    <a:pt x="2" y="135"/>
                  </a:lnTo>
                  <a:lnTo>
                    <a:pt x="2" y="135"/>
                  </a:lnTo>
                  <a:lnTo>
                    <a:pt x="2" y="135"/>
                  </a:lnTo>
                  <a:lnTo>
                    <a:pt x="2" y="135"/>
                  </a:lnTo>
                  <a:lnTo>
                    <a:pt x="2" y="135"/>
                  </a:lnTo>
                  <a:lnTo>
                    <a:pt x="2" y="133"/>
                  </a:lnTo>
                  <a:lnTo>
                    <a:pt x="2" y="133"/>
                  </a:lnTo>
                  <a:lnTo>
                    <a:pt x="2" y="133"/>
                  </a:lnTo>
                  <a:lnTo>
                    <a:pt x="2" y="133"/>
                  </a:lnTo>
                  <a:lnTo>
                    <a:pt x="0" y="133"/>
                  </a:lnTo>
                  <a:lnTo>
                    <a:pt x="2" y="133"/>
                  </a:lnTo>
                  <a:lnTo>
                    <a:pt x="2" y="133"/>
                  </a:lnTo>
                  <a:lnTo>
                    <a:pt x="2" y="133"/>
                  </a:lnTo>
                  <a:lnTo>
                    <a:pt x="2" y="130"/>
                  </a:lnTo>
                  <a:lnTo>
                    <a:pt x="2" y="130"/>
                  </a:lnTo>
                  <a:lnTo>
                    <a:pt x="2" y="130"/>
                  </a:lnTo>
                  <a:lnTo>
                    <a:pt x="2" y="130"/>
                  </a:lnTo>
                  <a:lnTo>
                    <a:pt x="2" y="130"/>
                  </a:lnTo>
                  <a:lnTo>
                    <a:pt x="2" y="130"/>
                  </a:lnTo>
                  <a:lnTo>
                    <a:pt x="2" y="128"/>
                  </a:lnTo>
                  <a:lnTo>
                    <a:pt x="2" y="128"/>
                  </a:lnTo>
                  <a:lnTo>
                    <a:pt x="2" y="128"/>
                  </a:lnTo>
                  <a:lnTo>
                    <a:pt x="2" y="128"/>
                  </a:lnTo>
                  <a:lnTo>
                    <a:pt x="2" y="128"/>
                  </a:lnTo>
                  <a:lnTo>
                    <a:pt x="2" y="126"/>
                  </a:lnTo>
                  <a:lnTo>
                    <a:pt x="2" y="126"/>
                  </a:lnTo>
                  <a:lnTo>
                    <a:pt x="2" y="126"/>
                  </a:lnTo>
                  <a:lnTo>
                    <a:pt x="2" y="126"/>
                  </a:lnTo>
                  <a:lnTo>
                    <a:pt x="4" y="126"/>
                  </a:lnTo>
                  <a:lnTo>
                    <a:pt x="4" y="126"/>
                  </a:lnTo>
                  <a:lnTo>
                    <a:pt x="4" y="126"/>
                  </a:lnTo>
                  <a:lnTo>
                    <a:pt x="2" y="126"/>
                  </a:lnTo>
                  <a:lnTo>
                    <a:pt x="2" y="126"/>
                  </a:lnTo>
                  <a:lnTo>
                    <a:pt x="2" y="126"/>
                  </a:lnTo>
                  <a:lnTo>
                    <a:pt x="2" y="123"/>
                  </a:lnTo>
                  <a:lnTo>
                    <a:pt x="4" y="123"/>
                  </a:lnTo>
                  <a:lnTo>
                    <a:pt x="4" y="123"/>
                  </a:lnTo>
                  <a:lnTo>
                    <a:pt x="4" y="123"/>
                  </a:lnTo>
                  <a:lnTo>
                    <a:pt x="4" y="123"/>
                  </a:lnTo>
                  <a:lnTo>
                    <a:pt x="4" y="123"/>
                  </a:lnTo>
                  <a:lnTo>
                    <a:pt x="4" y="123"/>
                  </a:lnTo>
                  <a:lnTo>
                    <a:pt x="2" y="121"/>
                  </a:lnTo>
                  <a:lnTo>
                    <a:pt x="2" y="121"/>
                  </a:lnTo>
                  <a:lnTo>
                    <a:pt x="2" y="121"/>
                  </a:lnTo>
                  <a:lnTo>
                    <a:pt x="2" y="121"/>
                  </a:lnTo>
                  <a:lnTo>
                    <a:pt x="2" y="121"/>
                  </a:lnTo>
                  <a:lnTo>
                    <a:pt x="2" y="121"/>
                  </a:lnTo>
                  <a:lnTo>
                    <a:pt x="2" y="121"/>
                  </a:lnTo>
                  <a:lnTo>
                    <a:pt x="2" y="121"/>
                  </a:lnTo>
                  <a:lnTo>
                    <a:pt x="2" y="121"/>
                  </a:lnTo>
                  <a:lnTo>
                    <a:pt x="4" y="119"/>
                  </a:lnTo>
                  <a:lnTo>
                    <a:pt x="4" y="119"/>
                  </a:lnTo>
                  <a:lnTo>
                    <a:pt x="4" y="119"/>
                  </a:lnTo>
                  <a:lnTo>
                    <a:pt x="4" y="119"/>
                  </a:lnTo>
                  <a:lnTo>
                    <a:pt x="4" y="119"/>
                  </a:lnTo>
                  <a:lnTo>
                    <a:pt x="4" y="119"/>
                  </a:lnTo>
                  <a:lnTo>
                    <a:pt x="4" y="119"/>
                  </a:lnTo>
                  <a:lnTo>
                    <a:pt x="4" y="119"/>
                  </a:lnTo>
                  <a:lnTo>
                    <a:pt x="4" y="119"/>
                  </a:lnTo>
                  <a:lnTo>
                    <a:pt x="4" y="119"/>
                  </a:lnTo>
                  <a:lnTo>
                    <a:pt x="4" y="119"/>
                  </a:lnTo>
                  <a:lnTo>
                    <a:pt x="4" y="119"/>
                  </a:lnTo>
                  <a:lnTo>
                    <a:pt x="4" y="119"/>
                  </a:lnTo>
                  <a:lnTo>
                    <a:pt x="7" y="119"/>
                  </a:lnTo>
                  <a:lnTo>
                    <a:pt x="7" y="119"/>
                  </a:lnTo>
                  <a:lnTo>
                    <a:pt x="7" y="119"/>
                  </a:lnTo>
                  <a:lnTo>
                    <a:pt x="7" y="119"/>
                  </a:lnTo>
                  <a:lnTo>
                    <a:pt x="7" y="119"/>
                  </a:lnTo>
                  <a:lnTo>
                    <a:pt x="7" y="116"/>
                  </a:lnTo>
                  <a:lnTo>
                    <a:pt x="7" y="116"/>
                  </a:lnTo>
                  <a:lnTo>
                    <a:pt x="7" y="116"/>
                  </a:lnTo>
                  <a:lnTo>
                    <a:pt x="7" y="116"/>
                  </a:lnTo>
                  <a:lnTo>
                    <a:pt x="7" y="116"/>
                  </a:lnTo>
                  <a:lnTo>
                    <a:pt x="7" y="116"/>
                  </a:lnTo>
                  <a:lnTo>
                    <a:pt x="7" y="116"/>
                  </a:lnTo>
                  <a:lnTo>
                    <a:pt x="7" y="114"/>
                  </a:lnTo>
                  <a:lnTo>
                    <a:pt x="9" y="114"/>
                  </a:lnTo>
                  <a:lnTo>
                    <a:pt x="9" y="114"/>
                  </a:lnTo>
                  <a:lnTo>
                    <a:pt x="7" y="114"/>
                  </a:lnTo>
                  <a:lnTo>
                    <a:pt x="7" y="114"/>
                  </a:lnTo>
                  <a:lnTo>
                    <a:pt x="9" y="112"/>
                  </a:lnTo>
                  <a:lnTo>
                    <a:pt x="9" y="112"/>
                  </a:lnTo>
                  <a:lnTo>
                    <a:pt x="9" y="112"/>
                  </a:lnTo>
                  <a:lnTo>
                    <a:pt x="9" y="112"/>
                  </a:lnTo>
                  <a:lnTo>
                    <a:pt x="9" y="112"/>
                  </a:lnTo>
                  <a:lnTo>
                    <a:pt x="9" y="112"/>
                  </a:lnTo>
                  <a:lnTo>
                    <a:pt x="9" y="112"/>
                  </a:lnTo>
                  <a:lnTo>
                    <a:pt x="11" y="112"/>
                  </a:lnTo>
                  <a:lnTo>
                    <a:pt x="11" y="112"/>
                  </a:lnTo>
                  <a:lnTo>
                    <a:pt x="11" y="112"/>
                  </a:lnTo>
                  <a:lnTo>
                    <a:pt x="9" y="109"/>
                  </a:lnTo>
                  <a:lnTo>
                    <a:pt x="9" y="109"/>
                  </a:lnTo>
                  <a:lnTo>
                    <a:pt x="9" y="109"/>
                  </a:lnTo>
                  <a:lnTo>
                    <a:pt x="9" y="109"/>
                  </a:lnTo>
                  <a:lnTo>
                    <a:pt x="11" y="109"/>
                  </a:lnTo>
                  <a:lnTo>
                    <a:pt x="11" y="109"/>
                  </a:lnTo>
                  <a:lnTo>
                    <a:pt x="11" y="109"/>
                  </a:lnTo>
                  <a:lnTo>
                    <a:pt x="11" y="109"/>
                  </a:lnTo>
                  <a:lnTo>
                    <a:pt x="11" y="107"/>
                  </a:lnTo>
                  <a:lnTo>
                    <a:pt x="11" y="107"/>
                  </a:lnTo>
                  <a:lnTo>
                    <a:pt x="11" y="107"/>
                  </a:lnTo>
                  <a:lnTo>
                    <a:pt x="11" y="107"/>
                  </a:lnTo>
                  <a:lnTo>
                    <a:pt x="11" y="107"/>
                  </a:lnTo>
                  <a:lnTo>
                    <a:pt x="11" y="107"/>
                  </a:lnTo>
                  <a:lnTo>
                    <a:pt x="11" y="105"/>
                  </a:lnTo>
                  <a:lnTo>
                    <a:pt x="11" y="105"/>
                  </a:lnTo>
                  <a:lnTo>
                    <a:pt x="11" y="105"/>
                  </a:lnTo>
                  <a:lnTo>
                    <a:pt x="11" y="105"/>
                  </a:lnTo>
                  <a:lnTo>
                    <a:pt x="11" y="105"/>
                  </a:lnTo>
                  <a:lnTo>
                    <a:pt x="14" y="102"/>
                  </a:lnTo>
                  <a:lnTo>
                    <a:pt x="14" y="102"/>
                  </a:lnTo>
                  <a:lnTo>
                    <a:pt x="11" y="100"/>
                  </a:lnTo>
                  <a:lnTo>
                    <a:pt x="11" y="100"/>
                  </a:lnTo>
                  <a:lnTo>
                    <a:pt x="11" y="100"/>
                  </a:lnTo>
                  <a:lnTo>
                    <a:pt x="11" y="98"/>
                  </a:lnTo>
                  <a:lnTo>
                    <a:pt x="11" y="98"/>
                  </a:lnTo>
                  <a:lnTo>
                    <a:pt x="11" y="98"/>
                  </a:lnTo>
                  <a:lnTo>
                    <a:pt x="11" y="95"/>
                  </a:lnTo>
                  <a:lnTo>
                    <a:pt x="11" y="95"/>
                  </a:lnTo>
                  <a:lnTo>
                    <a:pt x="11" y="95"/>
                  </a:lnTo>
                  <a:lnTo>
                    <a:pt x="11" y="95"/>
                  </a:lnTo>
                  <a:lnTo>
                    <a:pt x="9" y="93"/>
                  </a:lnTo>
                  <a:lnTo>
                    <a:pt x="9" y="93"/>
                  </a:lnTo>
                  <a:lnTo>
                    <a:pt x="9" y="93"/>
                  </a:lnTo>
                  <a:lnTo>
                    <a:pt x="9" y="93"/>
                  </a:lnTo>
                  <a:lnTo>
                    <a:pt x="9" y="93"/>
                  </a:lnTo>
                  <a:lnTo>
                    <a:pt x="9" y="93"/>
                  </a:lnTo>
                  <a:lnTo>
                    <a:pt x="9" y="91"/>
                  </a:lnTo>
                  <a:lnTo>
                    <a:pt x="9" y="88"/>
                  </a:lnTo>
                  <a:lnTo>
                    <a:pt x="9" y="88"/>
                  </a:lnTo>
                  <a:lnTo>
                    <a:pt x="9" y="86"/>
                  </a:lnTo>
                  <a:lnTo>
                    <a:pt x="9" y="86"/>
                  </a:lnTo>
                  <a:lnTo>
                    <a:pt x="9" y="86"/>
                  </a:lnTo>
                  <a:lnTo>
                    <a:pt x="9" y="84"/>
                  </a:lnTo>
                  <a:lnTo>
                    <a:pt x="11" y="84"/>
                  </a:lnTo>
                  <a:lnTo>
                    <a:pt x="11" y="84"/>
                  </a:lnTo>
                  <a:lnTo>
                    <a:pt x="11" y="84"/>
                  </a:lnTo>
                  <a:lnTo>
                    <a:pt x="9" y="79"/>
                  </a:lnTo>
                  <a:lnTo>
                    <a:pt x="9" y="74"/>
                  </a:lnTo>
                  <a:lnTo>
                    <a:pt x="9" y="70"/>
                  </a:lnTo>
                  <a:lnTo>
                    <a:pt x="9" y="65"/>
                  </a:lnTo>
                  <a:lnTo>
                    <a:pt x="9" y="60"/>
                  </a:lnTo>
                  <a:lnTo>
                    <a:pt x="9" y="56"/>
                  </a:lnTo>
                  <a:lnTo>
                    <a:pt x="7" y="51"/>
                  </a:lnTo>
                  <a:lnTo>
                    <a:pt x="7" y="46"/>
                  </a:lnTo>
                  <a:lnTo>
                    <a:pt x="7" y="42"/>
                  </a:lnTo>
                  <a:lnTo>
                    <a:pt x="7" y="37"/>
                  </a:lnTo>
                  <a:lnTo>
                    <a:pt x="7" y="32"/>
                  </a:lnTo>
                  <a:lnTo>
                    <a:pt x="4" y="28"/>
                  </a:lnTo>
                  <a:lnTo>
                    <a:pt x="4" y="23"/>
                  </a:lnTo>
                  <a:lnTo>
                    <a:pt x="4" y="18"/>
                  </a:lnTo>
                  <a:lnTo>
                    <a:pt x="4" y="14"/>
                  </a:lnTo>
                  <a:lnTo>
                    <a:pt x="4" y="9"/>
                  </a:lnTo>
                  <a:lnTo>
                    <a:pt x="4" y="9"/>
                  </a:lnTo>
                  <a:lnTo>
                    <a:pt x="4" y="9"/>
                  </a:lnTo>
                  <a:lnTo>
                    <a:pt x="4" y="9"/>
                  </a:lnTo>
                  <a:lnTo>
                    <a:pt x="7" y="9"/>
                  </a:lnTo>
                  <a:lnTo>
                    <a:pt x="7" y="11"/>
                  </a:lnTo>
                  <a:lnTo>
                    <a:pt x="7" y="11"/>
                  </a:lnTo>
                  <a:lnTo>
                    <a:pt x="7" y="11"/>
                  </a:lnTo>
                  <a:lnTo>
                    <a:pt x="7" y="11"/>
                  </a:lnTo>
                  <a:lnTo>
                    <a:pt x="9" y="11"/>
                  </a:lnTo>
                  <a:lnTo>
                    <a:pt x="11" y="11"/>
                  </a:lnTo>
                  <a:lnTo>
                    <a:pt x="16" y="9"/>
                  </a:lnTo>
                  <a:lnTo>
                    <a:pt x="21" y="7"/>
                  </a:lnTo>
                  <a:lnTo>
                    <a:pt x="21" y="7"/>
                  </a:lnTo>
                  <a:lnTo>
                    <a:pt x="23" y="7"/>
                  </a:lnTo>
                  <a:lnTo>
                    <a:pt x="23" y="4"/>
                  </a:lnTo>
                  <a:lnTo>
                    <a:pt x="25" y="4"/>
                  </a:lnTo>
                  <a:lnTo>
                    <a:pt x="28" y="4"/>
                  </a:lnTo>
                  <a:lnTo>
                    <a:pt x="30" y="4"/>
                  </a:lnTo>
                  <a:lnTo>
                    <a:pt x="32" y="4"/>
                  </a:lnTo>
                  <a:lnTo>
                    <a:pt x="32" y="4"/>
                  </a:lnTo>
                  <a:lnTo>
                    <a:pt x="35" y="4"/>
                  </a:lnTo>
                  <a:lnTo>
                    <a:pt x="37" y="4"/>
                  </a:lnTo>
                  <a:lnTo>
                    <a:pt x="39" y="4"/>
                  </a:lnTo>
                  <a:lnTo>
                    <a:pt x="42" y="4"/>
                  </a:lnTo>
                  <a:lnTo>
                    <a:pt x="42" y="4"/>
                  </a:lnTo>
                  <a:lnTo>
                    <a:pt x="44" y="2"/>
                  </a:lnTo>
                  <a:lnTo>
                    <a:pt x="46" y="2"/>
                  </a:lnTo>
                  <a:lnTo>
                    <a:pt x="49" y="2"/>
                  </a:lnTo>
                  <a:lnTo>
                    <a:pt x="49" y="2"/>
                  </a:lnTo>
                  <a:lnTo>
                    <a:pt x="51" y="2"/>
                  </a:lnTo>
                  <a:lnTo>
                    <a:pt x="53" y="2"/>
                  </a:lnTo>
                  <a:lnTo>
                    <a:pt x="56" y="2"/>
                  </a:lnTo>
                  <a:lnTo>
                    <a:pt x="58" y="2"/>
                  </a:lnTo>
                  <a:lnTo>
                    <a:pt x="58" y="2"/>
                  </a:lnTo>
                  <a:lnTo>
                    <a:pt x="60" y="2"/>
                  </a:lnTo>
                  <a:lnTo>
                    <a:pt x="63" y="2"/>
                  </a:lnTo>
                  <a:lnTo>
                    <a:pt x="65" y="0"/>
                  </a:lnTo>
                  <a:lnTo>
                    <a:pt x="67" y="0"/>
                  </a:lnTo>
                  <a:lnTo>
                    <a:pt x="67" y="0"/>
                  </a:lnTo>
                  <a:lnTo>
                    <a:pt x="67" y="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03">
              <a:extLst>
                <a:ext uri="{FF2B5EF4-FFF2-40B4-BE49-F238E27FC236}">
                  <a16:creationId xmlns:a16="http://schemas.microsoft.com/office/drawing/2014/main" id="{8E1A06E0-1E50-42AB-AECD-02068B40D637}"/>
                </a:ext>
              </a:extLst>
            </p:cNvPr>
            <p:cNvSpPr>
              <a:spLocks noEditPoints="1"/>
            </p:cNvSpPr>
            <p:nvPr/>
          </p:nvSpPr>
          <p:spPr bwMode="auto">
            <a:xfrm>
              <a:off x="6825456" y="4708526"/>
              <a:ext cx="300038" cy="150813"/>
            </a:xfrm>
            <a:custGeom>
              <a:avLst/>
              <a:gdLst>
                <a:gd name="T0" fmla="*/ 3 w 189"/>
                <a:gd name="T1" fmla="*/ 93 h 95"/>
                <a:gd name="T2" fmla="*/ 121 w 189"/>
                <a:gd name="T3" fmla="*/ 0 h 95"/>
                <a:gd name="T4" fmla="*/ 126 w 189"/>
                <a:gd name="T5" fmla="*/ 4 h 95"/>
                <a:gd name="T6" fmla="*/ 133 w 189"/>
                <a:gd name="T7" fmla="*/ 7 h 95"/>
                <a:gd name="T8" fmla="*/ 140 w 189"/>
                <a:gd name="T9" fmla="*/ 11 h 95"/>
                <a:gd name="T10" fmla="*/ 147 w 189"/>
                <a:gd name="T11" fmla="*/ 9 h 95"/>
                <a:gd name="T12" fmla="*/ 156 w 189"/>
                <a:gd name="T13" fmla="*/ 9 h 95"/>
                <a:gd name="T14" fmla="*/ 161 w 189"/>
                <a:gd name="T15" fmla="*/ 7 h 95"/>
                <a:gd name="T16" fmla="*/ 168 w 189"/>
                <a:gd name="T17" fmla="*/ 14 h 95"/>
                <a:gd name="T18" fmla="*/ 170 w 189"/>
                <a:gd name="T19" fmla="*/ 21 h 95"/>
                <a:gd name="T20" fmla="*/ 175 w 189"/>
                <a:gd name="T21" fmla="*/ 30 h 95"/>
                <a:gd name="T22" fmla="*/ 179 w 189"/>
                <a:gd name="T23" fmla="*/ 37 h 95"/>
                <a:gd name="T24" fmla="*/ 186 w 189"/>
                <a:gd name="T25" fmla="*/ 39 h 95"/>
                <a:gd name="T26" fmla="*/ 184 w 189"/>
                <a:gd name="T27" fmla="*/ 44 h 95"/>
                <a:gd name="T28" fmla="*/ 177 w 189"/>
                <a:gd name="T29" fmla="*/ 53 h 95"/>
                <a:gd name="T30" fmla="*/ 170 w 189"/>
                <a:gd name="T31" fmla="*/ 60 h 95"/>
                <a:gd name="T32" fmla="*/ 165 w 189"/>
                <a:gd name="T33" fmla="*/ 67 h 95"/>
                <a:gd name="T34" fmla="*/ 159 w 189"/>
                <a:gd name="T35" fmla="*/ 72 h 95"/>
                <a:gd name="T36" fmla="*/ 152 w 189"/>
                <a:gd name="T37" fmla="*/ 76 h 95"/>
                <a:gd name="T38" fmla="*/ 142 w 189"/>
                <a:gd name="T39" fmla="*/ 76 h 95"/>
                <a:gd name="T40" fmla="*/ 121 w 189"/>
                <a:gd name="T41" fmla="*/ 79 h 95"/>
                <a:gd name="T42" fmla="*/ 96 w 189"/>
                <a:gd name="T43" fmla="*/ 81 h 95"/>
                <a:gd name="T44" fmla="*/ 79 w 189"/>
                <a:gd name="T45" fmla="*/ 83 h 95"/>
                <a:gd name="T46" fmla="*/ 70 w 189"/>
                <a:gd name="T47" fmla="*/ 83 h 95"/>
                <a:gd name="T48" fmla="*/ 58 w 189"/>
                <a:gd name="T49" fmla="*/ 86 h 95"/>
                <a:gd name="T50" fmla="*/ 47 w 189"/>
                <a:gd name="T51" fmla="*/ 86 h 95"/>
                <a:gd name="T52" fmla="*/ 37 w 189"/>
                <a:gd name="T53" fmla="*/ 86 h 95"/>
                <a:gd name="T54" fmla="*/ 35 w 189"/>
                <a:gd name="T55" fmla="*/ 93 h 95"/>
                <a:gd name="T56" fmla="*/ 17 w 189"/>
                <a:gd name="T57" fmla="*/ 93 h 95"/>
                <a:gd name="T58" fmla="*/ 5 w 189"/>
                <a:gd name="T59" fmla="*/ 93 h 95"/>
                <a:gd name="T60" fmla="*/ 10 w 189"/>
                <a:gd name="T61" fmla="*/ 93 h 95"/>
                <a:gd name="T62" fmla="*/ 12 w 189"/>
                <a:gd name="T63" fmla="*/ 86 h 95"/>
                <a:gd name="T64" fmla="*/ 10 w 189"/>
                <a:gd name="T65" fmla="*/ 79 h 95"/>
                <a:gd name="T66" fmla="*/ 14 w 189"/>
                <a:gd name="T67" fmla="*/ 72 h 95"/>
                <a:gd name="T68" fmla="*/ 28 w 189"/>
                <a:gd name="T69" fmla="*/ 74 h 95"/>
                <a:gd name="T70" fmla="*/ 26 w 189"/>
                <a:gd name="T71" fmla="*/ 67 h 95"/>
                <a:gd name="T72" fmla="*/ 31 w 189"/>
                <a:gd name="T73" fmla="*/ 62 h 95"/>
                <a:gd name="T74" fmla="*/ 33 w 189"/>
                <a:gd name="T75" fmla="*/ 56 h 95"/>
                <a:gd name="T76" fmla="*/ 37 w 189"/>
                <a:gd name="T77" fmla="*/ 51 h 95"/>
                <a:gd name="T78" fmla="*/ 40 w 189"/>
                <a:gd name="T79" fmla="*/ 46 h 95"/>
                <a:gd name="T80" fmla="*/ 44 w 189"/>
                <a:gd name="T81" fmla="*/ 49 h 95"/>
                <a:gd name="T82" fmla="*/ 47 w 189"/>
                <a:gd name="T83" fmla="*/ 46 h 95"/>
                <a:gd name="T84" fmla="*/ 54 w 189"/>
                <a:gd name="T85" fmla="*/ 46 h 95"/>
                <a:gd name="T86" fmla="*/ 61 w 189"/>
                <a:gd name="T87" fmla="*/ 49 h 95"/>
                <a:gd name="T88" fmla="*/ 63 w 189"/>
                <a:gd name="T89" fmla="*/ 42 h 95"/>
                <a:gd name="T90" fmla="*/ 70 w 189"/>
                <a:gd name="T91" fmla="*/ 44 h 95"/>
                <a:gd name="T92" fmla="*/ 72 w 189"/>
                <a:gd name="T93" fmla="*/ 39 h 95"/>
                <a:gd name="T94" fmla="*/ 77 w 189"/>
                <a:gd name="T95" fmla="*/ 35 h 95"/>
                <a:gd name="T96" fmla="*/ 79 w 189"/>
                <a:gd name="T97" fmla="*/ 37 h 95"/>
                <a:gd name="T98" fmla="*/ 89 w 189"/>
                <a:gd name="T99" fmla="*/ 39 h 95"/>
                <a:gd name="T100" fmla="*/ 89 w 189"/>
                <a:gd name="T101" fmla="*/ 30 h 95"/>
                <a:gd name="T102" fmla="*/ 93 w 189"/>
                <a:gd name="T103" fmla="*/ 25 h 95"/>
                <a:gd name="T104" fmla="*/ 98 w 189"/>
                <a:gd name="T105" fmla="*/ 16 h 95"/>
                <a:gd name="T106" fmla="*/ 105 w 189"/>
                <a:gd name="T107" fmla="*/ 14 h 95"/>
                <a:gd name="T108" fmla="*/ 112 w 189"/>
                <a:gd name="T109" fmla="*/ 9 h 95"/>
                <a:gd name="T110" fmla="*/ 112 w 189"/>
                <a:gd name="T111" fmla="*/ 7 h 95"/>
                <a:gd name="T112" fmla="*/ 112 w 189"/>
                <a:gd name="T11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9" h="95">
                  <a:moveTo>
                    <a:pt x="3" y="95"/>
                  </a:moveTo>
                  <a:lnTo>
                    <a:pt x="0" y="95"/>
                  </a:lnTo>
                  <a:lnTo>
                    <a:pt x="0" y="93"/>
                  </a:lnTo>
                  <a:lnTo>
                    <a:pt x="3" y="93"/>
                  </a:lnTo>
                  <a:lnTo>
                    <a:pt x="3" y="95"/>
                  </a:lnTo>
                  <a:close/>
                  <a:moveTo>
                    <a:pt x="117" y="0"/>
                  </a:moveTo>
                  <a:lnTo>
                    <a:pt x="119" y="0"/>
                  </a:lnTo>
                  <a:lnTo>
                    <a:pt x="121" y="0"/>
                  </a:lnTo>
                  <a:lnTo>
                    <a:pt x="124" y="0"/>
                  </a:lnTo>
                  <a:lnTo>
                    <a:pt x="124" y="2"/>
                  </a:lnTo>
                  <a:lnTo>
                    <a:pt x="126" y="2"/>
                  </a:lnTo>
                  <a:lnTo>
                    <a:pt x="126" y="4"/>
                  </a:lnTo>
                  <a:lnTo>
                    <a:pt x="126" y="7"/>
                  </a:lnTo>
                  <a:lnTo>
                    <a:pt x="128" y="7"/>
                  </a:lnTo>
                  <a:lnTo>
                    <a:pt x="131" y="9"/>
                  </a:lnTo>
                  <a:lnTo>
                    <a:pt x="133" y="7"/>
                  </a:lnTo>
                  <a:lnTo>
                    <a:pt x="135" y="7"/>
                  </a:lnTo>
                  <a:lnTo>
                    <a:pt x="135" y="9"/>
                  </a:lnTo>
                  <a:lnTo>
                    <a:pt x="138" y="9"/>
                  </a:lnTo>
                  <a:lnTo>
                    <a:pt x="140" y="11"/>
                  </a:lnTo>
                  <a:lnTo>
                    <a:pt x="142" y="11"/>
                  </a:lnTo>
                  <a:lnTo>
                    <a:pt x="142" y="9"/>
                  </a:lnTo>
                  <a:lnTo>
                    <a:pt x="145" y="9"/>
                  </a:lnTo>
                  <a:lnTo>
                    <a:pt x="147" y="9"/>
                  </a:lnTo>
                  <a:lnTo>
                    <a:pt x="149" y="9"/>
                  </a:lnTo>
                  <a:lnTo>
                    <a:pt x="152" y="11"/>
                  </a:lnTo>
                  <a:lnTo>
                    <a:pt x="154" y="9"/>
                  </a:lnTo>
                  <a:lnTo>
                    <a:pt x="156" y="9"/>
                  </a:lnTo>
                  <a:lnTo>
                    <a:pt x="156" y="7"/>
                  </a:lnTo>
                  <a:lnTo>
                    <a:pt x="159" y="7"/>
                  </a:lnTo>
                  <a:lnTo>
                    <a:pt x="161" y="4"/>
                  </a:lnTo>
                  <a:lnTo>
                    <a:pt x="161" y="7"/>
                  </a:lnTo>
                  <a:lnTo>
                    <a:pt x="163" y="9"/>
                  </a:lnTo>
                  <a:lnTo>
                    <a:pt x="163" y="11"/>
                  </a:lnTo>
                  <a:lnTo>
                    <a:pt x="165" y="11"/>
                  </a:lnTo>
                  <a:lnTo>
                    <a:pt x="168" y="14"/>
                  </a:lnTo>
                  <a:lnTo>
                    <a:pt x="170" y="14"/>
                  </a:lnTo>
                  <a:lnTo>
                    <a:pt x="170" y="16"/>
                  </a:lnTo>
                  <a:lnTo>
                    <a:pt x="170" y="18"/>
                  </a:lnTo>
                  <a:lnTo>
                    <a:pt x="170" y="21"/>
                  </a:lnTo>
                  <a:lnTo>
                    <a:pt x="170" y="23"/>
                  </a:lnTo>
                  <a:lnTo>
                    <a:pt x="172" y="25"/>
                  </a:lnTo>
                  <a:lnTo>
                    <a:pt x="175" y="28"/>
                  </a:lnTo>
                  <a:lnTo>
                    <a:pt x="175" y="30"/>
                  </a:lnTo>
                  <a:lnTo>
                    <a:pt x="177" y="30"/>
                  </a:lnTo>
                  <a:lnTo>
                    <a:pt x="177" y="32"/>
                  </a:lnTo>
                  <a:lnTo>
                    <a:pt x="179" y="35"/>
                  </a:lnTo>
                  <a:lnTo>
                    <a:pt x="179" y="37"/>
                  </a:lnTo>
                  <a:lnTo>
                    <a:pt x="182" y="37"/>
                  </a:lnTo>
                  <a:lnTo>
                    <a:pt x="184" y="37"/>
                  </a:lnTo>
                  <a:lnTo>
                    <a:pt x="184" y="39"/>
                  </a:lnTo>
                  <a:lnTo>
                    <a:pt x="186" y="39"/>
                  </a:lnTo>
                  <a:lnTo>
                    <a:pt x="189" y="39"/>
                  </a:lnTo>
                  <a:lnTo>
                    <a:pt x="189" y="42"/>
                  </a:lnTo>
                  <a:lnTo>
                    <a:pt x="186" y="44"/>
                  </a:lnTo>
                  <a:lnTo>
                    <a:pt x="184" y="44"/>
                  </a:lnTo>
                  <a:lnTo>
                    <a:pt x="184" y="46"/>
                  </a:lnTo>
                  <a:lnTo>
                    <a:pt x="182" y="49"/>
                  </a:lnTo>
                  <a:lnTo>
                    <a:pt x="179" y="51"/>
                  </a:lnTo>
                  <a:lnTo>
                    <a:pt x="177" y="53"/>
                  </a:lnTo>
                  <a:lnTo>
                    <a:pt x="175" y="53"/>
                  </a:lnTo>
                  <a:lnTo>
                    <a:pt x="172" y="56"/>
                  </a:lnTo>
                  <a:lnTo>
                    <a:pt x="172" y="58"/>
                  </a:lnTo>
                  <a:lnTo>
                    <a:pt x="170" y="60"/>
                  </a:lnTo>
                  <a:lnTo>
                    <a:pt x="170" y="62"/>
                  </a:lnTo>
                  <a:lnTo>
                    <a:pt x="168" y="65"/>
                  </a:lnTo>
                  <a:lnTo>
                    <a:pt x="165" y="65"/>
                  </a:lnTo>
                  <a:lnTo>
                    <a:pt x="165" y="67"/>
                  </a:lnTo>
                  <a:lnTo>
                    <a:pt x="163" y="67"/>
                  </a:lnTo>
                  <a:lnTo>
                    <a:pt x="163" y="69"/>
                  </a:lnTo>
                  <a:lnTo>
                    <a:pt x="161" y="69"/>
                  </a:lnTo>
                  <a:lnTo>
                    <a:pt x="159" y="72"/>
                  </a:lnTo>
                  <a:lnTo>
                    <a:pt x="156" y="72"/>
                  </a:lnTo>
                  <a:lnTo>
                    <a:pt x="154" y="72"/>
                  </a:lnTo>
                  <a:lnTo>
                    <a:pt x="152" y="74"/>
                  </a:lnTo>
                  <a:lnTo>
                    <a:pt x="152" y="76"/>
                  </a:lnTo>
                  <a:lnTo>
                    <a:pt x="149" y="76"/>
                  </a:lnTo>
                  <a:lnTo>
                    <a:pt x="147" y="76"/>
                  </a:lnTo>
                  <a:lnTo>
                    <a:pt x="145" y="76"/>
                  </a:lnTo>
                  <a:lnTo>
                    <a:pt x="142" y="76"/>
                  </a:lnTo>
                  <a:lnTo>
                    <a:pt x="138" y="76"/>
                  </a:lnTo>
                  <a:lnTo>
                    <a:pt x="133" y="79"/>
                  </a:lnTo>
                  <a:lnTo>
                    <a:pt x="126" y="79"/>
                  </a:lnTo>
                  <a:lnTo>
                    <a:pt x="121" y="79"/>
                  </a:lnTo>
                  <a:lnTo>
                    <a:pt x="114" y="79"/>
                  </a:lnTo>
                  <a:lnTo>
                    <a:pt x="105" y="81"/>
                  </a:lnTo>
                  <a:lnTo>
                    <a:pt x="100" y="81"/>
                  </a:lnTo>
                  <a:lnTo>
                    <a:pt x="96" y="81"/>
                  </a:lnTo>
                  <a:lnTo>
                    <a:pt x="89" y="83"/>
                  </a:lnTo>
                  <a:lnTo>
                    <a:pt x="86" y="83"/>
                  </a:lnTo>
                  <a:lnTo>
                    <a:pt x="82" y="83"/>
                  </a:lnTo>
                  <a:lnTo>
                    <a:pt x="79" y="83"/>
                  </a:lnTo>
                  <a:lnTo>
                    <a:pt x="77" y="83"/>
                  </a:lnTo>
                  <a:lnTo>
                    <a:pt x="75" y="83"/>
                  </a:lnTo>
                  <a:lnTo>
                    <a:pt x="72" y="83"/>
                  </a:lnTo>
                  <a:lnTo>
                    <a:pt x="70" y="83"/>
                  </a:lnTo>
                  <a:lnTo>
                    <a:pt x="65" y="83"/>
                  </a:lnTo>
                  <a:lnTo>
                    <a:pt x="63" y="86"/>
                  </a:lnTo>
                  <a:lnTo>
                    <a:pt x="61" y="86"/>
                  </a:lnTo>
                  <a:lnTo>
                    <a:pt x="58" y="86"/>
                  </a:lnTo>
                  <a:lnTo>
                    <a:pt x="56" y="86"/>
                  </a:lnTo>
                  <a:lnTo>
                    <a:pt x="51" y="86"/>
                  </a:lnTo>
                  <a:lnTo>
                    <a:pt x="49" y="86"/>
                  </a:lnTo>
                  <a:lnTo>
                    <a:pt x="47" y="86"/>
                  </a:lnTo>
                  <a:lnTo>
                    <a:pt x="44" y="86"/>
                  </a:lnTo>
                  <a:lnTo>
                    <a:pt x="42" y="86"/>
                  </a:lnTo>
                  <a:lnTo>
                    <a:pt x="40" y="86"/>
                  </a:lnTo>
                  <a:lnTo>
                    <a:pt x="37" y="86"/>
                  </a:lnTo>
                  <a:lnTo>
                    <a:pt x="40" y="88"/>
                  </a:lnTo>
                  <a:lnTo>
                    <a:pt x="40" y="90"/>
                  </a:lnTo>
                  <a:lnTo>
                    <a:pt x="40" y="93"/>
                  </a:lnTo>
                  <a:lnTo>
                    <a:pt x="35" y="93"/>
                  </a:lnTo>
                  <a:lnTo>
                    <a:pt x="31" y="93"/>
                  </a:lnTo>
                  <a:lnTo>
                    <a:pt x="26" y="93"/>
                  </a:lnTo>
                  <a:lnTo>
                    <a:pt x="21" y="93"/>
                  </a:lnTo>
                  <a:lnTo>
                    <a:pt x="17" y="93"/>
                  </a:lnTo>
                  <a:lnTo>
                    <a:pt x="12" y="95"/>
                  </a:lnTo>
                  <a:lnTo>
                    <a:pt x="10" y="95"/>
                  </a:lnTo>
                  <a:lnTo>
                    <a:pt x="5" y="95"/>
                  </a:lnTo>
                  <a:lnTo>
                    <a:pt x="5" y="93"/>
                  </a:lnTo>
                  <a:lnTo>
                    <a:pt x="5" y="90"/>
                  </a:lnTo>
                  <a:lnTo>
                    <a:pt x="7" y="90"/>
                  </a:lnTo>
                  <a:lnTo>
                    <a:pt x="7" y="93"/>
                  </a:lnTo>
                  <a:lnTo>
                    <a:pt x="10" y="93"/>
                  </a:lnTo>
                  <a:lnTo>
                    <a:pt x="10" y="90"/>
                  </a:lnTo>
                  <a:lnTo>
                    <a:pt x="10" y="88"/>
                  </a:lnTo>
                  <a:lnTo>
                    <a:pt x="10" y="86"/>
                  </a:lnTo>
                  <a:lnTo>
                    <a:pt x="12" y="86"/>
                  </a:lnTo>
                  <a:lnTo>
                    <a:pt x="10" y="86"/>
                  </a:lnTo>
                  <a:lnTo>
                    <a:pt x="10" y="83"/>
                  </a:lnTo>
                  <a:lnTo>
                    <a:pt x="10" y="81"/>
                  </a:lnTo>
                  <a:lnTo>
                    <a:pt x="10" y="79"/>
                  </a:lnTo>
                  <a:lnTo>
                    <a:pt x="10" y="76"/>
                  </a:lnTo>
                  <a:lnTo>
                    <a:pt x="10" y="74"/>
                  </a:lnTo>
                  <a:lnTo>
                    <a:pt x="12" y="72"/>
                  </a:lnTo>
                  <a:lnTo>
                    <a:pt x="14" y="72"/>
                  </a:lnTo>
                  <a:lnTo>
                    <a:pt x="17" y="72"/>
                  </a:lnTo>
                  <a:lnTo>
                    <a:pt x="24" y="74"/>
                  </a:lnTo>
                  <a:lnTo>
                    <a:pt x="26" y="74"/>
                  </a:lnTo>
                  <a:lnTo>
                    <a:pt x="28" y="74"/>
                  </a:lnTo>
                  <a:lnTo>
                    <a:pt x="28" y="72"/>
                  </a:lnTo>
                  <a:lnTo>
                    <a:pt x="28" y="69"/>
                  </a:lnTo>
                  <a:lnTo>
                    <a:pt x="26" y="69"/>
                  </a:lnTo>
                  <a:lnTo>
                    <a:pt x="26" y="67"/>
                  </a:lnTo>
                  <a:lnTo>
                    <a:pt x="26" y="65"/>
                  </a:lnTo>
                  <a:lnTo>
                    <a:pt x="26" y="62"/>
                  </a:lnTo>
                  <a:lnTo>
                    <a:pt x="28" y="62"/>
                  </a:lnTo>
                  <a:lnTo>
                    <a:pt x="31" y="62"/>
                  </a:lnTo>
                  <a:lnTo>
                    <a:pt x="35" y="60"/>
                  </a:lnTo>
                  <a:lnTo>
                    <a:pt x="35" y="58"/>
                  </a:lnTo>
                  <a:lnTo>
                    <a:pt x="33" y="58"/>
                  </a:lnTo>
                  <a:lnTo>
                    <a:pt x="33" y="56"/>
                  </a:lnTo>
                  <a:lnTo>
                    <a:pt x="33" y="53"/>
                  </a:lnTo>
                  <a:lnTo>
                    <a:pt x="35" y="53"/>
                  </a:lnTo>
                  <a:lnTo>
                    <a:pt x="35" y="51"/>
                  </a:lnTo>
                  <a:lnTo>
                    <a:pt x="37" y="51"/>
                  </a:lnTo>
                  <a:lnTo>
                    <a:pt x="40" y="49"/>
                  </a:lnTo>
                  <a:lnTo>
                    <a:pt x="37" y="49"/>
                  </a:lnTo>
                  <a:lnTo>
                    <a:pt x="37" y="46"/>
                  </a:lnTo>
                  <a:lnTo>
                    <a:pt x="40" y="46"/>
                  </a:lnTo>
                  <a:lnTo>
                    <a:pt x="42" y="49"/>
                  </a:lnTo>
                  <a:lnTo>
                    <a:pt x="42" y="46"/>
                  </a:lnTo>
                  <a:lnTo>
                    <a:pt x="44" y="46"/>
                  </a:lnTo>
                  <a:lnTo>
                    <a:pt x="44" y="49"/>
                  </a:lnTo>
                  <a:lnTo>
                    <a:pt x="47" y="49"/>
                  </a:lnTo>
                  <a:lnTo>
                    <a:pt x="47" y="46"/>
                  </a:lnTo>
                  <a:lnTo>
                    <a:pt x="47" y="44"/>
                  </a:lnTo>
                  <a:lnTo>
                    <a:pt x="47" y="46"/>
                  </a:lnTo>
                  <a:lnTo>
                    <a:pt x="49" y="46"/>
                  </a:lnTo>
                  <a:lnTo>
                    <a:pt x="49" y="44"/>
                  </a:lnTo>
                  <a:lnTo>
                    <a:pt x="51" y="44"/>
                  </a:lnTo>
                  <a:lnTo>
                    <a:pt x="54" y="46"/>
                  </a:lnTo>
                  <a:lnTo>
                    <a:pt x="56" y="46"/>
                  </a:lnTo>
                  <a:lnTo>
                    <a:pt x="58" y="46"/>
                  </a:lnTo>
                  <a:lnTo>
                    <a:pt x="58" y="49"/>
                  </a:lnTo>
                  <a:lnTo>
                    <a:pt x="61" y="49"/>
                  </a:lnTo>
                  <a:lnTo>
                    <a:pt x="61" y="46"/>
                  </a:lnTo>
                  <a:lnTo>
                    <a:pt x="61" y="44"/>
                  </a:lnTo>
                  <a:lnTo>
                    <a:pt x="63" y="44"/>
                  </a:lnTo>
                  <a:lnTo>
                    <a:pt x="63" y="42"/>
                  </a:lnTo>
                  <a:lnTo>
                    <a:pt x="65" y="42"/>
                  </a:lnTo>
                  <a:lnTo>
                    <a:pt x="68" y="42"/>
                  </a:lnTo>
                  <a:lnTo>
                    <a:pt x="68" y="44"/>
                  </a:lnTo>
                  <a:lnTo>
                    <a:pt x="70" y="44"/>
                  </a:lnTo>
                  <a:lnTo>
                    <a:pt x="70" y="46"/>
                  </a:lnTo>
                  <a:lnTo>
                    <a:pt x="72" y="44"/>
                  </a:lnTo>
                  <a:lnTo>
                    <a:pt x="72" y="42"/>
                  </a:lnTo>
                  <a:lnTo>
                    <a:pt x="72" y="39"/>
                  </a:lnTo>
                  <a:lnTo>
                    <a:pt x="75" y="39"/>
                  </a:lnTo>
                  <a:lnTo>
                    <a:pt x="75" y="37"/>
                  </a:lnTo>
                  <a:lnTo>
                    <a:pt x="77" y="37"/>
                  </a:lnTo>
                  <a:lnTo>
                    <a:pt x="77" y="35"/>
                  </a:lnTo>
                  <a:lnTo>
                    <a:pt x="75" y="35"/>
                  </a:lnTo>
                  <a:lnTo>
                    <a:pt x="77" y="35"/>
                  </a:lnTo>
                  <a:lnTo>
                    <a:pt x="79" y="35"/>
                  </a:lnTo>
                  <a:lnTo>
                    <a:pt x="79" y="37"/>
                  </a:lnTo>
                  <a:lnTo>
                    <a:pt x="82" y="39"/>
                  </a:lnTo>
                  <a:lnTo>
                    <a:pt x="84" y="39"/>
                  </a:lnTo>
                  <a:lnTo>
                    <a:pt x="86" y="39"/>
                  </a:lnTo>
                  <a:lnTo>
                    <a:pt x="89" y="39"/>
                  </a:lnTo>
                  <a:lnTo>
                    <a:pt x="89" y="37"/>
                  </a:lnTo>
                  <a:lnTo>
                    <a:pt x="89" y="35"/>
                  </a:lnTo>
                  <a:lnTo>
                    <a:pt x="89" y="32"/>
                  </a:lnTo>
                  <a:lnTo>
                    <a:pt x="89" y="30"/>
                  </a:lnTo>
                  <a:lnTo>
                    <a:pt x="91" y="30"/>
                  </a:lnTo>
                  <a:lnTo>
                    <a:pt x="93" y="30"/>
                  </a:lnTo>
                  <a:lnTo>
                    <a:pt x="93" y="28"/>
                  </a:lnTo>
                  <a:lnTo>
                    <a:pt x="93" y="25"/>
                  </a:lnTo>
                  <a:lnTo>
                    <a:pt x="96" y="23"/>
                  </a:lnTo>
                  <a:lnTo>
                    <a:pt x="98" y="21"/>
                  </a:lnTo>
                  <a:lnTo>
                    <a:pt x="98" y="18"/>
                  </a:lnTo>
                  <a:lnTo>
                    <a:pt x="98" y="16"/>
                  </a:lnTo>
                  <a:lnTo>
                    <a:pt x="98" y="14"/>
                  </a:lnTo>
                  <a:lnTo>
                    <a:pt x="100" y="14"/>
                  </a:lnTo>
                  <a:lnTo>
                    <a:pt x="103" y="14"/>
                  </a:lnTo>
                  <a:lnTo>
                    <a:pt x="105" y="14"/>
                  </a:lnTo>
                  <a:lnTo>
                    <a:pt x="107" y="11"/>
                  </a:lnTo>
                  <a:lnTo>
                    <a:pt x="110" y="11"/>
                  </a:lnTo>
                  <a:lnTo>
                    <a:pt x="112" y="11"/>
                  </a:lnTo>
                  <a:lnTo>
                    <a:pt x="112" y="9"/>
                  </a:lnTo>
                  <a:lnTo>
                    <a:pt x="114" y="7"/>
                  </a:lnTo>
                  <a:lnTo>
                    <a:pt x="112" y="7"/>
                  </a:lnTo>
                  <a:lnTo>
                    <a:pt x="110" y="7"/>
                  </a:lnTo>
                  <a:lnTo>
                    <a:pt x="112" y="7"/>
                  </a:lnTo>
                  <a:lnTo>
                    <a:pt x="112" y="4"/>
                  </a:lnTo>
                  <a:lnTo>
                    <a:pt x="110" y="2"/>
                  </a:lnTo>
                  <a:lnTo>
                    <a:pt x="112" y="2"/>
                  </a:lnTo>
                  <a:lnTo>
                    <a:pt x="112" y="0"/>
                  </a:lnTo>
                  <a:lnTo>
                    <a:pt x="114" y="0"/>
                  </a:lnTo>
                  <a:lnTo>
                    <a:pt x="117"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04">
              <a:extLst>
                <a:ext uri="{FF2B5EF4-FFF2-40B4-BE49-F238E27FC236}">
                  <a16:creationId xmlns:a16="http://schemas.microsoft.com/office/drawing/2014/main" id="{4356C31A-21AB-4FF7-A9B9-B809F46E66F1}"/>
                </a:ext>
              </a:extLst>
            </p:cNvPr>
            <p:cNvSpPr>
              <a:spLocks noEditPoints="1"/>
            </p:cNvSpPr>
            <p:nvPr/>
          </p:nvSpPr>
          <p:spPr bwMode="auto">
            <a:xfrm>
              <a:off x="7047706" y="4770438"/>
              <a:ext cx="361950" cy="158750"/>
            </a:xfrm>
            <a:custGeom>
              <a:avLst/>
              <a:gdLst>
                <a:gd name="T0" fmla="*/ 186 w 228"/>
                <a:gd name="T1" fmla="*/ 72 h 100"/>
                <a:gd name="T2" fmla="*/ 205 w 228"/>
                <a:gd name="T3" fmla="*/ 63 h 100"/>
                <a:gd name="T4" fmla="*/ 200 w 228"/>
                <a:gd name="T5" fmla="*/ 63 h 100"/>
                <a:gd name="T6" fmla="*/ 207 w 228"/>
                <a:gd name="T7" fmla="*/ 65 h 100"/>
                <a:gd name="T8" fmla="*/ 221 w 228"/>
                <a:gd name="T9" fmla="*/ 42 h 100"/>
                <a:gd name="T10" fmla="*/ 226 w 228"/>
                <a:gd name="T11" fmla="*/ 40 h 100"/>
                <a:gd name="T12" fmla="*/ 226 w 228"/>
                <a:gd name="T13" fmla="*/ 23 h 100"/>
                <a:gd name="T14" fmla="*/ 216 w 228"/>
                <a:gd name="T15" fmla="*/ 19 h 100"/>
                <a:gd name="T16" fmla="*/ 223 w 228"/>
                <a:gd name="T17" fmla="*/ 23 h 100"/>
                <a:gd name="T18" fmla="*/ 212 w 228"/>
                <a:gd name="T19" fmla="*/ 10 h 100"/>
                <a:gd name="T20" fmla="*/ 207 w 228"/>
                <a:gd name="T21" fmla="*/ 0 h 100"/>
                <a:gd name="T22" fmla="*/ 109 w 228"/>
                <a:gd name="T23" fmla="*/ 23 h 100"/>
                <a:gd name="T24" fmla="*/ 137 w 228"/>
                <a:gd name="T25" fmla="*/ 17 h 100"/>
                <a:gd name="T26" fmla="*/ 170 w 228"/>
                <a:gd name="T27" fmla="*/ 10 h 100"/>
                <a:gd name="T28" fmla="*/ 193 w 228"/>
                <a:gd name="T29" fmla="*/ 5 h 100"/>
                <a:gd name="T30" fmla="*/ 209 w 228"/>
                <a:gd name="T31" fmla="*/ 7 h 100"/>
                <a:gd name="T32" fmla="*/ 214 w 228"/>
                <a:gd name="T33" fmla="*/ 17 h 100"/>
                <a:gd name="T34" fmla="*/ 207 w 228"/>
                <a:gd name="T35" fmla="*/ 14 h 100"/>
                <a:gd name="T36" fmla="*/ 205 w 228"/>
                <a:gd name="T37" fmla="*/ 14 h 100"/>
                <a:gd name="T38" fmla="*/ 200 w 228"/>
                <a:gd name="T39" fmla="*/ 17 h 100"/>
                <a:gd name="T40" fmla="*/ 193 w 228"/>
                <a:gd name="T41" fmla="*/ 21 h 100"/>
                <a:gd name="T42" fmla="*/ 188 w 228"/>
                <a:gd name="T43" fmla="*/ 19 h 100"/>
                <a:gd name="T44" fmla="*/ 202 w 228"/>
                <a:gd name="T45" fmla="*/ 23 h 100"/>
                <a:gd name="T46" fmla="*/ 207 w 228"/>
                <a:gd name="T47" fmla="*/ 23 h 100"/>
                <a:gd name="T48" fmla="*/ 209 w 228"/>
                <a:gd name="T49" fmla="*/ 30 h 100"/>
                <a:gd name="T50" fmla="*/ 214 w 228"/>
                <a:gd name="T51" fmla="*/ 19 h 100"/>
                <a:gd name="T52" fmla="*/ 216 w 228"/>
                <a:gd name="T53" fmla="*/ 30 h 100"/>
                <a:gd name="T54" fmla="*/ 207 w 228"/>
                <a:gd name="T55" fmla="*/ 40 h 100"/>
                <a:gd name="T56" fmla="*/ 200 w 228"/>
                <a:gd name="T57" fmla="*/ 40 h 100"/>
                <a:gd name="T58" fmla="*/ 198 w 228"/>
                <a:gd name="T59" fmla="*/ 40 h 100"/>
                <a:gd name="T60" fmla="*/ 188 w 228"/>
                <a:gd name="T61" fmla="*/ 40 h 100"/>
                <a:gd name="T62" fmla="*/ 202 w 228"/>
                <a:gd name="T63" fmla="*/ 42 h 100"/>
                <a:gd name="T64" fmla="*/ 202 w 228"/>
                <a:gd name="T65" fmla="*/ 49 h 100"/>
                <a:gd name="T66" fmla="*/ 191 w 228"/>
                <a:gd name="T67" fmla="*/ 54 h 100"/>
                <a:gd name="T68" fmla="*/ 202 w 228"/>
                <a:gd name="T69" fmla="*/ 54 h 100"/>
                <a:gd name="T70" fmla="*/ 209 w 228"/>
                <a:gd name="T71" fmla="*/ 54 h 100"/>
                <a:gd name="T72" fmla="*/ 202 w 228"/>
                <a:gd name="T73" fmla="*/ 61 h 100"/>
                <a:gd name="T74" fmla="*/ 195 w 228"/>
                <a:gd name="T75" fmla="*/ 63 h 100"/>
                <a:gd name="T76" fmla="*/ 188 w 228"/>
                <a:gd name="T77" fmla="*/ 68 h 100"/>
                <a:gd name="T78" fmla="*/ 184 w 228"/>
                <a:gd name="T79" fmla="*/ 70 h 100"/>
                <a:gd name="T80" fmla="*/ 174 w 228"/>
                <a:gd name="T81" fmla="*/ 89 h 100"/>
                <a:gd name="T82" fmla="*/ 172 w 228"/>
                <a:gd name="T83" fmla="*/ 91 h 100"/>
                <a:gd name="T84" fmla="*/ 160 w 228"/>
                <a:gd name="T85" fmla="*/ 98 h 100"/>
                <a:gd name="T86" fmla="*/ 142 w 228"/>
                <a:gd name="T87" fmla="*/ 89 h 100"/>
                <a:gd name="T88" fmla="*/ 121 w 228"/>
                <a:gd name="T89" fmla="*/ 77 h 100"/>
                <a:gd name="T90" fmla="*/ 100 w 228"/>
                <a:gd name="T91" fmla="*/ 79 h 100"/>
                <a:gd name="T92" fmla="*/ 86 w 228"/>
                <a:gd name="T93" fmla="*/ 72 h 100"/>
                <a:gd name="T94" fmla="*/ 65 w 228"/>
                <a:gd name="T95" fmla="*/ 75 h 100"/>
                <a:gd name="T96" fmla="*/ 46 w 228"/>
                <a:gd name="T97" fmla="*/ 77 h 100"/>
                <a:gd name="T98" fmla="*/ 21 w 228"/>
                <a:gd name="T99" fmla="*/ 86 h 100"/>
                <a:gd name="T100" fmla="*/ 2 w 228"/>
                <a:gd name="T101" fmla="*/ 91 h 100"/>
                <a:gd name="T102" fmla="*/ 7 w 228"/>
                <a:gd name="T103" fmla="*/ 77 h 100"/>
                <a:gd name="T104" fmla="*/ 19 w 228"/>
                <a:gd name="T105" fmla="*/ 68 h 100"/>
                <a:gd name="T106" fmla="*/ 32 w 228"/>
                <a:gd name="T107" fmla="*/ 61 h 100"/>
                <a:gd name="T108" fmla="*/ 39 w 228"/>
                <a:gd name="T109" fmla="*/ 51 h 100"/>
                <a:gd name="T110" fmla="*/ 53 w 228"/>
                <a:gd name="T111" fmla="*/ 44 h 100"/>
                <a:gd name="T112" fmla="*/ 63 w 228"/>
                <a:gd name="T113" fmla="*/ 33 h 100"/>
                <a:gd name="T114" fmla="*/ 79 w 228"/>
                <a:gd name="T115" fmla="*/ 28 h 100"/>
                <a:gd name="T116" fmla="*/ 100 w 228"/>
                <a:gd name="T117" fmla="*/ 2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100">
                  <a:moveTo>
                    <a:pt x="174" y="96"/>
                  </a:moveTo>
                  <a:lnTo>
                    <a:pt x="174" y="98"/>
                  </a:lnTo>
                  <a:lnTo>
                    <a:pt x="172" y="98"/>
                  </a:lnTo>
                  <a:lnTo>
                    <a:pt x="172" y="96"/>
                  </a:lnTo>
                  <a:lnTo>
                    <a:pt x="174" y="96"/>
                  </a:lnTo>
                  <a:close/>
                  <a:moveTo>
                    <a:pt x="174" y="86"/>
                  </a:moveTo>
                  <a:lnTo>
                    <a:pt x="174" y="89"/>
                  </a:lnTo>
                  <a:lnTo>
                    <a:pt x="174" y="86"/>
                  </a:lnTo>
                  <a:close/>
                  <a:moveTo>
                    <a:pt x="186" y="72"/>
                  </a:moveTo>
                  <a:lnTo>
                    <a:pt x="184" y="75"/>
                  </a:lnTo>
                  <a:lnTo>
                    <a:pt x="181" y="75"/>
                  </a:lnTo>
                  <a:lnTo>
                    <a:pt x="179" y="79"/>
                  </a:lnTo>
                  <a:lnTo>
                    <a:pt x="179" y="77"/>
                  </a:lnTo>
                  <a:lnTo>
                    <a:pt x="184" y="75"/>
                  </a:lnTo>
                  <a:lnTo>
                    <a:pt x="184" y="72"/>
                  </a:lnTo>
                  <a:lnTo>
                    <a:pt x="186" y="72"/>
                  </a:lnTo>
                  <a:close/>
                  <a:moveTo>
                    <a:pt x="205" y="65"/>
                  </a:moveTo>
                  <a:lnTo>
                    <a:pt x="205" y="63"/>
                  </a:lnTo>
                  <a:lnTo>
                    <a:pt x="202" y="63"/>
                  </a:lnTo>
                  <a:lnTo>
                    <a:pt x="205" y="63"/>
                  </a:lnTo>
                  <a:lnTo>
                    <a:pt x="205" y="65"/>
                  </a:lnTo>
                  <a:close/>
                  <a:moveTo>
                    <a:pt x="202" y="63"/>
                  </a:moveTo>
                  <a:lnTo>
                    <a:pt x="198" y="63"/>
                  </a:lnTo>
                  <a:lnTo>
                    <a:pt x="191" y="68"/>
                  </a:lnTo>
                  <a:lnTo>
                    <a:pt x="191" y="65"/>
                  </a:lnTo>
                  <a:lnTo>
                    <a:pt x="195" y="65"/>
                  </a:lnTo>
                  <a:lnTo>
                    <a:pt x="200" y="63"/>
                  </a:lnTo>
                  <a:lnTo>
                    <a:pt x="202" y="63"/>
                  </a:lnTo>
                  <a:close/>
                  <a:moveTo>
                    <a:pt x="207" y="65"/>
                  </a:moveTo>
                  <a:lnTo>
                    <a:pt x="205" y="65"/>
                  </a:lnTo>
                  <a:lnTo>
                    <a:pt x="207" y="58"/>
                  </a:lnTo>
                  <a:lnTo>
                    <a:pt x="209" y="56"/>
                  </a:lnTo>
                  <a:lnTo>
                    <a:pt x="212" y="54"/>
                  </a:lnTo>
                  <a:lnTo>
                    <a:pt x="209" y="56"/>
                  </a:lnTo>
                  <a:lnTo>
                    <a:pt x="207" y="58"/>
                  </a:lnTo>
                  <a:lnTo>
                    <a:pt x="207" y="65"/>
                  </a:lnTo>
                  <a:close/>
                  <a:moveTo>
                    <a:pt x="214" y="51"/>
                  </a:moveTo>
                  <a:lnTo>
                    <a:pt x="214" y="49"/>
                  </a:lnTo>
                  <a:lnTo>
                    <a:pt x="216" y="49"/>
                  </a:lnTo>
                  <a:lnTo>
                    <a:pt x="214" y="49"/>
                  </a:lnTo>
                  <a:lnTo>
                    <a:pt x="214" y="51"/>
                  </a:lnTo>
                  <a:close/>
                  <a:moveTo>
                    <a:pt x="219" y="44"/>
                  </a:moveTo>
                  <a:lnTo>
                    <a:pt x="216" y="47"/>
                  </a:lnTo>
                  <a:lnTo>
                    <a:pt x="219" y="44"/>
                  </a:lnTo>
                  <a:lnTo>
                    <a:pt x="221" y="42"/>
                  </a:lnTo>
                  <a:lnTo>
                    <a:pt x="221" y="44"/>
                  </a:lnTo>
                  <a:lnTo>
                    <a:pt x="219" y="44"/>
                  </a:lnTo>
                  <a:close/>
                  <a:moveTo>
                    <a:pt x="226" y="40"/>
                  </a:moveTo>
                  <a:lnTo>
                    <a:pt x="223" y="42"/>
                  </a:lnTo>
                  <a:lnTo>
                    <a:pt x="221" y="42"/>
                  </a:lnTo>
                  <a:lnTo>
                    <a:pt x="223" y="42"/>
                  </a:lnTo>
                  <a:lnTo>
                    <a:pt x="223" y="40"/>
                  </a:lnTo>
                  <a:lnTo>
                    <a:pt x="223" y="42"/>
                  </a:lnTo>
                  <a:lnTo>
                    <a:pt x="226" y="40"/>
                  </a:lnTo>
                  <a:lnTo>
                    <a:pt x="228" y="37"/>
                  </a:lnTo>
                  <a:lnTo>
                    <a:pt x="226" y="37"/>
                  </a:lnTo>
                  <a:lnTo>
                    <a:pt x="226" y="35"/>
                  </a:lnTo>
                  <a:lnTo>
                    <a:pt x="226" y="33"/>
                  </a:lnTo>
                  <a:lnTo>
                    <a:pt x="226" y="30"/>
                  </a:lnTo>
                  <a:lnTo>
                    <a:pt x="226" y="28"/>
                  </a:lnTo>
                  <a:lnTo>
                    <a:pt x="223" y="26"/>
                  </a:lnTo>
                  <a:lnTo>
                    <a:pt x="223" y="23"/>
                  </a:lnTo>
                  <a:lnTo>
                    <a:pt x="226" y="23"/>
                  </a:lnTo>
                  <a:lnTo>
                    <a:pt x="226" y="26"/>
                  </a:lnTo>
                  <a:lnTo>
                    <a:pt x="226" y="28"/>
                  </a:lnTo>
                  <a:lnTo>
                    <a:pt x="226" y="30"/>
                  </a:lnTo>
                  <a:lnTo>
                    <a:pt x="228" y="37"/>
                  </a:lnTo>
                  <a:lnTo>
                    <a:pt x="228" y="40"/>
                  </a:lnTo>
                  <a:lnTo>
                    <a:pt x="226" y="40"/>
                  </a:lnTo>
                  <a:close/>
                  <a:moveTo>
                    <a:pt x="221" y="21"/>
                  </a:moveTo>
                  <a:lnTo>
                    <a:pt x="219" y="21"/>
                  </a:lnTo>
                  <a:lnTo>
                    <a:pt x="216" y="19"/>
                  </a:lnTo>
                  <a:lnTo>
                    <a:pt x="219" y="19"/>
                  </a:lnTo>
                  <a:lnTo>
                    <a:pt x="221" y="21"/>
                  </a:lnTo>
                  <a:close/>
                  <a:moveTo>
                    <a:pt x="212" y="7"/>
                  </a:moveTo>
                  <a:lnTo>
                    <a:pt x="212" y="10"/>
                  </a:lnTo>
                  <a:lnTo>
                    <a:pt x="214" y="10"/>
                  </a:lnTo>
                  <a:lnTo>
                    <a:pt x="216" y="14"/>
                  </a:lnTo>
                  <a:lnTo>
                    <a:pt x="221" y="19"/>
                  </a:lnTo>
                  <a:lnTo>
                    <a:pt x="221" y="21"/>
                  </a:lnTo>
                  <a:lnTo>
                    <a:pt x="223" y="23"/>
                  </a:lnTo>
                  <a:lnTo>
                    <a:pt x="221" y="21"/>
                  </a:lnTo>
                  <a:lnTo>
                    <a:pt x="221" y="19"/>
                  </a:lnTo>
                  <a:lnTo>
                    <a:pt x="219" y="17"/>
                  </a:lnTo>
                  <a:lnTo>
                    <a:pt x="216" y="17"/>
                  </a:lnTo>
                  <a:lnTo>
                    <a:pt x="216" y="14"/>
                  </a:lnTo>
                  <a:lnTo>
                    <a:pt x="214" y="14"/>
                  </a:lnTo>
                  <a:lnTo>
                    <a:pt x="214" y="12"/>
                  </a:lnTo>
                  <a:lnTo>
                    <a:pt x="214" y="10"/>
                  </a:lnTo>
                  <a:lnTo>
                    <a:pt x="212" y="10"/>
                  </a:lnTo>
                  <a:lnTo>
                    <a:pt x="212" y="7"/>
                  </a:lnTo>
                  <a:lnTo>
                    <a:pt x="212" y="5"/>
                  </a:lnTo>
                  <a:lnTo>
                    <a:pt x="209" y="5"/>
                  </a:lnTo>
                  <a:lnTo>
                    <a:pt x="209" y="3"/>
                  </a:lnTo>
                  <a:lnTo>
                    <a:pt x="209" y="0"/>
                  </a:lnTo>
                  <a:lnTo>
                    <a:pt x="212" y="5"/>
                  </a:lnTo>
                  <a:lnTo>
                    <a:pt x="212" y="7"/>
                  </a:lnTo>
                  <a:close/>
                  <a:moveTo>
                    <a:pt x="207" y="3"/>
                  </a:moveTo>
                  <a:lnTo>
                    <a:pt x="207" y="0"/>
                  </a:lnTo>
                  <a:lnTo>
                    <a:pt x="207" y="3"/>
                  </a:lnTo>
                  <a:lnTo>
                    <a:pt x="209" y="3"/>
                  </a:lnTo>
                  <a:lnTo>
                    <a:pt x="207" y="3"/>
                  </a:lnTo>
                  <a:lnTo>
                    <a:pt x="205" y="3"/>
                  </a:lnTo>
                  <a:lnTo>
                    <a:pt x="207" y="3"/>
                  </a:lnTo>
                  <a:close/>
                  <a:moveTo>
                    <a:pt x="100" y="23"/>
                  </a:moveTo>
                  <a:lnTo>
                    <a:pt x="102" y="23"/>
                  </a:lnTo>
                  <a:lnTo>
                    <a:pt x="105" y="23"/>
                  </a:lnTo>
                  <a:lnTo>
                    <a:pt x="109" y="23"/>
                  </a:lnTo>
                  <a:lnTo>
                    <a:pt x="112" y="21"/>
                  </a:lnTo>
                  <a:lnTo>
                    <a:pt x="114" y="21"/>
                  </a:lnTo>
                  <a:lnTo>
                    <a:pt x="116" y="21"/>
                  </a:lnTo>
                  <a:lnTo>
                    <a:pt x="121" y="21"/>
                  </a:lnTo>
                  <a:lnTo>
                    <a:pt x="123" y="19"/>
                  </a:lnTo>
                  <a:lnTo>
                    <a:pt x="126" y="19"/>
                  </a:lnTo>
                  <a:lnTo>
                    <a:pt x="130" y="19"/>
                  </a:lnTo>
                  <a:lnTo>
                    <a:pt x="135" y="17"/>
                  </a:lnTo>
                  <a:lnTo>
                    <a:pt x="137" y="17"/>
                  </a:lnTo>
                  <a:lnTo>
                    <a:pt x="142" y="17"/>
                  </a:lnTo>
                  <a:lnTo>
                    <a:pt x="147" y="14"/>
                  </a:lnTo>
                  <a:lnTo>
                    <a:pt x="149" y="14"/>
                  </a:lnTo>
                  <a:lnTo>
                    <a:pt x="153" y="14"/>
                  </a:lnTo>
                  <a:lnTo>
                    <a:pt x="158" y="12"/>
                  </a:lnTo>
                  <a:lnTo>
                    <a:pt x="160" y="12"/>
                  </a:lnTo>
                  <a:lnTo>
                    <a:pt x="163" y="12"/>
                  </a:lnTo>
                  <a:lnTo>
                    <a:pt x="167" y="10"/>
                  </a:lnTo>
                  <a:lnTo>
                    <a:pt x="170" y="10"/>
                  </a:lnTo>
                  <a:lnTo>
                    <a:pt x="172" y="10"/>
                  </a:lnTo>
                  <a:lnTo>
                    <a:pt x="177" y="10"/>
                  </a:lnTo>
                  <a:lnTo>
                    <a:pt x="179" y="7"/>
                  </a:lnTo>
                  <a:lnTo>
                    <a:pt x="181" y="7"/>
                  </a:lnTo>
                  <a:lnTo>
                    <a:pt x="184" y="7"/>
                  </a:lnTo>
                  <a:lnTo>
                    <a:pt x="186" y="7"/>
                  </a:lnTo>
                  <a:lnTo>
                    <a:pt x="188" y="5"/>
                  </a:lnTo>
                  <a:lnTo>
                    <a:pt x="191" y="5"/>
                  </a:lnTo>
                  <a:lnTo>
                    <a:pt x="193" y="5"/>
                  </a:lnTo>
                  <a:lnTo>
                    <a:pt x="195" y="5"/>
                  </a:lnTo>
                  <a:lnTo>
                    <a:pt x="198" y="3"/>
                  </a:lnTo>
                  <a:lnTo>
                    <a:pt x="200" y="3"/>
                  </a:lnTo>
                  <a:lnTo>
                    <a:pt x="202" y="3"/>
                  </a:lnTo>
                  <a:lnTo>
                    <a:pt x="205" y="3"/>
                  </a:lnTo>
                  <a:lnTo>
                    <a:pt x="205" y="5"/>
                  </a:lnTo>
                  <a:lnTo>
                    <a:pt x="207" y="5"/>
                  </a:lnTo>
                  <a:lnTo>
                    <a:pt x="207" y="7"/>
                  </a:lnTo>
                  <a:lnTo>
                    <a:pt x="209" y="7"/>
                  </a:lnTo>
                  <a:lnTo>
                    <a:pt x="207" y="7"/>
                  </a:lnTo>
                  <a:lnTo>
                    <a:pt x="207" y="5"/>
                  </a:lnTo>
                  <a:lnTo>
                    <a:pt x="209" y="5"/>
                  </a:lnTo>
                  <a:lnTo>
                    <a:pt x="209" y="7"/>
                  </a:lnTo>
                  <a:lnTo>
                    <a:pt x="209" y="10"/>
                  </a:lnTo>
                  <a:lnTo>
                    <a:pt x="212" y="10"/>
                  </a:lnTo>
                  <a:lnTo>
                    <a:pt x="214" y="12"/>
                  </a:lnTo>
                  <a:lnTo>
                    <a:pt x="214" y="14"/>
                  </a:lnTo>
                  <a:lnTo>
                    <a:pt x="214" y="17"/>
                  </a:lnTo>
                  <a:lnTo>
                    <a:pt x="214" y="14"/>
                  </a:lnTo>
                  <a:lnTo>
                    <a:pt x="212" y="14"/>
                  </a:lnTo>
                  <a:lnTo>
                    <a:pt x="212" y="12"/>
                  </a:lnTo>
                  <a:lnTo>
                    <a:pt x="209" y="12"/>
                  </a:lnTo>
                  <a:lnTo>
                    <a:pt x="209" y="10"/>
                  </a:lnTo>
                  <a:lnTo>
                    <a:pt x="207" y="10"/>
                  </a:lnTo>
                  <a:lnTo>
                    <a:pt x="209" y="12"/>
                  </a:lnTo>
                  <a:lnTo>
                    <a:pt x="209" y="14"/>
                  </a:lnTo>
                  <a:lnTo>
                    <a:pt x="207" y="14"/>
                  </a:lnTo>
                  <a:lnTo>
                    <a:pt x="207" y="12"/>
                  </a:lnTo>
                  <a:lnTo>
                    <a:pt x="205" y="12"/>
                  </a:lnTo>
                  <a:lnTo>
                    <a:pt x="202" y="12"/>
                  </a:lnTo>
                  <a:lnTo>
                    <a:pt x="202" y="10"/>
                  </a:lnTo>
                  <a:lnTo>
                    <a:pt x="202" y="12"/>
                  </a:lnTo>
                  <a:lnTo>
                    <a:pt x="205" y="12"/>
                  </a:lnTo>
                  <a:lnTo>
                    <a:pt x="205" y="14"/>
                  </a:lnTo>
                  <a:lnTo>
                    <a:pt x="207" y="14"/>
                  </a:lnTo>
                  <a:lnTo>
                    <a:pt x="205" y="14"/>
                  </a:lnTo>
                  <a:lnTo>
                    <a:pt x="205" y="17"/>
                  </a:lnTo>
                  <a:lnTo>
                    <a:pt x="202" y="17"/>
                  </a:lnTo>
                  <a:lnTo>
                    <a:pt x="202" y="14"/>
                  </a:lnTo>
                  <a:lnTo>
                    <a:pt x="200" y="14"/>
                  </a:lnTo>
                  <a:lnTo>
                    <a:pt x="202" y="14"/>
                  </a:lnTo>
                  <a:lnTo>
                    <a:pt x="202" y="17"/>
                  </a:lnTo>
                  <a:lnTo>
                    <a:pt x="205" y="17"/>
                  </a:lnTo>
                  <a:lnTo>
                    <a:pt x="202" y="17"/>
                  </a:lnTo>
                  <a:lnTo>
                    <a:pt x="200" y="17"/>
                  </a:lnTo>
                  <a:lnTo>
                    <a:pt x="198" y="17"/>
                  </a:lnTo>
                  <a:lnTo>
                    <a:pt x="195" y="14"/>
                  </a:lnTo>
                  <a:lnTo>
                    <a:pt x="198" y="17"/>
                  </a:lnTo>
                  <a:lnTo>
                    <a:pt x="200" y="17"/>
                  </a:lnTo>
                  <a:lnTo>
                    <a:pt x="200" y="19"/>
                  </a:lnTo>
                  <a:lnTo>
                    <a:pt x="198" y="19"/>
                  </a:lnTo>
                  <a:lnTo>
                    <a:pt x="198" y="21"/>
                  </a:lnTo>
                  <a:lnTo>
                    <a:pt x="195" y="21"/>
                  </a:lnTo>
                  <a:lnTo>
                    <a:pt x="193" y="21"/>
                  </a:lnTo>
                  <a:lnTo>
                    <a:pt x="191" y="21"/>
                  </a:lnTo>
                  <a:lnTo>
                    <a:pt x="191" y="19"/>
                  </a:lnTo>
                  <a:lnTo>
                    <a:pt x="191" y="17"/>
                  </a:lnTo>
                  <a:lnTo>
                    <a:pt x="191" y="14"/>
                  </a:lnTo>
                  <a:lnTo>
                    <a:pt x="188" y="14"/>
                  </a:lnTo>
                  <a:lnTo>
                    <a:pt x="191" y="14"/>
                  </a:lnTo>
                  <a:lnTo>
                    <a:pt x="188" y="14"/>
                  </a:lnTo>
                  <a:lnTo>
                    <a:pt x="188" y="17"/>
                  </a:lnTo>
                  <a:lnTo>
                    <a:pt x="188" y="19"/>
                  </a:lnTo>
                  <a:lnTo>
                    <a:pt x="191" y="21"/>
                  </a:lnTo>
                  <a:lnTo>
                    <a:pt x="191" y="23"/>
                  </a:lnTo>
                  <a:lnTo>
                    <a:pt x="191" y="26"/>
                  </a:lnTo>
                  <a:lnTo>
                    <a:pt x="195" y="23"/>
                  </a:lnTo>
                  <a:lnTo>
                    <a:pt x="198" y="23"/>
                  </a:lnTo>
                  <a:lnTo>
                    <a:pt x="198" y="21"/>
                  </a:lnTo>
                  <a:lnTo>
                    <a:pt x="200" y="21"/>
                  </a:lnTo>
                  <a:lnTo>
                    <a:pt x="200" y="23"/>
                  </a:lnTo>
                  <a:lnTo>
                    <a:pt x="202" y="23"/>
                  </a:lnTo>
                  <a:lnTo>
                    <a:pt x="202" y="21"/>
                  </a:lnTo>
                  <a:lnTo>
                    <a:pt x="205" y="21"/>
                  </a:lnTo>
                  <a:lnTo>
                    <a:pt x="207" y="19"/>
                  </a:lnTo>
                  <a:lnTo>
                    <a:pt x="209" y="19"/>
                  </a:lnTo>
                  <a:lnTo>
                    <a:pt x="209" y="21"/>
                  </a:lnTo>
                  <a:lnTo>
                    <a:pt x="207" y="21"/>
                  </a:lnTo>
                  <a:lnTo>
                    <a:pt x="209" y="21"/>
                  </a:lnTo>
                  <a:lnTo>
                    <a:pt x="209" y="23"/>
                  </a:lnTo>
                  <a:lnTo>
                    <a:pt x="207" y="23"/>
                  </a:lnTo>
                  <a:lnTo>
                    <a:pt x="209" y="23"/>
                  </a:lnTo>
                  <a:lnTo>
                    <a:pt x="209" y="26"/>
                  </a:lnTo>
                  <a:lnTo>
                    <a:pt x="207" y="26"/>
                  </a:lnTo>
                  <a:lnTo>
                    <a:pt x="209" y="26"/>
                  </a:lnTo>
                  <a:lnTo>
                    <a:pt x="209" y="28"/>
                  </a:lnTo>
                  <a:lnTo>
                    <a:pt x="212" y="28"/>
                  </a:lnTo>
                  <a:lnTo>
                    <a:pt x="209" y="28"/>
                  </a:lnTo>
                  <a:lnTo>
                    <a:pt x="207" y="28"/>
                  </a:lnTo>
                  <a:lnTo>
                    <a:pt x="209" y="30"/>
                  </a:lnTo>
                  <a:lnTo>
                    <a:pt x="212" y="30"/>
                  </a:lnTo>
                  <a:lnTo>
                    <a:pt x="212" y="28"/>
                  </a:lnTo>
                  <a:lnTo>
                    <a:pt x="212" y="26"/>
                  </a:lnTo>
                  <a:lnTo>
                    <a:pt x="209" y="23"/>
                  </a:lnTo>
                  <a:lnTo>
                    <a:pt x="212" y="21"/>
                  </a:lnTo>
                  <a:lnTo>
                    <a:pt x="214" y="21"/>
                  </a:lnTo>
                  <a:lnTo>
                    <a:pt x="212" y="21"/>
                  </a:lnTo>
                  <a:lnTo>
                    <a:pt x="214" y="21"/>
                  </a:lnTo>
                  <a:lnTo>
                    <a:pt x="214" y="19"/>
                  </a:lnTo>
                  <a:lnTo>
                    <a:pt x="216" y="21"/>
                  </a:lnTo>
                  <a:lnTo>
                    <a:pt x="216" y="23"/>
                  </a:lnTo>
                  <a:lnTo>
                    <a:pt x="219" y="23"/>
                  </a:lnTo>
                  <a:lnTo>
                    <a:pt x="219" y="26"/>
                  </a:lnTo>
                  <a:lnTo>
                    <a:pt x="216" y="26"/>
                  </a:lnTo>
                  <a:lnTo>
                    <a:pt x="216" y="28"/>
                  </a:lnTo>
                  <a:lnTo>
                    <a:pt x="219" y="28"/>
                  </a:lnTo>
                  <a:lnTo>
                    <a:pt x="219" y="30"/>
                  </a:lnTo>
                  <a:lnTo>
                    <a:pt x="216" y="30"/>
                  </a:lnTo>
                  <a:lnTo>
                    <a:pt x="214" y="30"/>
                  </a:lnTo>
                  <a:lnTo>
                    <a:pt x="214" y="33"/>
                  </a:lnTo>
                  <a:lnTo>
                    <a:pt x="214" y="35"/>
                  </a:lnTo>
                  <a:lnTo>
                    <a:pt x="212" y="37"/>
                  </a:lnTo>
                  <a:lnTo>
                    <a:pt x="214" y="37"/>
                  </a:lnTo>
                  <a:lnTo>
                    <a:pt x="212" y="37"/>
                  </a:lnTo>
                  <a:lnTo>
                    <a:pt x="212" y="40"/>
                  </a:lnTo>
                  <a:lnTo>
                    <a:pt x="209" y="40"/>
                  </a:lnTo>
                  <a:lnTo>
                    <a:pt x="207" y="40"/>
                  </a:lnTo>
                  <a:lnTo>
                    <a:pt x="205" y="40"/>
                  </a:lnTo>
                  <a:lnTo>
                    <a:pt x="205" y="42"/>
                  </a:lnTo>
                  <a:lnTo>
                    <a:pt x="202" y="42"/>
                  </a:lnTo>
                  <a:lnTo>
                    <a:pt x="202" y="40"/>
                  </a:lnTo>
                  <a:lnTo>
                    <a:pt x="205" y="40"/>
                  </a:lnTo>
                  <a:lnTo>
                    <a:pt x="202" y="37"/>
                  </a:lnTo>
                  <a:lnTo>
                    <a:pt x="202" y="40"/>
                  </a:lnTo>
                  <a:lnTo>
                    <a:pt x="202" y="42"/>
                  </a:lnTo>
                  <a:lnTo>
                    <a:pt x="200" y="40"/>
                  </a:lnTo>
                  <a:lnTo>
                    <a:pt x="200" y="37"/>
                  </a:lnTo>
                  <a:lnTo>
                    <a:pt x="198" y="37"/>
                  </a:lnTo>
                  <a:lnTo>
                    <a:pt x="200" y="37"/>
                  </a:lnTo>
                  <a:lnTo>
                    <a:pt x="200" y="35"/>
                  </a:lnTo>
                  <a:lnTo>
                    <a:pt x="198" y="35"/>
                  </a:lnTo>
                  <a:lnTo>
                    <a:pt x="198" y="37"/>
                  </a:lnTo>
                  <a:lnTo>
                    <a:pt x="195" y="37"/>
                  </a:lnTo>
                  <a:lnTo>
                    <a:pt x="198" y="37"/>
                  </a:lnTo>
                  <a:lnTo>
                    <a:pt x="198" y="40"/>
                  </a:lnTo>
                  <a:lnTo>
                    <a:pt x="200" y="40"/>
                  </a:lnTo>
                  <a:lnTo>
                    <a:pt x="198" y="42"/>
                  </a:lnTo>
                  <a:lnTo>
                    <a:pt x="198" y="40"/>
                  </a:lnTo>
                  <a:lnTo>
                    <a:pt x="195" y="40"/>
                  </a:lnTo>
                  <a:lnTo>
                    <a:pt x="195" y="42"/>
                  </a:lnTo>
                  <a:lnTo>
                    <a:pt x="193" y="42"/>
                  </a:lnTo>
                  <a:lnTo>
                    <a:pt x="193" y="40"/>
                  </a:lnTo>
                  <a:lnTo>
                    <a:pt x="191" y="40"/>
                  </a:lnTo>
                  <a:lnTo>
                    <a:pt x="188" y="40"/>
                  </a:lnTo>
                  <a:lnTo>
                    <a:pt x="186" y="40"/>
                  </a:lnTo>
                  <a:lnTo>
                    <a:pt x="188" y="40"/>
                  </a:lnTo>
                  <a:lnTo>
                    <a:pt x="188" y="42"/>
                  </a:lnTo>
                  <a:lnTo>
                    <a:pt x="191" y="42"/>
                  </a:lnTo>
                  <a:lnTo>
                    <a:pt x="193" y="42"/>
                  </a:lnTo>
                  <a:lnTo>
                    <a:pt x="195" y="42"/>
                  </a:lnTo>
                  <a:lnTo>
                    <a:pt x="198" y="42"/>
                  </a:lnTo>
                  <a:lnTo>
                    <a:pt x="200" y="44"/>
                  </a:lnTo>
                  <a:lnTo>
                    <a:pt x="202" y="42"/>
                  </a:lnTo>
                  <a:lnTo>
                    <a:pt x="202" y="44"/>
                  </a:lnTo>
                  <a:lnTo>
                    <a:pt x="202" y="47"/>
                  </a:lnTo>
                  <a:lnTo>
                    <a:pt x="200" y="47"/>
                  </a:lnTo>
                  <a:lnTo>
                    <a:pt x="202" y="47"/>
                  </a:lnTo>
                  <a:lnTo>
                    <a:pt x="200" y="47"/>
                  </a:lnTo>
                  <a:lnTo>
                    <a:pt x="198" y="49"/>
                  </a:lnTo>
                  <a:lnTo>
                    <a:pt x="200" y="49"/>
                  </a:lnTo>
                  <a:lnTo>
                    <a:pt x="200" y="47"/>
                  </a:lnTo>
                  <a:lnTo>
                    <a:pt x="202" y="49"/>
                  </a:lnTo>
                  <a:lnTo>
                    <a:pt x="200" y="49"/>
                  </a:lnTo>
                  <a:lnTo>
                    <a:pt x="200" y="51"/>
                  </a:lnTo>
                  <a:lnTo>
                    <a:pt x="198" y="54"/>
                  </a:lnTo>
                  <a:lnTo>
                    <a:pt x="195" y="56"/>
                  </a:lnTo>
                  <a:lnTo>
                    <a:pt x="193" y="54"/>
                  </a:lnTo>
                  <a:lnTo>
                    <a:pt x="191" y="54"/>
                  </a:lnTo>
                  <a:lnTo>
                    <a:pt x="188" y="51"/>
                  </a:lnTo>
                  <a:lnTo>
                    <a:pt x="188" y="54"/>
                  </a:lnTo>
                  <a:lnTo>
                    <a:pt x="191" y="54"/>
                  </a:lnTo>
                  <a:lnTo>
                    <a:pt x="191" y="56"/>
                  </a:lnTo>
                  <a:lnTo>
                    <a:pt x="193" y="56"/>
                  </a:lnTo>
                  <a:lnTo>
                    <a:pt x="195" y="56"/>
                  </a:lnTo>
                  <a:lnTo>
                    <a:pt x="198" y="56"/>
                  </a:lnTo>
                  <a:lnTo>
                    <a:pt x="198" y="58"/>
                  </a:lnTo>
                  <a:lnTo>
                    <a:pt x="198" y="56"/>
                  </a:lnTo>
                  <a:lnTo>
                    <a:pt x="200" y="56"/>
                  </a:lnTo>
                  <a:lnTo>
                    <a:pt x="200" y="54"/>
                  </a:lnTo>
                  <a:lnTo>
                    <a:pt x="202" y="54"/>
                  </a:lnTo>
                  <a:lnTo>
                    <a:pt x="202" y="56"/>
                  </a:lnTo>
                  <a:lnTo>
                    <a:pt x="202" y="54"/>
                  </a:lnTo>
                  <a:lnTo>
                    <a:pt x="205" y="54"/>
                  </a:lnTo>
                  <a:lnTo>
                    <a:pt x="205" y="51"/>
                  </a:lnTo>
                  <a:lnTo>
                    <a:pt x="205" y="54"/>
                  </a:lnTo>
                  <a:lnTo>
                    <a:pt x="207" y="54"/>
                  </a:lnTo>
                  <a:lnTo>
                    <a:pt x="205" y="54"/>
                  </a:lnTo>
                  <a:lnTo>
                    <a:pt x="207" y="54"/>
                  </a:lnTo>
                  <a:lnTo>
                    <a:pt x="209" y="54"/>
                  </a:lnTo>
                  <a:lnTo>
                    <a:pt x="209" y="51"/>
                  </a:lnTo>
                  <a:lnTo>
                    <a:pt x="207" y="51"/>
                  </a:lnTo>
                  <a:lnTo>
                    <a:pt x="209" y="51"/>
                  </a:lnTo>
                  <a:lnTo>
                    <a:pt x="209" y="54"/>
                  </a:lnTo>
                  <a:lnTo>
                    <a:pt x="209" y="56"/>
                  </a:lnTo>
                  <a:lnTo>
                    <a:pt x="207" y="56"/>
                  </a:lnTo>
                  <a:lnTo>
                    <a:pt x="207" y="58"/>
                  </a:lnTo>
                  <a:lnTo>
                    <a:pt x="205" y="61"/>
                  </a:lnTo>
                  <a:lnTo>
                    <a:pt x="202" y="61"/>
                  </a:lnTo>
                  <a:lnTo>
                    <a:pt x="202" y="58"/>
                  </a:lnTo>
                  <a:lnTo>
                    <a:pt x="202" y="63"/>
                  </a:lnTo>
                  <a:lnTo>
                    <a:pt x="200" y="61"/>
                  </a:lnTo>
                  <a:lnTo>
                    <a:pt x="198" y="61"/>
                  </a:lnTo>
                  <a:lnTo>
                    <a:pt x="198" y="63"/>
                  </a:lnTo>
                  <a:lnTo>
                    <a:pt x="200" y="63"/>
                  </a:lnTo>
                  <a:lnTo>
                    <a:pt x="200" y="61"/>
                  </a:lnTo>
                  <a:lnTo>
                    <a:pt x="200" y="63"/>
                  </a:lnTo>
                  <a:lnTo>
                    <a:pt x="195" y="63"/>
                  </a:lnTo>
                  <a:lnTo>
                    <a:pt x="191" y="65"/>
                  </a:lnTo>
                  <a:lnTo>
                    <a:pt x="191" y="63"/>
                  </a:lnTo>
                  <a:lnTo>
                    <a:pt x="188" y="63"/>
                  </a:lnTo>
                  <a:lnTo>
                    <a:pt x="188" y="65"/>
                  </a:lnTo>
                  <a:lnTo>
                    <a:pt x="191" y="65"/>
                  </a:lnTo>
                  <a:lnTo>
                    <a:pt x="191" y="68"/>
                  </a:lnTo>
                  <a:lnTo>
                    <a:pt x="188" y="68"/>
                  </a:lnTo>
                  <a:lnTo>
                    <a:pt x="188" y="65"/>
                  </a:lnTo>
                  <a:lnTo>
                    <a:pt x="188" y="68"/>
                  </a:lnTo>
                  <a:lnTo>
                    <a:pt x="186" y="70"/>
                  </a:lnTo>
                  <a:lnTo>
                    <a:pt x="186" y="72"/>
                  </a:lnTo>
                  <a:lnTo>
                    <a:pt x="184" y="70"/>
                  </a:lnTo>
                  <a:lnTo>
                    <a:pt x="184" y="68"/>
                  </a:lnTo>
                  <a:lnTo>
                    <a:pt x="184" y="65"/>
                  </a:lnTo>
                  <a:lnTo>
                    <a:pt x="181" y="65"/>
                  </a:lnTo>
                  <a:lnTo>
                    <a:pt x="181" y="68"/>
                  </a:lnTo>
                  <a:lnTo>
                    <a:pt x="184" y="68"/>
                  </a:lnTo>
                  <a:lnTo>
                    <a:pt x="184" y="70"/>
                  </a:lnTo>
                  <a:lnTo>
                    <a:pt x="181" y="70"/>
                  </a:lnTo>
                  <a:lnTo>
                    <a:pt x="184" y="72"/>
                  </a:lnTo>
                  <a:lnTo>
                    <a:pt x="181" y="75"/>
                  </a:lnTo>
                  <a:lnTo>
                    <a:pt x="177" y="79"/>
                  </a:lnTo>
                  <a:lnTo>
                    <a:pt x="177" y="82"/>
                  </a:lnTo>
                  <a:lnTo>
                    <a:pt x="177" y="84"/>
                  </a:lnTo>
                  <a:lnTo>
                    <a:pt x="174" y="84"/>
                  </a:lnTo>
                  <a:lnTo>
                    <a:pt x="174" y="86"/>
                  </a:lnTo>
                  <a:lnTo>
                    <a:pt x="174" y="89"/>
                  </a:lnTo>
                  <a:lnTo>
                    <a:pt x="174" y="91"/>
                  </a:lnTo>
                  <a:lnTo>
                    <a:pt x="174" y="93"/>
                  </a:lnTo>
                  <a:lnTo>
                    <a:pt x="174" y="96"/>
                  </a:lnTo>
                  <a:lnTo>
                    <a:pt x="174" y="93"/>
                  </a:lnTo>
                  <a:lnTo>
                    <a:pt x="172" y="91"/>
                  </a:lnTo>
                  <a:lnTo>
                    <a:pt x="172" y="89"/>
                  </a:lnTo>
                  <a:lnTo>
                    <a:pt x="172" y="86"/>
                  </a:lnTo>
                  <a:lnTo>
                    <a:pt x="172" y="89"/>
                  </a:lnTo>
                  <a:lnTo>
                    <a:pt x="172" y="91"/>
                  </a:lnTo>
                  <a:lnTo>
                    <a:pt x="172" y="93"/>
                  </a:lnTo>
                  <a:lnTo>
                    <a:pt x="172" y="96"/>
                  </a:lnTo>
                  <a:lnTo>
                    <a:pt x="170" y="96"/>
                  </a:lnTo>
                  <a:lnTo>
                    <a:pt x="167" y="96"/>
                  </a:lnTo>
                  <a:lnTo>
                    <a:pt x="165" y="96"/>
                  </a:lnTo>
                  <a:lnTo>
                    <a:pt x="163" y="98"/>
                  </a:lnTo>
                  <a:lnTo>
                    <a:pt x="163" y="96"/>
                  </a:lnTo>
                  <a:lnTo>
                    <a:pt x="163" y="98"/>
                  </a:lnTo>
                  <a:lnTo>
                    <a:pt x="160" y="98"/>
                  </a:lnTo>
                  <a:lnTo>
                    <a:pt x="158" y="100"/>
                  </a:lnTo>
                  <a:lnTo>
                    <a:pt x="156" y="98"/>
                  </a:lnTo>
                  <a:lnTo>
                    <a:pt x="153" y="96"/>
                  </a:lnTo>
                  <a:lnTo>
                    <a:pt x="151" y="96"/>
                  </a:lnTo>
                  <a:lnTo>
                    <a:pt x="149" y="93"/>
                  </a:lnTo>
                  <a:lnTo>
                    <a:pt x="147" y="93"/>
                  </a:lnTo>
                  <a:lnTo>
                    <a:pt x="144" y="91"/>
                  </a:lnTo>
                  <a:lnTo>
                    <a:pt x="144" y="89"/>
                  </a:lnTo>
                  <a:lnTo>
                    <a:pt x="142" y="89"/>
                  </a:lnTo>
                  <a:lnTo>
                    <a:pt x="140" y="86"/>
                  </a:lnTo>
                  <a:lnTo>
                    <a:pt x="137" y="86"/>
                  </a:lnTo>
                  <a:lnTo>
                    <a:pt x="135" y="84"/>
                  </a:lnTo>
                  <a:lnTo>
                    <a:pt x="133" y="82"/>
                  </a:lnTo>
                  <a:lnTo>
                    <a:pt x="130" y="82"/>
                  </a:lnTo>
                  <a:lnTo>
                    <a:pt x="128" y="79"/>
                  </a:lnTo>
                  <a:lnTo>
                    <a:pt x="126" y="77"/>
                  </a:lnTo>
                  <a:lnTo>
                    <a:pt x="123" y="77"/>
                  </a:lnTo>
                  <a:lnTo>
                    <a:pt x="121" y="77"/>
                  </a:lnTo>
                  <a:lnTo>
                    <a:pt x="119" y="77"/>
                  </a:lnTo>
                  <a:lnTo>
                    <a:pt x="116" y="77"/>
                  </a:lnTo>
                  <a:lnTo>
                    <a:pt x="114" y="77"/>
                  </a:lnTo>
                  <a:lnTo>
                    <a:pt x="112" y="77"/>
                  </a:lnTo>
                  <a:lnTo>
                    <a:pt x="109" y="79"/>
                  </a:lnTo>
                  <a:lnTo>
                    <a:pt x="107" y="79"/>
                  </a:lnTo>
                  <a:lnTo>
                    <a:pt x="105" y="79"/>
                  </a:lnTo>
                  <a:lnTo>
                    <a:pt x="102" y="79"/>
                  </a:lnTo>
                  <a:lnTo>
                    <a:pt x="100" y="79"/>
                  </a:lnTo>
                  <a:lnTo>
                    <a:pt x="98" y="79"/>
                  </a:lnTo>
                  <a:lnTo>
                    <a:pt x="95" y="82"/>
                  </a:lnTo>
                  <a:lnTo>
                    <a:pt x="93" y="82"/>
                  </a:lnTo>
                  <a:lnTo>
                    <a:pt x="93" y="79"/>
                  </a:lnTo>
                  <a:lnTo>
                    <a:pt x="93" y="77"/>
                  </a:lnTo>
                  <a:lnTo>
                    <a:pt x="91" y="75"/>
                  </a:lnTo>
                  <a:lnTo>
                    <a:pt x="88" y="72"/>
                  </a:lnTo>
                  <a:lnTo>
                    <a:pt x="86" y="75"/>
                  </a:lnTo>
                  <a:lnTo>
                    <a:pt x="86" y="72"/>
                  </a:lnTo>
                  <a:lnTo>
                    <a:pt x="84" y="72"/>
                  </a:lnTo>
                  <a:lnTo>
                    <a:pt x="81" y="72"/>
                  </a:lnTo>
                  <a:lnTo>
                    <a:pt x="79" y="72"/>
                  </a:lnTo>
                  <a:lnTo>
                    <a:pt x="77" y="72"/>
                  </a:lnTo>
                  <a:lnTo>
                    <a:pt x="74" y="72"/>
                  </a:lnTo>
                  <a:lnTo>
                    <a:pt x="72" y="72"/>
                  </a:lnTo>
                  <a:lnTo>
                    <a:pt x="70" y="75"/>
                  </a:lnTo>
                  <a:lnTo>
                    <a:pt x="67" y="75"/>
                  </a:lnTo>
                  <a:lnTo>
                    <a:pt x="65" y="75"/>
                  </a:lnTo>
                  <a:lnTo>
                    <a:pt x="63" y="75"/>
                  </a:lnTo>
                  <a:lnTo>
                    <a:pt x="60" y="75"/>
                  </a:lnTo>
                  <a:lnTo>
                    <a:pt x="58" y="75"/>
                  </a:lnTo>
                  <a:lnTo>
                    <a:pt x="56" y="75"/>
                  </a:lnTo>
                  <a:lnTo>
                    <a:pt x="53" y="75"/>
                  </a:lnTo>
                  <a:lnTo>
                    <a:pt x="51" y="75"/>
                  </a:lnTo>
                  <a:lnTo>
                    <a:pt x="49" y="75"/>
                  </a:lnTo>
                  <a:lnTo>
                    <a:pt x="49" y="77"/>
                  </a:lnTo>
                  <a:lnTo>
                    <a:pt x="46" y="77"/>
                  </a:lnTo>
                  <a:lnTo>
                    <a:pt x="44" y="79"/>
                  </a:lnTo>
                  <a:lnTo>
                    <a:pt x="42" y="82"/>
                  </a:lnTo>
                  <a:lnTo>
                    <a:pt x="39" y="82"/>
                  </a:lnTo>
                  <a:lnTo>
                    <a:pt x="32" y="84"/>
                  </a:lnTo>
                  <a:lnTo>
                    <a:pt x="30" y="86"/>
                  </a:lnTo>
                  <a:lnTo>
                    <a:pt x="28" y="86"/>
                  </a:lnTo>
                  <a:lnTo>
                    <a:pt x="25" y="86"/>
                  </a:lnTo>
                  <a:lnTo>
                    <a:pt x="23" y="86"/>
                  </a:lnTo>
                  <a:lnTo>
                    <a:pt x="21" y="86"/>
                  </a:lnTo>
                  <a:lnTo>
                    <a:pt x="19" y="86"/>
                  </a:lnTo>
                  <a:lnTo>
                    <a:pt x="16" y="89"/>
                  </a:lnTo>
                  <a:lnTo>
                    <a:pt x="14" y="89"/>
                  </a:lnTo>
                  <a:lnTo>
                    <a:pt x="12" y="89"/>
                  </a:lnTo>
                  <a:lnTo>
                    <a:pt x="9" y="89"/>
                  </a:lnTo>
                  <a:lnTo>
                    <a:pt x="7" y="89"/>
                  </a:lnTo>
                  <a:lnTo>
                    <a:pt x="5" y="89"/>
                  </a:lnTo>
                  <a:lnTo>
                    <a:pt x="2" y="89"/>
                  </a:lnTo>
                  <a:lnTo>
                    <a:pt x="2" y="91"/>
                  </a:lnTo>
                  <a:lnTo>
                    <a:pt x="2" y="89"/>
                  </a:lnTo>
                  <a:lnTo>
                    <a:pt x="0" y="86"/>
                  </a:lnTo>
                  <a:lnTo>
                    <a:pt x="0" y="84"/>
                  </a:lnTo>
                  <a:lnTo>
                    <a:pt x="0" y="82"/>
                  </a:lnTo>
                  <a:lnTo>
                    <a:pt x="2" y="82"/>
                  </a:lnTo>
                  <a:lnTo>
                    <a:pt x="5" y="82"/>
                  </a:lnTo>
                  <a:lnTo>
                    <a:pt x="7" y="82"/>
                  </a:lnTo>
                  <a:lnTo>
                    <a:pt x="7" y="79"/>
                  </a:lnTo>
                  <a:lnTo>
                    <a:pt x="7" y="77"/>
                  </a:lnTo>
                  <a:lnTo>
                    <a:pt x="7" y="75"/>
                  </a:lnTo>
                  <a:lnTo>
                    <a:pt x="9" y="75"/>
                  </a:lnTo>
                  <a:lnTo>
                    <a:pt x="9" y="72"/>
                  </a:lnTo>
                  <a:lnTo>
                    <a:pt x="12" y="72"/>
                  </a:lnTo>
                  <a:lnTo>
                    <a:pt x="12" y="70"/>
                  </a:lnTo>
                  <a:lnTo>
                    <a:pt x="14" y="70"/>
                  </a:lnTo>
                  <a:lnTo>
                    <a:pt x="16" y="70"/>
                  </a:lnTo>
                  <a:lnTo>
                    <a:pt x="16" y="68"/>
                  </a:lnTo>
                  <a:lnTo>
                    <a:pt x="19" y="68"/>
                  </a:lnTo>
                  <a:lnTo>
                    <a:pt x="19" y="70"/>
                  </a:lnTo>
                  <a:lnTo>
                    <a:pt x="21" y="68"/>
                  </a:lnTo>
                  <a:lnTo>
                    <a:pt x="23" y="65"/>
                  </a:lnTo>
                  <a:lnTo>
                    <a:pt x="25" y="65"/>
                  </a:lnTo>
                  <a:lnTo>
                    <a:pt x="25" y="63"/>
                  </a:lnTo>
                  <a:lnTo>
                    <a:pt x="28" y="63"/>
                  </a:lnTo>
                  <a:lnTo>
                    <a:pt x="28" y="61"/>
                  </a:lnTo>
                  <a:lnTo>
                    <a:pt x="30" y="61"/>
                  </a:lnTo>
                  <a:lnTo>
                    <a:pt x="32" y="61"/>
                  </a:lnTo>
                  <a:lnTo>
                    <a:pt x="32" y="58"/>
                  </a:lnTo>
                  <a:lnTo>
                    <a:pt x="32" y="56"/>
                  </a:lnTo>
                  <a:lnTo>
                    <a:pt x="35" y="56"/>
                  </a:lnTo>
                  <a:lnTo>
                    <a:pt x="32" y="56"/>
                  </a:lnTo>
                  <a:lnTo>
                    <a:pt x="32" y="54"/>
                  </a:lnTo>
                  <a:lnTo>
                    <a:pt x="35" y="54"/>
                  </a:lnTo>
                  <a:lnTo>
                    <a:pt x="37" y="54"/>
                  </a:lnTo>
                  <a:lnTo>
                    <a:pt x="37" y="51"/>
                  </a:lnTo>
                  <a:lnTo>
                    <a:pt x="39" y="51"/>
                  </a:lnTo>
                  <a:lnTo>
                    <a:pt x="39" y="49"/>
                  </a:lnTo>
                  <a:lnTo>
                    <a:pt x="42" y="49"/>
                  </a:lnTo>
                  <a:lnTo>
                    <a:pt x="42" y="51"/>
                  </a:lnTo>
                  <a:lnTo>
                    <a:pt x="44" y="51"/>
                  </a:lnTo>
                  <a:lnTo>
                    <a:pt x="44" y="49"/>
                  </a:lnTo>
                  <a:lnTo>
                    <a:pt x="46" y="47"/>
                  </a:lnTo>
                  <a:lnTo>
                    <a:pt x="49" y="47"/>
                  </a:lnTo>
                  <a:lnTo>
                    <a:pt x="51" y="44"/>
                  </a:lnTo>
                  <a:lnTo>
                    <a:pt x="53" y="44"/>
                  </a:lnTo>
                  <a:lnTo>
                    <a:pt x="53" y="47"/>
                  </a:lnTo>
                  <a:lnTo>
                    <a:pt x="56" y="44"/>
                  </a:lnTo>
                  <a:lnTo>
                    <a:pt x="58" y="40"/>
                  </a:lnTo>
                  <a:lnTo>
                    <a:pt x="58" y="37"/>
                  </a:lnTo>
                  <a:lnTo>
                    <a:pt x="60" y="37"/>
                  </a:lnTo>
                  <a:lnTo>
                    <a:pt x="63" y="37"/>
                  </a:lnTo>
                  <a:lnTo>
                    <a:pt x="60" y="35"/>
                  </a:lnTo>
                  <a:lnTo>
                    <a:pt x="60" y="33"/>
                  </a:lnTo>
                  <a:lnTo>
                    <a:pt x="63" y="33"/>
                  </a:lnTo>
                  <a:lnTo>
                    <a:pt x="60" y="30"/>
                  </a:lnTo>
                  <a:lnTo>
                    <a:pt x="63" y="28"/>
                  </a:lnTo>
                  <a:lnTo>
                    <a:pt x="65" y="28"/>
                  </a:lnTo>
                  <a:lnTo>
                    <a:pt x="67" y="28"/>
                  </a:lnTo>
                  <a:lnTo>
                    <a:pt x="70" y="28"/>
                  </a:lnTo>
                  <a:lnTo>
                    <a:pt x="72" y="28"/>
                  </a:lnTo>
                  <a:lnTo>
                    <a:pt x="74" y="28"/>
                  </a:lnTo>
                  <a:lnTo>
                    <a:pt x="77" y="28"/>
                  </a:lnTo>
                  <a:lnTo>
                    <a:pt x="79" y="28"/>
                  </a:lnTo>
                  <a:lnTo>
                    <a:pt x="81" y="26"/>
                  </a:lnTo>
                  <a:lnTo>
                    <a:pt x="84" y="26"/>
                  </a:lnTo>
                  <a:lnTo>
                    <a:pt x="86" y="26"/>
                  </a:lnTo>
                  <a:lnTo>
                    <a:pt x="88" y="26"/>
                  </a:lnTo>
                  <a:lnTo>
                    <a:pt x="91" y="26"/>
                  </a:lnTo>
                  <a:lnTo>
                    <a:pt x="93" y="26"/>
                  </a:lnTo>
                  <a:lnTo>
                    <a:pt x="95" y="23"/>
                  </a:lnTo>
                  <a:lnTo>
                    <a:pt x="98" y="23"/>
                  </a:lnTo>
                  <a:lnTo>
                    <a:pt x="100" y="2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805">
              <a:extLst>
                <a:ext uri="{FF2B5EF4-FFF2-40B4-BE49-F238E27FC236}">
                  <a16:creationId xmlns:a16="http://schemas.microsoft.com/office/drawing/2014/main" id="{B1799C5E-F3A8-45FB-ABE5-D2A473574986}"/>
                </a:ext>
              </a:extLst>
            </p:cNvPr>
            <p:cNvSpPr>
              <a:spLocks/>
            </p:cNvSpPr>
            <p:nvPr/>
          </p:nvSpPr>
          <p:spPr bwMode="auto">
            <a:xfrm>
              <a:off x="6984206" y="4541838"/>
              <a:ext cx="169863" cy="188913"/>
            </a:xfrm>
            <a:custGeom>
              <a:avLst/>
              <a:gdLst>
                <a:gd name="T0" fmla="*/ 105 w 107"/>
                <a:gd name="T1" fmla="*/ 44 h 119"/>
                <a:gd name="T2" fmla="*/ 107 w 107"/>
                <a:gd name="T3" fmla="*/ 49 h 119"/>
                <a:gd name="T4" fmla="*/ 107 w 107"/>
                <a:gd name="T5" fmla="*/ 51 h 119"/>
                <a:gd name="T6" fmla="*/ 107 w 107"/>
                <a:gd name="T7" fmla="*/ 56 h 119"/>
                <a:gd name="T8" fmla="*/ 107 w 107"/>
                <a:gd name="T9" fmla="*/ 63 h 119"/>
                <a:gd name="T10" fmla="*/ 105 w 107"/>
                <a:gd name="T11" fmla="*/ 65 h 119"/>
                <a:gd name="T12" fmla="*/ 105 w 107"/>
                <a:gd name="T13" fmla="*/ 67 h 119"/>
                <a:gd name="T14" fmla="*/ 105 w 107"/>
                <a:gd name="T15" fmla="*/ 70 h 119"/>
                <a:gd name="T16" fmla="*/ 105 w 107"/>
                <a:gd name="T17" fmla="*/ 72 h 119"/>
                <a:gd name="T18" fmla="*/ 100 w 107"/>
                <a:gd name="T19" fmla="*/ 81 h 119"/>
                <a:gd name="T20" fmla="*/ 96 w 107"/>
                <a:gd name="T21" fmla="*/ 84 h 119"/>
                <a:gd name="T22" fmla="*/ 91 w 107"/>
                <a:gd name="T23" fmla="*/ 86 h 119"/>
                <a:gd name="T24" fmla="*/ 89 w 107"/>
                <a:gd name="T25" fmla="*/ 88 h 119"/>
                <a:gd name="T26" fmla="*/ 86 w 107"/>
                <a:gd name="T27" fmla="*/ 93 h 119"/>
                <a:gd name="T28" fmla="*/ 86 w 107"/>
                <a:gd name="T29" fmla="*/ 95 h 119"/>
                <a:gd name="T30" fmla="*/ 86 w 107"/>
                <a:gd name="T31" fmla="*/ 100 h 119"/>
                <a:gd name="T32" fmla="*/ 84 w 107"/>
                <a:gd name="T33" fmla="*/ 102 h 119"/>
                <a:gd name="T34" fmla="*/ 84 w 107"/>
                <a:gd name="T35" fmla="*/ 100 h 119"/>
                <a:gd name="T36" fmla="*/ 84 w 107"/>
                <a:gd name="T37" fmla="*/ 100 h 119"/>
                <a:gd name="T38" fmla="*/ 79 w 107"/>
                <a:gd name="T39" fmla="*/ 102 h 119"/>
                <a:gd name="T40" fmla="*/ 77 w 107"/>
                <a:gd name="T41" fmla="*/ 107 h 119"/>
                <a:gd name="T42" fmla="*/ 79 w 107"/>
                <a:gd name="T43" fmla="*/ 112 h 119"/>
                <a:gd name="T44" fmla="*/ 77 w 107"/>
                <a:gd name="T45" fmla="*/ 116 h 119"/>
                <a:gd name="T46" fmla="*/ 70 w 107"/>
                <a:gd name="T47" fmla="*/ 119 h 119"/>
                <a:gd name="T48" fmla="*/ 63 w 107"/>
                <a:gd name="T49" fmla="*/ 114 h 119"/>
                <a:gd name="T50" fmla="*/ 59 w 107"/>
                <a:gd name="T51" fmla="*/ 112 h 119"/>
                <a:gd name="T52" fmla="*/ 56 w 107"/>
                <a:gd name="T53" fmla="*/ 114 h 119"/>
                <a:gd name="T54" fmla="*/ 52 w 107"/>
                <a:gd name="T55" fmla="*/ 116 h 119"/>
                <a:gd name="T56" fmla="*/ 47 w 107"/>
                <a:gd name="T57" fmla="*/ 114 h 119"/>
                <a:gd name="T58" fmla="*/ 42 w 107"/>
                <a:gd name="T59" fmla="*/ 116 h 119"/>
                <a:gd name="T60" fmla="*/ 38 w 107"/>
                <a:gd name="T61" fmla="*/ 114 h 119"/>
                <a:gd name="T62" fmla="*/ 28 w 107"/>
                <a:gd name="T63" fmla="*/ 112 h 119"/>
                <a:gd name="T64" fmla="*/ 26 w 107"/>
                <a:gd name="T65" fmla="*/ 109 h 119"/>
                <a:gd name="T66" fmla="*/ 21 w 107"/>
                <a:gd name="T67" fmla="*/ 105 h 119"/>
                <a:gd name="T68" fmla="*/ 14 w 107"/>
                <a:gd name="T69" fmla="*/ 105 h 119"/>
                <a:gd name="T70" fmla="*/ 12 w 107"/>
                <a:gd name="T71" fmla="*/ 105 h 119"/>
                <a:gd name="T72" fmla="*/ 10 w 107"/>
                <a:gd name="T73" fmla="*/ 86 h 119"/>
                <a:gd name="T74" fmla="*/ 7 w 107"/>
                <a:gd name="T75" fmla="*/ 65 h 119"/>
                <a:gd name="T76" fmla="*/ 5 w 107"/>
                <a:gd name="T77" fmla="*/ 44 h 119"/>
                <a:gd name="T78" fmla="*/ 0 w 107"/>
                <a:gd name="T79" fmla="*/ 23 h 119"/>
                <a:gd name="T80" fmla="*/ 17 w 107"/>
                <a:gd name="T81" fmla="*/ 21 h 119"/>
                <a:gd name="T82" fmla="*/ 33 w 107"/>
                <a:gd name="T83" fmla="*/ 19 h 119"/>
                <a:gd name="T84" fmla="*/ 38 w 107"/>
                <a:gd name="T85" fmla="*/ 19 h 119"/>
                <a:gd name="T86" fmla="*/ 45 w 107"/>
                <a:gd name="T87" fmla="*/ 23 h 119"/>
                <a:gd name="T88" fmla="*/ 49 w 107"/>
                <a:gd name="T89" fmla="*/ 21 h 119"/>
                <a:gd name="T90" fmla="*/ 49 w 107"/>
                <a:gd name="T91" fmla="*/ 21 h 119"/>
                <a:gd name="T92" fmla="*/ 49 w 107"/>
                <a:gd name="T93" fmla="*/ 23 h 119"/>
                <a:gd name="T94" fmla="*/ 47 w 107"/>
                <a:gd name="T95" fmla="*/ 23 h 119"/>
                <a:gd name="T96" fmla="*/ 45 w 107"/>
                <a:gd name="T97" fmla="*/ 25 h 119"/>
                <a:gd name="T98" fmla="*/ 49 w 107"/>
                <a:gd name="T99" fmla="*/ 23 h 119"/>
                <a:gd name="T100" fmla="*/ 54 w 107"/>
                <a:gd name="T101" fmla="*/ 23 h 119"/>
                <a:gd name="T102" fmla="*/ 54 w 107"/>
                <a:gd name="T103" fmla="*/ 23 h 119"/>
                <a:gd name="T104" fmla="*/ 59 w 107"/>
                <a:gd name="T105" fmla="*/ 23 h 119"/>
                <a:gd name="T106" fmla="*/ 72 w 107"/>
                <a:gd name="T107" fmla="*/ 21 h 119"/>
                <a:gd name="T108" fmla="*/ 75 w 107"/>
                <a:gd name="T109" fmla="*/ 19 h 119"/>
                <a:gd name="T110" fmla="*/ 93 w 107"/>
                <a:gd name="T111" fmla="*/ 2 h 119"/>
                <a:gd name="T112" fmla="*/ 103 w 107"/>
                <a:gd name="T113" fmla="*/ 7 h 119"/>
                <a:gd name="T114" fmla="*/ 107 w 107"/>
                <a:gd name="T115"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7" h="119">
                  <a:moveTo>
                    <a:pt x="107" y="42"/>
                  </a:moveTo>
                  <a:lnTo>
                    <a:pt x="107" y="42"/>
                  </a:lnTo>
                  <a:lnTo>
                    <a:pt x="107" y="42"/>
                  </a:lnTo>
                  <a:lnTo>
                    <a:pt x="107" y="42"/>
                  </a:lnTo>
                  <a:lnTo>
                    <a:pt x="105" y="42"/>
                  </a:lnTo>
                  <a:lnTo>
                    <a:pt x="105" y="42"/>
                  </a:lnTo>
                  <a:lnTo>
                    <a:pt x="105" y="42"/>
                  </a:lnTo>
                  <a:lnTo>
                    <a:pt x="105" y="44"/>
                  </a:lnTo>
                  <a:lnTo>
                    <a:pt x="105" y="44"/>
                  </a:lnTo>
                  <a:lnTo>
                    <a:pt x="105" y="44"/>
                  </a:lnTo>
                  <a:lnTo>
                    <a:pt x="107" y="46"/>
                  </a:lnTo>
                  <a:lnTo>
                    <a:pt x="107" y="46"/>
                  </a:lnTo>
                  <a:lnTo>
                    <a:pt x="107" y="46"/>
                  </a:lnTo>
                  <a:lnTo>
                    <a:pt x="107" y="46"/>
                  </a:lnTo>
                  <a:lnTo>
                    <a:pt x="107" y="49"/>
                  </a:lnTo>
                  <a:lnTo>
                    <a:pt x="107" y="49"/>
                  </a:lnTo>
                  <a:lnTo>
                    <a:pt x="107" y="49"/>
                  </a:lnTo>
                  <a:lnTo>
                    <a:pt x="107" y="49"/>
                  </a:lnTo>
                  <a:lnTo>
                    <a:pt x="107" y="49"/>
                  </a:lnTo>
                  <a:lnTo>
                    <a:pt x="107" y="49"/>
                  </a:lnTo>
                  <a:lnTo>
                    <a:pt x="107" y="49"/>
                  </a:lnTo>
                  <a:lnTo>
                    <a:pt x="107" y="51"/>
                  </a:lnTo>
                  <a:lnTo>
                    <a:pt x="107" y="51"/>
                  </a:lnTo>
                  <a:lnTo>
                    <a:pt x="107" y="51"/>
                  </a:lnTo>
                  <a:lnTo>
                    <a:pt x="107" y="51"/>
                  </a:lnTo>
                  <a:lnTo>
                    <a:pt x="107" y="51"/>
                  </a:lnTo>
                  <a:lnTo>
                    <a:pt x="107" y="53"/>
                  </a:lnTo>
                  <a:lnTo>
                    <a:pt x="107" y="53"/>
                  </a:lnTo>
                  <a:lnTo>
                    <a:pt x="107" y="53"/>
                  </a:lnTo>
                  <a:lnTo>
                    <a:pt x="107" y="53"/>
                  </a:lnTo>
                  <a:lnTo>
                    <a:pt x="107" y="56"/>
                  </a:lnTo>
                  <a:lnTo>
                    <a:pt x="107" y="56"/>
                  </a:lnTo>
                  <a:lnTo>
                    <a:pt x="107" y="56"/>
                  </a:lnTo>
                  <a:lnTo>
                    <a:pt x="107" y="58"/>
                  </a:lnTo>
                  <a:lnTo>
                    <a:pt x="107" y="58"/>
                  </a:lnTo>
                  <a:lnTo>
                    <a:pt x="107" y="60"/>
                  </a:lnTo>
                  <a:lnTo>
                    <a:pt x="107" y="60"/>
                  </a:lnTo>
                  <a:lnTo>
                    <a:pt x="107" y="60"/>
                  </a:lnTo>
                  <a:lnTo>
                    <a:pt x="107" y="63"/>
                  </a:lnTo>
                  <a:lnTo>
                    <a:pt x="107" y="63"/>
                  </a:lnTo>
                  <a:lnTo>
                    <a:pt x="107" y="63"/>
                  </a:lnTo>
                  <a:lnTo>
                    <a:pt x="107" y="63"/>
                  </a:lnTo>
                  <a:lnTo>
                    <a:pt x="107" y="63"/>
                  </a:lnTo>
                  <a:lnTo>
                    <a:pt x="107" y="65"/>
                  </a:lnTo>
                  <a:lnTo>
                    <a:pt x="107" y="65"/>
                  </a:lnTo>
                  <a:lnTo>
                    <a:pt x="107" y="65"/>
                  </a:lnTo>
                  <a:lnTo>
                    <a:pt x="105" y="65"/>
                  </a:lnTo>
                  <a:lnTo>
                    <a:pt x="105" y="65"/>
                  </a:lnTo>
                  <a:lnTo>
                    <a:pt x="105" y="65"/>
                  </a:lnTo>
                  <a:lnTo>
                    <a:pt x="105" y="65"/>
                  </a:lnTo>
                  <a:lnTo>
                    <a:pt x="105" y="65"/>
                  </a:lnTo>
                  <a:lnTo>
                    <a:pt x="105" y="65"/>
                  </a:lnTo>
                  <a:lnTo>
                    <a:pt x="105" y="65"/>
                  </a:lnTo>
                  <a:lnTo>
                    <a:pt x="105" y="67"/>
                  </a:lnTo>
                  <a:lnTo>
                    <a:pt x="105" y="67"/>
                  </a:lnTo>
                  <a:lnTo>
                    <a:pt x="105" y="67"/>
                  </a:lnTo>
                  <a:lnTo>
                    <a:pt x="105" y="67"/>
                  </a:lnTo>
                  <a:lnTo>
                    <a:pt x="105" y="67"/>
                  </a:lnTo>
                  <a:lnTo>
                    <a:pt x="105" y="70"/>
                  </a:lnTo>
                  <a:lnTo>
                    <a:pt x="105" y="70"/>
                  </a:lnTo>
                  <a:lnTo>
                    <a:pt x="105" y="70"/>
                  </a:lnTo>
                  <a:lnTo>
                    <a:pt x="105" y="70"/>
                  </a:lnTo>
                  <a:lnTo>
                    <a:pt x="105" y="70"/>
                  </a:lnTo>
                  <a:lnTo>
                    <a:pt x="105" y="70"/>
                  </a:lnTo>
                  <a:lnTo>
                    <a:pt x="105" y="70"/>
                  </a:lnTo>
                  <a:lnTo>
                    <a:pt x="105" y="72"/>
                  </a:lnTo>
                  <a:lnTo>
                    <a:pt x="105" y="72"/>
                  </a:lnTo>
                  <a:lnTo>
                    <a:pt x="105" y="72"/>
                  </a:lnTo>
                  <a:lnTo>
                    <a:pt x="105" y="72"/>
                  </a:lnTo>
                  <a:lnTo>
                    <a:pt x="105" y="72"/>
                  </a:lnTo>
                  <a:lnTo>
                    <a:pt x="105" y="72"/>
                  </a:lnTo>
                  <a:lnTo>
                    <a:pt x="105" y="72"/>
                  </a:lnTo>
                  <a:lnTo>
                    <a:pt x="105" y="74"/>
                  </a:lnTo>
                  <a:lnTo>
                    <a:pt x="105" y="74"/>
                  </a:lnTo>
                  <a:lnTo>
                    <a:pt x="103" y="74"/>
                  </a:lnTo>
                  <a:lnTo>
                    <a:pt x="100" y="79"/>
                  </a:lnTo>
                  <a:lnTo>
                    <a:pt x="100" y="79"/>
                  </a:lnTo>
                  <a:lnTo>
                    <a:pt x="100" y="79"/>
                  </a:lnTo>
                  <a:lnTo>
                    <a:pt x="100" y="81"/>
                  </a:lnTo>
                  <a:lnTo>
                    <a:pt x="100" y="81"/>
                  </a:lnTo>
                  <a:lnTo>
                    <a:pt x="98" y="81"/>
                  </a:lnTo>
                  <a:lnTo>
                    <a:pt x="98" y="84"/>
                  </a:lnTo>
                  <a:lnTo>
                    <a:pt x="98" y="84"/>
                  </a:lnTo>
                  <a:lnTo>
                    <a:pt x="98" y="84"/>
                  </a:lnTo>
                  <a:lnTo>
                    <a:pt x="98" y="84"/>
                  </a:lnTo>
                  <a:lnTo>
                    <a:pt x="96" y="84"/>
                  </a:lnTo>
                  <a:lnTo>
                    <a:pt x="96" y="84"/>
                  </a:lnTo>
                  <a:lnTo>
                    <a:pt x="96" y="84"/>
                  </a:lnTo>
                  <a:lnTo>
                    <a:pt x="96" y="86"/>
                  </a:lnTo>
                  <a:lnTo>
                    <a:pt x="93" y="84"/>
                  </a:lnTo>
                  <a:lnTo>
                    <a:pt x="93" y="84"/>
                  </a:lnTo>
                  <a:lnTo>
                    <a:pt x="93" y="84"/>
                  </a:lnTo>
                  <a:lnTo>
                    <a:pt x="93" y="84"/>
                  </a:lnTo>
                  <a:lnTo>
                    <a:pt x="93" y="84"/>
                  </a:lnTo>
                  <a:lnTo>
                    <a:pt x="91" y="84"/>
                  </a:lnTo>
                  <a:lnTo>
                    <a:pt x="91" y="86"/>
                  </a:lnTo>
                  <a:lnTo>
                    <a:pt x="91" y="86"/>
                  </a:lnTo>
                  <a:lnTo>
                    <a:pt x="91" y="88"/>
                  </a:lnTo>
                  <a:lnTo>
                    <a:pt x="91" y="88"/>
                  </a:lnTo>
                  <a:lnTo>
                    <a:pt x="89" y="88"/>
                  </a:lnTo>
                  <a:lnTo>
                    <a:pt x="89" y="88"/>
                  </a:lnTo>
                  <a:lnTo>
                    <a:pt x="89" y="88"/>
                  </a:lnTo>
                  <a:lnTo>
                    <a:pt x="89" y="88"/>
                  </a:lnTo>
                  <a:lnTo>
                    <a:pt x="89" y="88"/>
                  </a:lnTo>
                  <a:lnTo>
                    <a:pt x="89" y="88"/>
                  </a:lnTo>
                  <a:lnTo>
                    <a:pt x="89" y="88"/>
                  </a:lnTo>
                  <a:lnTo>
                    <a:pt x="89" y="88"/>
                  </a:lnTo>
                  <a:lnTo>
                    <a:pt x="86" y="91"/>
                  </a:lnTo>
                  <a:lnTo>
                    <a:pt x="86" y="91"/>
                  </a:lnTo>
                  <a:lnTo>
                    <a:pt x="86" y="93"/>
                  </a:lnTo>
                  <a:lnTo>
                    <a:pt x="86" y="93"/>
                  </a:lnTo>
                  <a:lnTo>
                    <a:pt x="86" y="93"/>
                  </a:lnTo>
                  <a:lnTo>
                    <a:pt x="86" y="95"/>
                  </a:lnTo>
                  <a:lnTo>
                    <a:pt x="86" y="95"/>
                  </a:lnTo>
                  <a:lnTo>
                    <a:pt x="86" y="95"/>
                  </a:lnTo>
                  <a:lnTo>
                    <a:pt x="86" y="95"/>
                  </a:lnTo>
                  <a:lnTo>
                    <a:pt x="86" y="95"/>
                  </a:lnTo>
                  <a:lnTo>
                    <a:pt x="86" y="95"/>
                  </a:lnTo>
                  <a:lnTo>
                    <a:pt x="86" y="95"/>
                  </a:lnTo>
                  <a:lnTo>
                    <a:pt x="86" y="95"/>
                  </a:lnTo>
                  <a:lnTo>
                    <a:pt x="86" y="95"/>
                  </a:lnTo>
                  <a:lnTo>
                    <a:pt x="86" y="95"/>
                  </a:lnTo>
                  <a:lnTo>
                    <a:pt x="86" y="98"/>
                  </a:lnTo>
                  <a:lnTo>
                    <a:pt x="86" y="98"/>
                  </a:lnTo>
                  <a:lnTo>
                    <a:pt x="86" y="98"/>
                  </a:lnTo>
                  <a:lnTo>
                    <a:pt x="86" y="98"/>
                  </a:lnTo>
                  <a:lnTo>
                    <a:pt x="86" y="100"/>
                  </a:lnTo>
                  <a:lnTo>
                    <a:pt x="86" y="100"/>
                  </a:lnTo>
                  <a:lnTo>
                    <a:pt x="86" y="100"/>
                  </a:lnTo>
                  <a:lnTo>
                    <a:pt x="86" y="100"/>
                  </a:lnTo>
                  <a:lnTo>
                    <a:pt x="86" y="100"/>
                  </a:lnTo>
                  <a:lnTo>
                    <a:pt x="86" y="100"/>
                  </a:lnTo>
                  <a:lnTo>
                    <a:pt x="86" y="100"/>
                  </a:lnTo>
                  <a:lnTo>
                    <a:pt x="86" y="100"/>
                  </a:lnTo>
                  <a:lnTo>
                    <a:pt x="86" y="100"/>
                  </a:lnTo>
                  <a:lnTo>
                    <a:pt x="84" y="102"/>
                  </a:lnTo>
                  <a:lnTo>
                    <a:pt x="84" y="102"/>
                  </a:lnTo>
                  <a:lnTo>
                    <a:pt x="84" y="102"/>
                  </a:lnTo>
                  <a:lnTo>
                    <a:pt x="84" y="102"/>
                  </a:lnTo>
                  <a:lnTo>
                    <a:pt x="84" y="102"/>
                  </a:lnTo>
                  <a:lnTo>
                    <a:pt x="84" y="102"/>
                  </a:lnTo>
                  <a:lnTo>
                    <a:pt x="84" y="102"/>
                  </a:lnTo>
                  <a:lnTo>
                    <a:pt x="84" y="100"/>
                  </a:lnTo>
                  <a:lnTo>
                    <a:pt x="84" y="100"/>
                  </a:lnTo>
                  <a:lnTo>
                    <a:pt x="84" y="100"/>
                  </a:lnTo>
                  <a:lnTo>
                    <a:pt x="84" y="100"/>
                  </a:lnTo>
                  <a:lnTo>
                    <a:pt x="84" y="100"/>
                  </a:lnTo>
                  <a:lnTo>
                    <a:pt x="84" y="100"/>
                  </a:lnTo>
                  <a:lnTo>
                    <a:pt x="84" y="100"/>
                  </a:lnTo>
                  <a:lnTo>
                    <a:pt x="84" y="100"/>
                  </a:lnTo>
                  <a:lnTo>
                    <a:pt x="84" y="100"/>
                  </a:lnTo>
                  <a:lnTo>
                    <a:pt x="84" y="100"/>
                  </a:lnTo>
                  <a:lnTo>
                    <a:pt x="82" y="98"/>
                  </a:lnTo>
                  <a:lnTo>
                    <a:pt x="82" y="98"/>
                  </a:lnTo>
                  <a:lnTo>
                    <a:pt x="82" y="98"/>
                  </a:lnTo>
                  <a:lnTo>
                    <a:pt x="82" y="98"/>
                  </a:lnTo>
                  <a:lnTo>
                    <a:pt x="79" y="98"/>
                  </a:lnTo>
                  <a:lnTo>
                    <a:pt x="79" y="98"/>
                  </a:lnTo>
                  <a:lnTo>
                    <a:pt x="79" y="100"/>
                  </a:lnTo>
                  <a:lnTo>
                    <a:pt x="79" y="102"/>
                  </a:lnTo>
                  <a:lnTo>
                    <a:pt x="79" y="102"/>
                  </a:lnTo>
                  <a:lnTo>
                    <a:pt x="79" y="105"/>
                  </a:lnTo>
                  <a:lnTo>
                    <a:pt x="79" y="105"/>
                  </a:lnTo>
                  <a:lnTo>
                    <a:pt x="77" y="105"/>
                  </a:lnTo>
                  <a:lnTo>
                    <a:pt x="77" y="105"/>
                  </a:lnTo>
                  <a:lnTo>
                    <a:pt x="77" y="105"/>
                  </a:lnTo>
                  <a:lnTo>
                    <a:pt x="77" y="107"/>
                  </a:lnTo>
                  <a:lnTo>
                    <a:pt x="77" y="107"/>
                  </a:lnTo>
                  <a:lnTo>
                    <a:pt x="77" y="107"/>
                  </a:lnTo>
                  <a:lnTo>
                    <a:pt x="77" y="107"/>
                  </a:lnTo>
                  <a:lnTo>
                    <a:pt x="77" y="109"/>
                  </a:lnTo>
                  <a:lnTo>
                    <a:pt x="77" y="109"/>
                  </a:lnTo>
                  <a:lnTo>
                    <a:pt x="77" y="109"/>
                  </a:lnTo>
                  <a:lnTo>
                    <a:pt x="77" y="109"/>
                  </a:lnTo>
                  <a:lnTo>
                    <a:pt x="79" y="109"/>
                  </a:lnTo>
                  <a:lnTo>
                    <a:pt x="79" y="112"/>
                  </a:lnTo>
                  <a:lnTo>
                    <a:pt x="79" y="112"/>
                  </a:lnTo>
                  <a:lnTo>
                    <a:pt x="79" y="112"/>
                  </a:lnTo>
                  <a:lnTo>
                    <a:pt x="79" y="112"/>
                  </a:lnTo>
                  <a:lnTo>
                    <a:pt x="77" y="112"/>
                  </a:lnTo>
                  <a:lnTo>
                    <a:pt x="77" y="112"/>
                  </a:lnTo>
                  <a:lnTo>
                    <a:pt x="77" y="112"/>
                  </a:lnTo>
                  <a:lnTo>
                    <a:pt x="77" y="114"/>
                  </a:lnTo>
                  <a:lnTo>
                    <a:pt x="77" y="116"/>
                  </a:lnTo>
                  <a:lnTo>
                    <a:pt x="77" y="116"/>
                  </a:lnTo>
                  <a:lnTo>
                    <a:pt x="75" y="116"/>
                  </a:lnTo>
                  <a:lnTo>
                    <a:pt x="75" y="119"/>
                  </a:lnTo>
                  <a:lnTo>
                    <a:pt x="72" y="119"/>
                  </a:lnTo>
                  <a:lnTo>
                    <a:pt x="72" y="119"/>
                  </a:lnTo>
                  <a:lnTo>
                    <a:pt x="70" y="119"/>
                  </a:lnTo>
                  <a:lnTo>
                    <a:pt x="70" y="119"/>
                  </a:lnTo>
                  <a:lnTo>
                    <a:pt x="70" y="119"/>
                  </a:lnTo>
                  <a:lnTo>
                    <a:pt x="70" y="119"/>
                  </a:lnTo>
                  <a:lnTo>
                    <a:pt x="68" y="119"/>
                  </a:lnTo>
                  <a:lnTo>
                    <a:pt x="68" y="119"/>
                  </a:lnTo>
                  <a:lnTo>
                    <a:pt x="65" y="116"/>
                  </a:lnTo>
                  <a:lnTo>
                    <a:pt x="65" y="116"/>
                  </a:lnTo>
                  <a:lnTo>
                    <a:pt x="63" y="116"/>
                  </a:lnTo>
                  <a:lnTo>
                    <a:pt x="63" y="114"/>
                  </a:lnTo>
                  <a:lnTo>
                    <a:pt x="63" y="114"/>
                  </a:lnTo>
                  <a:lnTo>
                    <a:pt x="61" y="112"/>
                  </a:lnTo>
                  <a:lnTo>
                    <a:pt x="61" y="112"/>
                  </a:lnTo>
                  <a:lnTo>
                    <a:pt x="61" y="109"/>
                  </a:lnTo>
                  <a:lnTo>
                    <a:pt x="61" y="109"/>
                  </a:lnTo>
                  <a:lnTo>
                    <a:pt x="61" y="109"/>
                  </a:lnTo>
                  <a:lnTo>
                    <a:pt x="61" y="109"/>
                  </a:lnTo>
                  <a:lnTo>
                    <a:pt x="59" y="112"/>
                  </a:lnTo>
                  <a:lnTo>
                    <a:pt x="59" y="112"/>
                  </a:lnTo>
                  <a:lnTo>
                    <a:pt x="56" y="112"/>
                  </a:lnTo>
                  <a:lnTo>
                    <a:pt x="56" y="112"/>
                  </a:lnTo>
                  <a:lnTo>
                    <a:pt x="56" y="112"/>
                  </a:lnTo>
                  <a:lnTo>
                    <a:pt x="56" y="112"/>
                  </a:lnTo>
                  <a:lnTo>
                    <a:pt x="56" y="114"/>
                  </a:lnTo>
                  <a:lnTo>
                    <a:pt x="56" y="114"/>
                  </a:lnTo>
                  <a:lnTo>
                    <a:pt x="56" y="114"/>
                  </a:lnTo>
                  <a:lnTo>
                    <a:pt x="56" y="114"/>
                  </a:lnTo>
                  <a:lnTo>
                    <a:pt x="56" y="114"/>
                  </a:lnTo>
                  <a:lnTo>
                    <a:pt x="54" y="114"/>
                  </a:lnTo>
                  <a:lnTo>
                    <a:pt x="54" y="114"/>
                  </a:lnTo>
                  <a:lnTo>
                    <a:pt x="54" y="114"/>
                  </a:lnTo>
                  <a:lnTo>
                    <a:pt x="52" y="116"/>
                  </a:lnTo>
                  <a:lnTo>
                    <a:pt x="52" y="116"/>
                  </a:lnTo>
                  <a:lnTo>
                    <a:pt x="52" y="116"/>
                  </a:lnTo>
                  <a:lnTo>
                    <a:pt x="52" y="116"/>
                  </a:lnTo>
                  <a:lnTo>
                    <a:pt x="52" y="116"/>
                  </a:lnTo>
                  <a:lnTo>
                    <a:pt x="52" y="116"/>
                  </a:lnTo>
                  <a:lnTo>
                    <a:pt x="49" y="114"/>
                  </a:lnTo>
                  <a:lnTo>
                    <a:pt x="49" y="114"/>
                  </a:lnTo>
                  <a:lnTo>
                    <a:pt x="49" y="114"/>
                  </a:lnTo>
                  <a:lnTo>
                    <a:pt x="49" y="114"/>
                  </a:lnTo>
                  <a:lnTo>
                    <a:pt x="49" y="114"/>
                  </a:lnTo>
                  <a:lnTo>
                    <a:pt x="47" y="114"/>
                  </a:lnTo>
                  <a:lnTo>
                    <a:pt x="47" y="114"/>
                  </a:lnTo>
                  <a:lnTo>
                    <a:pt x="47" y="114"/>
                  </a:lnTo>
                  <a:lnTo>
                    <a:pt x="47" y="114"/>
                  </a:lnTo>
                  <a:lnTo>
                    <a:pt x="45" y="114"/>
                  </a:lnTo>
                  <a:lnTo>
                    <a:pt x="45" y="114"/>
                  </a:lnTo>
                  <a:lnTo>
                    <a:pt x="42" y="114"/>
                  </a:lnTo>
                  <a:lnTo>
                    <a:pt x="42" y="114"/>
                  </a:lnTo>
                  <a:lnTo>
                    <a:pt x="42" y="116"/>
                  </a:lnTo>
                  <a:lnTo>
                    <a:pt x="42" y="116"/>
                  </a:lnTo>
                  <a:lnTo>
                    <a:pt x="42" y="116"/>
                  </a:lnTo>
                  <a:lnTo>
                    <a:pt x="42" y="116"/>
                  </a:lnTo>
                  <a:lnTo>
                    <a:pt x="40" y="116"/>
                  </a:lnTo>
                  <a:lnTo>
                    <a:pt x="40" y="116"/>
                  </a:lnTo>
                  <a:lnTo>
                    <a:pt x="38" y="114"/>
                  </a:lnTo>
                  <a:lnTo>
                    <a:pt x="38" y="114"/>
                  </a:lnTo>
                  <a:lnTo>
                    <a:pt x="38" y="114"/>
                  </a:lnTo>
                  <a:lnTo>
                    <a:pt x="38" y="114"/>
                  </a:lnTo>
                  <a:lnTo>
                    <a:pt x="35" y="114"/>
                  </a:lnTo>
                  <a:lnTo>
                    <a:pt x="35" y="112"/>
                  </a:lnTo>
                  <a:lnTo>
                    <a:pt x="33" y="112"/>
                  </a:lnTo>
                  <a:lnTo>
                    <a:pt x="31" y="114"/>
                  </a:lnTo>
                  <a:lnTo>
                    <a:pt x="31" y="114"/>
                  </a:lnTo>
                  <a:lnTo>
                    <a:pt x="28" y="112"/>
                  </a:lnTo>
                  <a:lnTo>
                    <a:pt x="28" y="112"/>
                  </a:lnTo>
                  <a:lnTo>
                    <a:pt x="28" y="112"/>
                  </a:lnTo>
                  <a:lnTo>
                    <a:pt x="26" y="112"/>
                  </a:lnTo>
                  <a:lnTo>
                    <a:pt x="26" y="109"/>
                  </a:lnTo>
                  <a:lnTo>
                    <a:pt x="26" y="109"/>
                  </a:lnTo>
                  <a:lnTo>
                    <a:pt x="26" y="109"/>
                  </a:lnTo>
                  <a:lnTo>
                    <a:pt x="26" y="109"/>
                  </a:lnTo>
                  <a:lnTo>
                    <a:pt x="26" y="109"/>
                  </a:lnTo>
                  <a:lnTo>
                    <a:pt x="26" y="109"/>
                  </a:lnTo>
                  <a:lnTo>
                    <a:pt x="26" y="107"/>
                  </a:lnTo>
                  <a:lnTo>
                    <a:pt x="26" y="107"/>
                  </a:lnTo>
                  <a:lnTo>
                    <a:pt x="26" y="107"/>
                  </a:lnTo>
                  <a:lnTo>
                    <a:pt x="24" y="107"/>
                  </a:lnTo>
                  <a:lnTo>
                    <a:pt x="24" y="107"/>
                  </a:lnTo>
                  <a:lnTo>
                    <a:pt x="24" y="105"/>
                  </a:lnTo>
                  <a:lnTo>
                    <a:pt x="21" y="105"/>
                  </a:lnTo>
                  <a:lnTo>
                    <a:pt x="21" y="105"/>
                  </a:lnTo>
                  <a:lnTo>
                    <a:pt x="21" y="105"/>
                  </a:lnTo>
                  <a:lnTo>
                    <a:pt x="21" y="105"/>
                  </a:lnTo>
                  <a:lnTo>
                    <a:pt x="21" y="105"/>
                  </a:lnTo>
                  <a:lnTo>
                    <a:pt x="21" y="105"/>
                  </a:lnTo>
                  <a:lnTo>
                    <a:pt x="19" y="105"/>
                  </a:lnTo>
                  <a:lnTo>
                    <a:pt x="17" y="105"/>
                  </a:lnTo>
                  <a:lnTo>
                    <a:pt x="17" y="105"/>
                  </a:lnTo>
                  <a:lnTo>
                    <a:pt x="14" y="105"/>
                  </a:lnTo>
                  <a:lnTo>
                    <a:pt x="14" y="105"/>
                  </a:lnTo>
                  <a:lnTo>
                    <a:pt x="14" y="105"/>
                  </a:lnTo>
                  <a:lnTo>
                    <a:pt x="14" y="105"/>
                  </a:lnTo>
                  <a:lnTo>
                    <a:pt x="14" y="105"/>
                  </a:lnTo>
                  <a:lnTo>
                    <a:pt x="14" y="105"/>
                  </a:lnTo>
                  <a:lnTo>
                    <a:pt x="12" y="105"/>
                  </a:lnTo>
                  <a:lnTo>
                    <a:pt x="12" y="105"/>
                  </a:lnTo>
                  <a:lnTo>
                    <a:pt x="12" y="105"/>
                  </a:lnTo>
                  <a:lnTo>
                    <a:pt x="12" y="102"/>
                  </a:lnTo>
                  <a:lnTo>
                    <a:pt x="10" y="100"/>
                  </a:lnTo>
                  <a:lnTo>
                    <a:pt x="10" y="98"/>
                  </a:lnTo>
                  <a:lnTo>
                    <a:pt x="10" y="95"/>
                  </a:lnTo>
                  <a:lnTo>
                    <a:pt x="10" y="93"/>
                  </a:lnTo>
                  <a:lnTo>
                    <a:pt x="10" y="91"/>
                  </a:lnTo>
                  <a:lnTo>
                    <a:pt x="10" y="88"/>
                  </a:lnTo>
                  <a:lnTo>
                    <a:pt x="10" y="86"/>
                  </a:lnTo>
                  <a:lnTo>
                    <a:pt x="10" y="81"/>
                  </a:lnTo>
                  <a:lnTo>
                    <a:pt x="7" y="79"/>
                  </a:lnTo>
                  <a:lnTo>
                    <a:pt x="7" y="77"/>
                  </a:lnTo>
                  <a:lnTo>
                    <a:pt x="7" y="74"/>
                  </a:lnTo>
                  <a:lnTo>
                    <a:pt x="7" y="72"/>
                  </a:lnTo>
                  <a:lnTo>
                    <a:pt x="7" y="70"/>
                  </a:lnTo>
                  <a:lnTo>
                    <a:pt x="7" y="67"/>
                  </a:lnTo>
                  <a:lnTo>
                    <a:pt x="7" y="65"/>
                  </a:lnTo>
                  <a:lnTo>
                    <a:pt x="5" y="63"/>
                  </a:lnTo>
                  <a:lnTo>
                    <a:pt x="5" y="60"/>
                  </a:lnTo>
                  <a:lnTo>
                    <a:pt x="5" y="56"/>
                  </a:lnTo>
                  <a:lnTo>
                    <a:pt x="5" y="53"/>
                  </a:lnTo>
                  <a:lnTo>
                    <a:pt x="5" y="51"/>
                  </a:lnTo>
                  <a:lnTo>
                    <a:pt x="5" y="49"/>
                  </a:lnTo>
                  <a:lnTo>
                    <a:pt x="5" y="46"/>
                  </a:lnTo>
                  <a:lnTo>
                    <a:pt x="5" y="44"/>
                  </a:lnTo>
                  <a:lnTo>
                    <a:pt x="3" y="42"/>
                  </a:lnTo>
                  <a:lnTo>
                    <a:pt x="3" y="39"/>
                  </a:lnTo>
                  <a:lnTo>
                    <a:pt x="3" y="37"/>
                  </a:lnTo>
                  <a:lnTo>
                    <a:pt x="3" y="35"/>
                  </a:lnTo>
                  <a:lnTo>
                    <a:pt x="3" y="30"/>
                  </a:lnTo>
                  <a:lnTo>
                    <a:pt x="3" y="28"/>
                  </a:lnTo>
                  <a:lnTo>
                    <a:pt x="3" y="25"/>
                  </a:lnTo>
                  <a:lnTo>
                    <a:pt x="0" y="23"/>
                  </a:lnTo>
                  <a:lnTo>
                    <a:pt x="3" y="23"/>
                  </a:lnTo>
                  <a:lnTo>
                    <a:pt x="5" y="23"/>
                  </a:lnTo>
                  <a:lnTo>
                    <a:pt x="7" y="23"/>
                  </a:lnTo>
                  <a:lnTo>
                    <a:pt x="10" y="23"/>
                  </a:lnTo>
                  <a:lnTo>
                    <a:pt x="12" y="21"/>
                  </a:lnTo>
                  <a:lnTo>
                    <a:pt x="12" y="21"/>
                  </a:lnTo>
                  <a:lnTo>
                    <a:pt x="14" y="21"/>
                  </a:lnTo>
                  <a:lnTo>
                    <a:pt x="17" y="21"/>
                  </a:lnTo>
                  <a:lnTo>
                    <a:pt x="19" y="21"/>
                  </a:lnTo>
                  <a:lnTo>
                    <a:pt x="21" y="21"/>
                  </a:lnTo>
                  <a:lnTo>
                    <a:pt x="24" y="21"/>
                  </a:lnTo>
                  <a:lnTo>
                    <a:pt x="26" y="19"/>
                  </a:lnTo>
                  <a:lnTo>
                    <a:pt x="26" y="19"/>
                  </a:lnTo>
                  <a:lnTo>
                    <a:pt x="28" y="19"/>
                  </a:lnTo>
                  <a:lnTo>
                    <a:pt x="31" y="19"/>
                  </a:lnTo>
                  <a:lnTo>
                    <a:pt x="33" y="19"/>
                  </a:lnTo>
                  <a:lnTo>
                    <a:pt x="33" y="19"/>
                  </a:lnTo>
                  <a:lnTo>
                    <a:pt x="33" y="19"/>
                  </a:lnTo>
                  <a:lnTo>
                    <a:pt x="35" y="19"/>
                  </a:lnTo>
                  <a:lnTo>
                    <a:pt x="35" y="19"/>
                  </a:lnTo>
                  <a:lnTo>
                    <a:pt x="35" y="19"/>
                  </a:lnTo>
                  <a:lnTo>
                    <a:pt x="35" y="19"/>
                  </a:lnTo>
                  <a:lnTo>
                    <a:pt x="38" y="19"/>
                  </a:lnTo>
                  <a:lnTo>
                    <a:pt x="38" y="19"/>
                  </a:lnTo>
                  <a:lnTo>
                    <a:pt x="38" y="19"/>
                  </a:lnTo>
                  <a:lnTo>
                    <a:pt x="40" y="21"/>
                  </a:lnTo>
                  <a:lnTo>
                    <a:pt x="40" y="21"/>
                  </a:lnTo>
                  <a:lnTo>
                    <a:pt x="42" y="21"/>
                  </a:lnTo>
                  <a:lnTo>
                    <a:pt x="42" y="21"/>
                  </a:lnTo>
                  <a:lnTo>
                    <a:pt x="42" y="21"/>
                  </a:lnTo>
                  <a:lnTo>
                    <a:pt x="45" y="21"/>
                  </a:lnTo>
                  <a:lnTo>
                    <a:pt x="45" y="23"/>
                  </a:lnTo>
                  <a:lnTo>
                    <a:pt x="45" y="23"/>
                  </a:lnTo>
                  <a:lnTo>
                    <a:pt x="47" y="23"/>
                  </a:lnTo>
                  <a:lnTo>
                    <a:pt x="47" y="23"/>
                  </a:lnTo>
                  <a:lnTo>
                    <a:pt x="47" y="23"/>
                  </a:lnTo>
                  <a:lnTo>
                    <a:pt x="47" y="21"/>
                  </a:lnTo>
                  <a:lnTo>
                    <a:pt x="47" y="21"/>
                  </a:lnTo>
                  <a:lnTo>
                    <a:pt x="49" y="21"/>
                  </a:lnTo>
                  <a:lnTo>
                    <a:pt x="49" y="21"/>
                  </a:lnTo>
                  <a:lnTo>
                    <a:pt x="49" y="21"/>
                  </a:lnTo>
                  <a:lnTo>
                    <a:pt x="49" y="21"/>
                  </a:lnTo>
                  <a:lnTo>
                    <a:pt x="49" y="21"/>
                  </a:lnTo>
                  <a:lnTo>
                    <a:pt x="49" y="21"/>
                  </a:lnTo>
                  <a:lnTo>
                    <a:pt x="49" y="21"/>
                  </a:lnTo>
                  <a:lnTo>
                    <a:pt x="49" y="21"/>
                  </a:lnTo>
                  <a:lnTo>
                    <a:pt x="49" y="21"/>
                  </a:lnTo>
                  <a:lnTo>
                    <a:pt x="49" y="21"/>
                  </a:lnTo>
                  <a:lnTo>
                    <a:pt x="49" y="21"/>
                  </a:lnTo>
                  <a:lnTo>
                    <a:pt x="49" y="21"/>
                  </a:lnTo>
                  <a:lnTo>
                    <a:pt x="52" y="21"/>
                  </a:lnTo>
                  <a:lnTo>
                    <a:pt x="52" y="21"/>
                  </a:lnTo>
                  <a:lnTo>
                    <a:pt x="52" y="21"/>
                  </a:lnTo>
                  <a:lnTo>
                    <a:pt x="52" y="21"/>
                  </a:lnTo>
                  <a:lnTo>
                    <a:pt x="49" y="23"/>
                  </a:lnTo>
                  <a:lnTo>
                    <a:pt x="49" y="23"/>
                  </a:lnTo>
                  <a:lnTo>
                    <a:pt x="49" y="23"/>
                  </a:lnTo>
                  <a:lnTo>
                    <a:pt x="49" y="23"/>
                  </a:lnTo>
                  <a:lnTo>
                    <a:pt x="47" y="23"/>
                  </a:lnTo>
                  <a:lnTo>
                    <a:pt x="47" y="23"/>
                  </a:lnTo>
                  <a:lnTo>
                    <a:pt x="47" y="23"/>
                  </a:lnTo>
                  <a:lnTo>
                    <a:pt x="47" y="23"/>
                  </a:lnTo>
                  <a:lnTo>
                    <a:pt x="47" y="23"/>
                  </a:lnTo>
                  <a:lnTo>
                    <a:pt x="47" y="23"/>
                  </a:lnTo>
                  <a:lnTo>
                    <a:pt x="45" y="25"/>
                  </a:lnTo>
                  <a:lnTo>
                    <a:pt x="45" y="25"/>
                  </a:lnTo>
                  <a:lnTo>
                    <a:pt x="45" y="25"/>
                  </a:lnTo>
                  <a:lnTo>
                    <a:pt x="45" y="25"/>
                  </a:lnTo>
                  <a:lnTo>
                    <a:pt x="45" y="25"/>
                  </a:lnTo>
                  <a:lnTo>
                    <a:pt x="45" y="25"/>
                  </a:lnTo>
                  <a:lnTo>
                    <a:pt x="45" y="25"/>
                  </a:lnTo>
                  <a:lnTo>
                    <a:pt x="45" y="25"/>
                  </a:lnTo>
                  <a:lnTo>
                    <a:pt x="45" y="25"/>
                  </a:lnTo>
                  <a:lnTo>
                    <a:pt x="45" y="25"/>
                  </a:lnTo>
                  <a:lnTo>
                    <a:pt x="47" y="25"/>
                  </a:lnTo>
                  <a:lnTo>
                    <a:pt x="47" y="25"/>
                  </a:lnTo>
                  <a:lnTo>
                    <a:pt x="47" y="25"/>
                  </a:lnTo>
                  <a:lnTo>
                    <a:pt x="47" y="25"/>
                  </a:lnTo>
                  <a:lnTo>
                    <a:pt x="49" y="23"/>
                  </a:lnTo>
                  <a:lnTo>
                    <a:pt x="49" y="23"/>
                  </a:lnTo>
                  <a:lnTo>
                    <a:pt x="52" y="23"/>
                  </a:lnTo>
                  <a:lnTo>
                    <a:pt x="52" y="23"/>
                  </a:lnTo>
                  <a:lnTo>
                    <a:pt x="52" y="23"/>
                  </a:lnTo>
                  <a:lnTo>
                    <a:pt x="52" y="23"/>
                  </a:lnTo>
                  <a:lnTo>
                    <a:pt x="52" y="23"/>
                  </a:lnTo>
                  <a:lnTo>
                    <a:pt x="52" y="23"/>
                  </a:lnTo>
                  <a:lnTo>
                    <a:pt x="52" y="23"/>
                  </a:lnTo>
                  <a:lnTo>
                    <a:pt x="54" y="23"/>
                  </a:lnTo>
                  <a:lnTo>
                    <a:pt x="54" y="25"/>
                  </a:lnTo>
                  <a:lnTo>
                    <a:pt x="54" y="23"/>
                  </a:lnTo>
                  <a:lnTo>
                    <a:pt x="54" y="23"/>
                  </a:lnTo>
                  <a:lnTo>
                    <a:pt x="52" y="23"/>
                  </a:lnTo>
                  <a:lnTo>
                    <a:pt x="52" y="23"/>
                  </a:lnTo>
                  <a:lnTo>
                    <a:pt x="54" y="23"/>
                  </a:lnTo>
                  <a:lnTo>
                    <a:pt x="54" y="23"/>
                  </a:lnTo>
                  <a:lnTo>
                    <a:pt x="54" y="23"/>
                  </a:lnTo>
                  <a:lnTo>
                    <a:pt x="54" y="23"/>
                  </a:lnTo>
                  <a:lnTo>
                    <a:pt x="54" y="23"/>
                  </a:lnTo>
                  <a:lnTo>
                    <a:pt x="54" y="23"/>
                  </a:lnTo>
                  <a:lnTo>
                    <a:pt x="56" y="25"/>
                  </a:lnTo>
                  <a:lnTo>
                    <a:pt x="56" y="25"/>
                  </a:lnTo>
                  <a:lnTo>
                    <a:pt x="59" y="25"/>
                  </a:lnTo>
                  <a:lnTo>
                    <a:pt x="59" y="25"/>
                  </a:lnTo>
                  <a:lnTo>
                    <a:pt x="59" y="23"/>
                  </a:lnTo>
                  <a:lnTo>
                    <a:pt x="61" y="23"/>
                  </a:lnTo>
                  <a:lnTo>
                    <a:pt x="61" y="23"/>
                  </a:lnTo>
                  <a:lnTo>
                    <a:pt x="61" y="23"/>
                  </a:lnTo>
                  <a:lnTo>
                    <a:pt x="63" y="23"/>
                  </a:lnTo>
                  <a:lnTo>
                    <a:pt x="65" y="21"/>
                  </a:lnTo>
                  <a:lnTo>
                    <a:pt x="68" y="21"/>
                  </a:lnTo>
                  <a:lnTo>
                    <a:pt x="68" y="19"/>
                  </a:lnTo>
                  <a:lnTo>
                    <a:pt x="72" y="21"/>
                  </a:lnTo>
                  <a:lnTo>
                    <a:pt x="72" y="21"/>
                  </a:lnTo>
                  <a:lnTo>
                    <a:pt x="72" y="19"/>
                  </a:lnTo>
                  <a:lnTo>
                    <a:pt x="72" y="19"/>
                  </a:lnTo>
                  <a:lnTo>
                    <a:pt x="72" y="19"/>
                  </a:lnTo>
                  <a:lnTo>
                    <a:pt x="72" y="19"/>
                  </a:lnTo>
                  <a:lnTo>
                    <a:pt x="75" y="19"/>
                  </a:lnTo>
                  <a:lnTo>
                    <a:pt x="75" y="19"/>
                  </a:lnTo>
                  <a:lnTo>
                    <a:pt x="75" y="19"/>
                  </a:lnTo>
                  <a:lnTo>
                    <a:pt x="77" y="19"/>
                  </a:lnTo>
                  <a:lnTo>
                    <a:pt x="82" y="9"/>
                  </a:lnTo>
                  <a:lnTo>
                    <a:pt x="89" y="5"/>
                  </a:lnTo>
                  <a:lnTo>
                    <a:pt x="91" y="5"/>
                  </a:lnTo>
                  <a:lnTo>
                    <a:pt x="91" y="5"/>
                  </a:lnTo>
                  <a:lnTo>
                    <a:pt x="93" y="5"/>
                  </a:lnTo>
                  <a:lnTo>
                    <a:pt x="93" y="5"/>
                  </a:lnTo>
                  <a:lnTo>
                    <a:pt x="93" y="2"/>
                  </a:lnTo>
                  <a:lnTo>
                    <a:pt x="93" y="2"/>
                  </a:lnTo>
                  <a:lnTo>
                    <a:pt x="93" y="2"/>
                  </a:lnTo>
                  <a:lnTo>
                    <a:pt x="93" y="2"/>
                  </a:lnTo>
                  <a:lnTo>
                    <a:pt x="96" y="2"/>
                  </a:lnTo>
                  <a:lnTo>
                    <a:pt x="100" y="0"/>
                  </a:lnTo>
                  <a:lnTo>
                    <a:pt x="100" y="2"/>
                  </a:lnTo>
                  <a:lnTo>
                    <a:pt x="103" y="5"/>
                  </a:lnTo>
                  <a:lnTo>
                    <a:pt x="103" y="7"/>
                  </a:lnTo>
                  <a:lnTo>
                    <a:pt x="103" y="12"/>
                  </a:lnTo>
                  <a:lnTo>
                    <a:pt x="103" y="14"/>
                  </a:lnTo>
                  <a:lnTo>
                    <a:pt x="105" y="19"/>
                  </a:lnTo>
                  <a:lnTo>
                    <a:pt x="105" y="21"/>
                  </a:lnTo>
                  <a:lnTo>
                    <a:pt x="105" y="23"/>
                  </a:lnTo>
                  <a:lnTo>
                    <a:pt x="105" y="28"/>
                  </a:lnTo>
                  <a:lnTo>
                    <a:pt x="107" y="30"/>
                  </a:lnTo>
                  <a:lnTo>
                    <a:pt x="107" y="35"/>
                  </a:lnTo>
                  <a:lnTo>
                    <a:pt x="107" y="37"/>
                  </a:lnTo>
                  <a:lnTo>
                    <a:pt x="107" y="4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806">
              <a:extLst>
                <a:ext uri="{FF2B5EF4-FFF2-40B4-BE49-F238E27FC236}">
                  <a16:creationId xmlns:a16="http://schemas.microsoft.com/office/drawing/2014/main" id="{CFFCF434-4A91-4563-B1E9-E0BC283D0ABE}"/>
                </a:ext>
              </a:extLst>
            </p:cNvPr>
            <p:cNvSpPr>
              <a:spLocks/>
            </p:cNvSpPr>
            <p:nvPr/>
          </p:nvSpPr>
          <p:spPr bwMode="auto">
            <a:xfrm>
              <a:off x="6800056" y="4814888"/>
              <a:ext cx="347663" cy="122238"/>
            </a:xfrm>
            <a:custGeom>
              <a:avLst/>
              <a:gdLst>
                <a:gd name="T0" fmla="*/ 186 w 219"/>
                <a:gd name="T1" fmla="*/ 5 h 77"/>
                <a:gd name="T2" fmla="*/ 207 w 219"/>
                <a:gd name="T3" fmla="*/ 2 h 77"/>
                <a:gd name="T4" fmla="*/ 216 w 219"/>
                <a:gd name="T5" fmla="*/ 0 h 77"/>
                <a:gd name="T6" fmla="*/ 216 w 219"/>
                <a:gd name="T7" fmla="*/ 7 h 77"/>
                <a:gd name="T8" fmla="*/ 219 w 219"/>
                <a:gd name="T9" fmla="*/ 9 h 77"/>
                <a:gd name="T10" fmla="*/ 214 w 219"/>
                <a:gd name="T11" fmla="*/ 12 h 77"/>
                <a:gd name="T12" fmla="*/ 209 w 219"/>
                <a:gd name="T13" fmla="*/ 19 h 77"/>
                <a:gd name="T14" fmla="*/ 209 w 219"/>
                <a:gd name="T15" fmla="*/ 19 h 77"/>
                <a:gd name="T16" fmla="*/ 207 w 219"/>
                <a:gd name="T17" fmla="*/ 16 h 77"/>
                <a:gd name="T18" fmla="*/ 205 w 219"/>
                <a:gd name="T19" fmla="*/ 19 h 77"/>
                <a:gd name="T20" fmla="*/ 202 w 219"/>
                <a:gd name="T21" fmla="*/ 19 h 77"/>
                <a:gd name="T22" fmla="*/ 200 w 219"/>
                <a:gd name="T23" fmla="*/ 23 h 77"/>
                <a:gd name="T24" fmla="*/ 198 w 219"/>
                <a:gd name="T25" fmla="*/ 23 h 77"/>
                <a:gd name="T26" fmla="*/ 198 w 219"/>
                <a:gd name="T27" fmla="*/ 23 h 77"/>
                <a:gd name="T28" fmla="*/ 195 w 219"/>
                <a:gd name="T29" fmla="*/ 23 h 77"/>
                <a:gd name="T30" fmla="*/ 193 w 219"/>
                <a:gd name="T31" fmla="*/ 26 h 77"/>
                <a:gd name="T32" fmla="*/ 191 w 219"/>
                <a:gd name="T33" fmla="*/ 26 h 77"/>
                <a:gd name="T34" fmla="*/ 188 w 219"/>
                <a:gd name="T35" fmla="*/ 26 h 77"/>
                <a:gd name="T36" fmla="*/ 191 w 219"/>
                <a:gd name="T37" fmla="*/ 28 h 77"/>
                <a:gd name="T38" fmla="*/ 188 w 219"/>
                <a:gd name="T39" fmla="*/ 33 h 77"/>
                <a:gd name="T40" fmla="*/ 184 w 219"/>
                <a:gd name="T41" fmla="*/ 33 h 77"/>
                <a:gd name="T42" fmla="*/ 181 w 219"/>
                <a:gd name="T43" fmla="*/ 35 h 77"/>
                <a:gd name="T44" fmla="*/ 179 w 219"/>
                <a:gd name="T45" fmla="*/ 37 h 77"/>
                <a:gd name="T46" fmla="*/ 177 w 219"/>
                <a:gd name="T47" fmla="*/ 40 h 77"/>
                <a:gd name="T48" fmla="*/ 175 w 219"/>
                <a:gd name="T49" fmla="*/ 42 h 77"/>
                <a:gd name="T50" fmla="*/ 172 w 219"/>
                <a:gd name="T51" fmla="*/ 42 h 77"/>
                <a:gd name="T52" fmla="*/ 170 w 219"/>
                <a:gd name="T53" fmla="*/ 42 h 77"/>
                <a:gd name="T54" fmla="*/ 165 w 219"/>
                <a:gd name="T55" fmla="*/ 44 h 77"/>
                <a:gd name="T56" fmla="*/ 163 w 219"/>
                <a:gd name="T57" fmla="*/ 47 h 77"/>
                <a:gd name="T58" fmla="*/ 163 w 219"/>
                <a:gd name="T59" fmla="*/ 49 h 77"/>
                <a:gd name="T60" fmla="*/ 163 w 219"/>
                <a:gd name="T61" fmla="*/ 51 h 77"/>
                <a:gd name="T62" fmla="*/ 161 w 219"/>
                <a:gd name="T63" fmla="*/ 54 h 77"/>
                <a:gd name="T64" fmla="*/ 158 w 219"/>
                <a:gd name="T65" fmla="*/ 54 h 77"/>
                <a:gd name="T66" fmla="*/ 156 w 219"/>
                <a:gd name="T67" fmla="*/ 58 h 77"/>
                <a:gd name="T68" fmla="*/ 147 w 219"/>
                <a:gd name="T69" fmla="*/ 63 h 77"/>
                <a:gd name="T70" fmla="*/ 119 w 219"/>
                <a:gd name="T71" fmla="*/ 68 h 77"/>
                <a:gd name="T72" fmla="*/ 86 w 219"/>
                <a:gd name="T73" fmla="*/ 70 h 77"/>
                <a:gd name="T74" fmla="*/ 56 w 219"/>
                <a:gd name="T75" fmla="*/ 72 h 77"/>
                <a:gd name="T76" fmla="*/ 42 w 219"/>
                <a:gd name="T77" fmla="*/ 75 h 77"/>
                <a:gd name="T78" fmla="*/ 14 w 219"/>
                <a:gd name="T79" fmla="*/ 77 h 77"/>
                <a:gd name="T80" fmla="*/ 2 w 219"/>
                <a:gd name="T81" fmla="*/ 77 h 77"/>
                <a:gd name="T82" fmla="*/ 5 w 219"/>
                <a:gd name="T83" fmla="*/ 72 h 77"/>
                <a:gd name="T84" fmla="*/ 5 w 219"/>
                <a:gd name="T85" fmla="*/ 65 h 77"/>
                <a:gd name="T86" fmla="*/ 7 w 219"/>
                <a:gd name="T87" fmla="*/ 61 h 77"/>
                <a:gd name="T88" fmla="*/ 9 w 219"/>
                <a:gd name="T89" fmla="*/ 56 h 77"/>
                <a:gd name="T90" fmla="*/ 12 w 219"/>
                <a:gd name="T91" fmla="*/ 51 h 77"/>
                <a:gd name="T92" fmla="*/ 14 w 219"/>
                <a:gd name="T93" fmla="*/ 47 h 77"/>
                <a:gd name="T94" fmla="*/ 14 w 219"/>
                <a:gd name="T95" fmla="*/ 42 h 77"/>
                <a:gd name="T96" fmla="*/ 16 w 219"/>
                <a:gd name="T97" fmla="*/ 37 h 77"/>
                <a:gd name="T98" fmla="*/ 16 w 219"/>
                <a:gd name="T99" fmla="*/ 35 h 77"/>
                <a:gd name="T100" fmla="*/ 19 w 219"/>
                <a:gd name="T101" fmla="*/ 33 h 77"/>
                <a:gd name="T102" fmla="*/ 19 w 219"/>
                <a:gd name="T103" fmla="*/ 28 h 77"/>
                <a:gd name="T104" fmla="*/ 26 w 219"/>
                <a:gd name="T105" fmla="*/ 28 h 77"/>
                <a:gd name="T106" fmla="*/ 56 w 219"/>
                <a:gd name="T107" fmla="*/ 23 h 77"/>
                <a:gd name="T108" fmla="*/ 53 w 219"/>
                <a:gd name="T109" fmla="*/ 19 h 77"/>
                <a:gd name="T110" fmla="*/ 60 w 219"/>
                <a:gd name="T111" fmla="*/ 19 h 77"/>
                <a:gd name="T112" fmla="*/ 72 w 219"/>
                <a:gd name="T113" fmla="*/ 19 h 77"/>
                <a:gd name="T114" fmla="*/ 91 w 219"/>
                <a:gd name="T115" fmla="*/ 16 h 77"/>
                <a:gd name="T116" fmla="*/ 98 w 219"/>
                <a:gd name="T117" fmla="*/ 16 h 77"/>
                <a:gd name="T118" fmla="*/ 142 w 219"/>
                <a:gd name="T119" fmla="*/ 12 h 77"/>
                <a:gd name="T120" fmla="*/ 168 w 219"/>
                <a:gd name="T121" fmla="*/ 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77">
                  <a:moveTo>
                    <a:pt x="168" y="9"/>
                  </a:moveTo>
                  <a:lnTo>
                    <a:pt x="170" y="7"/>
                  </a:lnTo>
                  <a:lnTo>
                    <a:pt x="172" y="7"/>
                  </a:lnTo>
                  <a:lnTo>
                    <a:pt x="175" y="7"/>
                  </a:lnTo>
                  <a:lnTo>
                    <a:pt x="177" y="7"/>
                  </a:lnTo>
                  <a:lnTo>
                    <a:pt x="179" y="7"/>
                  </a:lnTo>
                  <a:lnTo>
                    <a:pt x="184" y="7"/>
                  </a:lnTo>
                  <a:lnTo>
                    <a:pt x="186" y="5"/>
                  </a:lnTo>
                  <a:lnTo>
                    <a:pt x="188" y="5"/>
                  </a:lnTo>
                  <a:lnTo>
                    <a:pt x="191" y="5"/>
                  </a:lnTo>
                  <a:lnTo>
                    <a:pt x="193" y="5"/>
                  </a:lnTo>
                  <a:lnTo>
                    <a:pt x="195" y="5"/>
                  </a:lnTo>
                  <a:lnTo>
                    <a:pt x="198" y="5"/>
                  </a:lnTo>
                  <a:lnTo>
                    <a:pt x="202" y="2"/>
                  </a:lnTo>
                  <a:lnTo>
                    <a:pt x="205" y="2"/>
                  </a:lnTo>
                  <a:lnTo>
                    <a:pt x="207" y="2"/>
                  </a:lnTo>
                  <a:lnTo>
                    <a:pt x="209" y="2"/>
                  </a:lnTo>
                  <a:lnTo>
                    <a:pt x="212" y="2"/>
                  </a:lnTo>
                  <a:lnTo>
                    <a:pt x="212" y="2"/>
                  </a:lnTo>
                  <a:lnTo>
                    <a:pt x="212" y="2"/>
                  </a:lnTo>
                  <a:lnTo>
                    <a:pt x="212" y="0"/>
                  </a:lnTo>
                  <a:lnTo>
                    <a:pt x="212" y="0"/>
                  </a:lnTo>
                  <a:lnTo>
                    <a:pt x="214" y="0"/>
                  </a:lnTo>
                  <a:lnTo>
                    <a:pt x="216" y="0"/>
                  </a:lnTo>
                  <a:lnTo>
                    <a:pt x="219" y="0"/>
                  </a:lnTo>
                  <a:lnTo>
                    <a:pt x="216" y="2"/>
                  </a:lnTo>
                  <a:lnTo>
                    <a:pt x="216" y="2"/>
                  </a:lnTo>
                  <a:lnTo>
                    <a:pt x="216" y="2"/>
                  </a:lnTo>
                  <a:lnTo>
                    <a:pt x="219" y="5"/>
                  </a:lnTo>
                  <a:lnTo>
                    <a:pt x="219" y="5"/>
                  </a:lnTo>
                  <a:lnTo>
                    <a:pt x="216" y="5"/>
                  </a:lnTo>
                  <a:lnTo>
                    <a:pt x="216" y="7"/>
                  </a:lnTo>
                  <a:lnTo>
                    <a:pt x="216" y="7"/>
                  </a:lnTo>
                  <a:lnTo>
                    <a:pt x="216" y="7"/>
                  </a:lnTo>
                  <a:lnTo>
                    <a:pt x="216" y="7"/>
                  </a:lnTo>
                  <a:lnTo>
                    <a:pt x="216" y="7"/>
                  </a:lnTo>
                  <a:lnTo>
                    <a:pt x="219" y="9"/>
                  </a:lnTo>
                  <a:lnTo>
                    <a:pt x="219" y="9"/>
                  </a:lnTo>
                  <a:lnTo>
                    <a:pt x="219" y="9"/>
                  </a:lnTo>
                  <a:lnTo>
                    <a:pt x="219" y="9"/>
                  </a:lnTo>
                  <a:lnTo>
                    <a:pt x="219" y="9"/>
                  </a:lnTo>
                  <a:lnTo>
                    <a:pt x="216" y="9"/>
                  </a:lnTo>
                  <a:lnTo>
                    <a:pt x="216" y="9"/>
                  </a:lnTo>
                  <a:lnTo>
                    <a:pt x="216" y="9"/>
                  </a:lnTo>
                  <a:lnTo>
                    <a:pt x="216" y="9"/>
                  </a:lnTo>
                  <a:lnTo>
                    <a:pt x="214" y="9"/>
                  </a:lnTo>
                  <a:lnTo>
                    <a:pt x="214" y="12"/>
                  </a:lnTo>
                  <a:lnTo>
                    <a:pt x="214" y="12"/>
                  </a:lnTo>
                  <a:lnTo>
                    <a:pt x="212" y="16"/>
                  </a:lnTo>
                  <a:lnTo>
                    <a:pt x="212" y="16"/>
                  </a:lnTo>
                  <a:lnTo>
                    <a:pt x="212" y="16"/>
                  </a:lnTo>
                  <a:lnTo>
                    <a:pt x="212" y="16"/>
                  </a:lnTo>
                  <a:lnTo>
                    <a:pt x="209" y="19"/>
                  </a:lnTo>
                  <a:lnTo>
                    <a:pt x="209" y="19"/>
                  </a:lnTo>
                  <a:lnTo>
                    <a:pt x="209" y="19"/>
                  </a:lnTo>
                  <a:lnTo>
                    <a:pt x="209" y="19"/>
                  </a:lnTo>
                  <a:lnTo>
                    <a:pt x="209" y="19"/>
                  </a:lnTo>
                  <a:lnTo>
                    <a:pt x="209" y="19"/>
                  </a:lnTo>
                  <a:lnTo>
                    <a:pt x="209" y="19"/>
                  </a:lnTo>
                  <a:lnTo>
                    <a:pt x="209" y="19"/>
                  </a:lnTo>
                  <a:lnTo>
                    <a:pt x="209" y="19"/>
                  </a:lnTo>
                  <a:lnTo>
                    <a:pt x="209" y="19"/>
                  </a:lnTo>
                  <a:lnTo>
                    <a:pt x="209" y="19"/>
                  </a:lnTo>
                  <a:lnTo>
                    <a:pt x="209" y="19"/>
                  </a:lnTo>
                  <a:lnTo>
                    <a:pt x="209" y="16"/>
                  </a:lnTo>
                  <a:lnTo>
                    <a:pt x="207" y="16"/>
                  </a:lnTo>
                  <a:lnTo>
                    <a:pt x="207" y="16"/>
                  </a:lnTo>
                  <a:lnTo>
                    <a:pt x="207" y="16"/>
                  </a:lnTo>
                  <a:lnTo>
                    <a:pt x="207" y="16"/>
                  </a:lnTo>
                  <a:lnTo>
                    <a:pt x="207" y="16"/>
                  </a:lnTo>
                  <a:lnTo>
                    <a:pt x="207" y="16"/>
                  </a:lnTo>
                  <a:lnTo>
                    <a:pt x="207" y="16"/>
                  </a:lnTo>
                  <a:lnTo>
                    <a:pt x="207" y="16"/>
                  </a:lnTo>
                  <a:lnTo>
                    <a:pt x="207" y="16"/>
                  </a:lnTo>
                  <a:lnTo>
                    <a:pt x="207" y="16"/>
                  </a:lnTo>
                  <a:lnTo>
                    <a:pt x="207" y="16"/>
                  </a:lnTo>
                  <a:lnTo>
                    <a:pt x="207" y="16"/>
                  </a:lnTo>
                  <a:lnTo>
                    <a:pt x="207" y="16"/>
                  </a:lnTo>
                  <a:lnTo>
                    <a:pt x="207" y="16"/>
                  </a:lnTo>
                  <a:lnTo>
                    <a:pt x="205" y="19"/>
                  </a:lnTo>
                  <a:lnTo>
                    <a:pt x="205" y="19"/>
                  </a:lnTo>
                  <a:lnTo>
                    <a:pt x="205" y="19"/>
                  </a:lnTo>
                  <a:lnTo>
                    <a:pt x="205" y="19"/>
                  </a:lnTo>
                  <a:lnTo>
                    <a:pt x="205" y="19"/>
                  </a:lnTo>
                  <a:lnTo>
                    <a:pt x="202" y="19"/>
                  </a:lnTo>
                  <a:lnTo>
                    <a:pt x="202" y="19"/>
                  </a:lnTo>
                  <a:lnTo>
                    <a:pt x="202" y="19"/>
                  </a:lnTo>
                  <a:lnTo>
                    <a:pt x="202" y="19"/>
                  </a:lnTo>
                  <a:lnTo>
                    <a:pt x="200" y="21"/>
                  </a:lnTo>
                  <a:lnTo>
                    <a:pt x="200" y="21"/>
                  </a:lnTo>
                  <a:lnTo>
                    <a:pt x="200" y="21"/>
                  </a:lnTo>
                  <a:lnTo>
                    <a:pt x="200" y="21"/>
                  </a:lnTo>
                  <a:lnTo>
                    <a:pt x="200" y="23"/>
                  </a:lnTo>
                  <a:lnTo>
                    <a:pt x="200" y="23"/>
                  </a:lnTo>
                  <a:lnTo>
                    <a:pt x="200" y="23"/>
                  </a:lnTo>
                  <a:lnTo>
                    <a:pt x="200" y="23"/>
                  </a:lnTo>
                  <a:lnTo>
                    <a:pt x="200"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3"/>
                  </a:lnTo>
                  <a:lnTo>
                    <a:pt x="198" y="21"/>
                  </a:lnTo>
                  <a:lnTo>
                    <a:pt x="195" y="21"/>
                  </a:lnTo>
                  <a:lnTo>
                    <a:pt x="195" y="21"/>
                  </a:lnTo>
                  <a:lnTo>
                    <a:pt x="195" y="21"/>
                  </a:lnTo>
                  <a:lnTo>
                    <a:pt x="195" y="23"/>
                  </a:lnTo>
                  <a:lnTo>
                    <a:pt x="195" y="23"/>
                  </a:lnTo>
                  <a:lnTo>
                    <a:pt x="193" y="23"/>
                  </a:lnTo>
                  <a:lnTo>
                    <a:pt x="193" y="23"/>
                  </a:lnTo>
                  <a:lnTo>
                    <a:pt x="193" y="23"/>
                  </a:lnTo>
                  <a:lnTo>
                    <a:pt x="193" y="23"/>
                  </a:lnTo>
                  <a:lnTo>
                    <a:pt x="193" y="26"/>
                  </a:lnTo>
                  <a:lnTo>
                    <a:pt x="193" y="26"/>
                  </a:lnTo>
                  <a:lnTo>
                    <a:pt x="193" y="26"/>
                  </a:lnTo>
                  <a:lnTo>
                    <a:pt x="193" y="26"/>
                  </a:lnTo>
                  <a:lnTo>
                    <a:pt x="193" y="26"/>
                  </a:lnTo>
                  <a:lnTo>
                    <a:pt x="193" y="26"/>
                  </a:lnTo>
                  <a:lnTo>
                    <a:pt x="193" y="26"/>
                  </a:lnTo>
                  <a:lnTo>
                    <a:pt x="193" y="26"/>
                  </a:lnTo>
                  <a:lnTo>
                    <a:pt x="191" y="26"/>
                  </a:lnTo>
                  <a:lnTo>
                    <a:pt x="191" y="26"/>
                  </a:lnTo>
                  <a:lnTo>
                    <a:pt x="191" y="26"/>
                  </a:lnTo>
                  <a:lnTo>
                    <a:pt x="191" y="26"/>
                  </a:lnTo>
                  <a:lnTo>
                    <a:pt x="191" y="26"/>
                  </a:lnTo>
                  <a:lnTo>
                    <a:pt x="191" y="26"/>
                  </a:lnTo>
                  <a:lnTo>
                    <a:pt x="191" y="26"/>
                  </a:lnTo>
                  <a:lnTo>
                    <a:pt x="191" y="26"/>
                  </a:lnTo>
                  <a:lnTo>
                    <a:pt x="191" y="26"/>
                  </a:lnTo>
                  <a:lnTo>
                    <a:pt x="188" y="26"/>
                  </a:lnTo>
                  <a:lnTo>
                    <a:pt x="188" y="26"/>
                  </a:lnTo>
                  <a:lnTo>
                    <a:pt x="188" y="26"/>
                  </a:lnTo>
                  <a:lnTo>
                    <a:pt x="188" y="26"/>
                  </a:lnTo>
                  <a:lnTo>
                    <a:pt x="188" y="28"/>
                  </a:lnTo>
                  <a:lnTo>
                    <a:pt x="188" y="28"/>
                  </a:lnTo>
                  <a:lnTo>
                    <a:pt x="188" y="28"/>
                  </a:lnTo>
                  <a:lnTo>
                    <a:pt x="188" y="28"/>
                  </a:lnTo>
                  <a:lnTo>
                    <a:pt x="191" y="28"/>
                  </a:lnTo>
                  <a:lnTo>
                    <a:pt x="191" y="28"/>
                  </a:lnTo>
                  <a:lnTo>
                    <a:pt x="191" y="28"/>
                  </a:lnTo>
                  <a:lnTo>
                    <a:pt x="188" y="28"/>
                  </a:lnTo>
                  <a:lnTo>
                    <a:pt x="188" y="28"/>
                  </a:lnTo>
                  <a:lnTo>
                    <a:pt x="188" y="30"/>
                  </a:lnTo>
                  <a:lnTo>
                    <a:pt x="188" y="30"/>
                  </a:lnTo>
                  <a:lnTo>
                    <a:pt x="188" y="30"/>
                  </a:lnTo>
                  <a:lnTo>
                    <a:pt x="188" y="30"/>
                  </a:lnTo>
                  <a:lnTo>
                    <a:pt x="188" y="33"/>
                  </a:lnTo>
                  <a:lnTo>
                    <a:pt x="188" y="33"/>
                  </a:lnTo>
                  <a:lnTo>
                    <a:pt x="188" y="33"/>
                  </a:lnTo>
                  <a:lnTo>
                    <a:pt x="188" y="33"/>
                  </a:lnTo>
                  <a:lnTo>
                    <a:pt x="186" y="33"/>
                  </a:lnTo>
                  <a:lnTo>
                    <a:pt x="186" y="33"/>
                  </a:lnTo>
                  <a:lnTo>
                    <a:pt x="186" y="33"/>
                  </a:lnTo>
                  <a:lnTo>
                    <a:pt x="186" y="33"/>
                  </a:lnTo>
                  <a:lnTo>
                    <a:pt x="184" y="33"/>
                  </a:lnTo>
                  <a:lnTo>
                    <a:pt x="184" y="33"/>
                  </a:lnTo>
                  <a:lnTo>
                    <a:pt x="184" y="33"/>
                  </a:lnTo>
                  <a:lnTo>
                    <a:pt x="184" y="33"/>
                  </a:lnTo>
                  <a:lnTo>
                    <a:pt x="184" y="35"/>
                  </a:lnTo>
                  <a:lnTo>
                    <a:pt x="184" y="35"/>
                  </a:lnTo>
                  <a:lnTo>
                    <a:pt x="181" y="35"/>
                  </a:lnTo>
                  <a:lnTo>
                    <a:pt x="181" y="35"/>
                  </a:lnTo>
                  <a:lnTo>
                    <a:pt x="181" y="35"/>
                  </a:lnTo>
                  <a:lnTo>
                    <a:pt x="181" y="35"/>
                  </a:lnTo>
                  <a:lnTo>
                    <a:pt x="181" y="35"/>
                  </a:lnTo>
                  <a:lnTo>
                    <a:pt x="181" y="37"/>
                  </a:lnTo>
                  <a:lnTo>
                    <a:pt x="181" y="37"/>
                  </a:lnTo>
                  <a:lnTo>
                    <a:pt x="181" y="37"/>
                  </a:lnTo>
                  <a:lnTo>
                    <a:pt x="179" y="37"/>
                  </a:lnTo>
                  <a:lnTo>
                    <a:pt x="179" y="37"/>
                  </a:lnTo>
                  <a:lnTo>
                    <a:pt x="179" y="37"/>
                  </a:lnTo>
                  <a:lnTo>
                    <a:pt x="179" y="37"/>
                  </a:lnTo>
                  <a:lnTo>
                    <a:pt x="179" y="37"/>
                  </a:lnTo>
                  <a:lnTo>
                    <a:pt x="179" y="37"/>
                  </a:lnTo>
                  <a:lnTo>
                    <a:pt x="179" y="37"/>
                  </a:lnTo>
                  <a:lnTo>
                    <a:pt x="177" y="40"/>
                  </a:lnTo>
                  <a:lnTo>
                    <a:pt x="177" y="40"/>
                  </a:lnTo>
                  <a:lnTo>
                    <a:pt x="177" y="40"/>
                  </a:lnTo>
                  <a:lnTo>
                    <a:pt x="177" y="40"/>
                  </a:lnTo>
                  <a:lnTo>
                    <a:pt x="177" y="40"/>
                  </a:lnTo>
                  <a:lnTo>
                    <a:pt x="177" y="40"/>
                  </a:lnTo>
                  <a:lnTo>
                    <a:pt x="177" y="40"/>
                  </a:lnTo>
                  <a:lnTo>
                    <a:pt x="175" y="42"/>
                  </a:lnTo>
                  <a:lnTo>
                    <a:pt x="175" y="42"/>
                  </a:lnTo>
                  <a:lnTo>
                    <a:pt x="175" y="42"/>
                  </a:lnTo>
                  <a:lnTo>
                    <a:pt x="175" y="42"/>
                  </a:lnTo>
                  <a:lnTo>
                    <a:pt x="175" y="42"/>
                  </a:lnTo>
                  <a:lnTo>
                    <a:pt x="175" y="40"/>
                  </a:lnTo>
                  <a:lnTo>
                    <a:pt x="175" y="40"/>
                  </a:lnTo>
                  <a:lnTo>
                    <a:pt x="172" y="40"/>
                  </a:lnTo>
                  <a:lnTo>
                    <a:pt x="172" y="42"/>
                  </a:lnTo>
                  <a:lnTo>
                    <a:pt x="172" y="42"/>
                  </a:lnTo>
                  <a:lnTo>
                    <a:pt x="172" y="42"/>
                  </a:lnTo>
                  <a:lnTo>
                    <a:pt x="172" y="42"/>
                  </a:lnTo>
                  <a:lnTo>
                    <a:pt x="172" y="42"/>
                  </a:lnTo>
                  <a:lnTo>
                    <a:pt x="172" y="42"/>
                  </a:lnTo>
                  <a:lnTo>
                    <a:pt x="172" y="42"/>
                  </a:lnTo>
                  <a:lnTo>
                    <a:pt x="172" y="42"/>
                  </a:lnTo>
                  <a:lnTo>
                    <a:pt x="172" y="42"/>
                  </a:lnTo>
                  <a:lnTo>
                    <a:pt x="172" y="42"/>
                  </a:lnTo>
                  <a:lnTo>
                    <a:pt x="170" y="42"/>
                  </a:lnTo>
                  <a:lnTo>
                    <a:pt x="170" y="42"/>
                  </a:lnTo>
                  <a:lnTo>
                    <a:pt x="170" y="42"/>
                  </a:lnTo>
                  <a:lnTo>
                    <a:pt x="170" y="42"/>
                  </a:lnTo>
                  <a:lnTo>
                    <a:pt x="168" y="42"/>
                  </a:lnTo>
                  <a:lnTo>
                    <a:pt x="168" y="42"/>
                  </a:lnTo>
                  <a:lnTo>
                    <a:pt x="168" y="42"/>
                  </a:lnTo>
                  <a:lnTo>
                    <a:pt x="168" y="42"/>
                  </a:lnTo>
                  <a:lnTo>
                    <a:pt x="168" y="44"/>
                  </a:lnTo>
                  <a:lnTo>
                    <a:pt x="168" y="44"/>
                  </a:lnTo>
                  <a:lnTo>
                    <a:pt x="165" y="44"/>
                  </a:lnTo>
                  <a:lnTo>
                    <a:pt x="165" y="44"/>
                  </a:lnTo>
                  <a:lnTo>
                    <a:pt x="165" y="44"/>
                  </a:lnTo>
                  <a:lnTo>
                    <a:pt x="165" y="44"/>
                  </a:lnTo>
                  <a:lnTo>
                    <a:pt x="165" y="44"/>
                  </a:lnTo>
                  <a:lnTo>
                    <a:pt x="165" y="44"/>
                  </a:lnTo>
                  <a:lnTo>
                    <a:pt x="165" y="47"/>
                  </a:lnTo>
                  <a:lnTo>
                    <a:pt x="165" y="47"/>
                  </a:lnTo>
                  <a:lnTo>
                    <a:pt x="163" y="47"/>
                  </a:lnTo>
                  <a:lnTo>
                    <a:pt x="163" y="47"/>
                  </a:lnTo>
                  <a:lnTo>
                    <a:pt x="163" y="47"/>
                  </a:lnTo>
                  <a:lnTo>
                    <a:pt x="163" y="47"/>
                  </a:lnTo>
                  <a:lnTo>
                    <a:pt x="163" y="47"/>
                  </a:lnTo>
                  <a:lnTo>
                    <a:pt x="163" y="47"/>
                  </a:lnTo>
                  <a:lnTo>
                    <a:pt x="163" y="49"/>
                  </a:lnTo>
                  <a:lnTo>
                    <a:pt x="163" y="49"/>
                  </a:lnTo>
                  <a:lnTo>
                    <a:pt x="163" y="49"/>
                  </a:lnTo>
                  <a:lnTo>
                    <a:pt x="163" y="49"/>
                  </a:lnTo>
                  <a:lnTo>
                    <a:pt x="163" y="49"/>
                  </a:lnTo>
                  <a:lnTo>
                    <a:pt x="163" y="49"/>
                  </a:lnTo>
                  <a:lnTo>
                    <a:pt x="163" y="49"/>
                  </a:lnTo>
                  <a:lnTo>
                    <a:pt x="163" y="49"/>
                  </a:lnTo>
                  <a:lnTo>
                    <a:pt x="163" y="49"/>
                  </a:lnTo>
                  <a:lnTo>
                    <a:pt x="163" y="51"/>
                  </a:lnTo>
                  <a:lnTo>
                    <a:pt x="163" y="51"/>
                  </a:lnTo>
                  <a:lnTo>
                    <a:pt x="163" y="51"/>
                  </a:lnTo>
                  <a:lnTo>
                    <a:pt x="163" y="51"/>
                  </a:lnTo>
                  <a:lnTo>
                    <a:pt x="163" y="51"/>
                  </a:lnTo>
                  <a:lnTo>
                    <a:pt x="163" y="54"/>
                  </a:lnTo>
                  <a:lnTo>
                    <a:pt x="163" y="54"/>
                  </a:lnTo>
                  <a:lnTo>
                    <a:pt x="161" y="54"/>
                  </a:lnTo>
                  <a:lnTo>
                    <a:pt x="161" y="54"/>
                  </a:lnTo>
                  <a:lnTo>
                    <a:pt x="161" y="54"/>
                  </a:lnTo>
                  <a:lnTo>
                    <a:pt x="158" y="54"/>
                  </a:lnTo>
                  <a:lnTo>
                    <a:pt x="158" y="54"/>
                  </a:lnTo>
                  <a:lnTo>
                    <a:pt x="158" y="54"/>
                  </a:lnTo>
                  <a:lnTo>
                    <a:pt x="158" y="54"/>
                  </a:lnTo>
                  <a:lnTo>
                    <a:pt x="158" y="54"/>
                  </a:lnTo>
                  <a:lnTo>
                    <a:pt x="158" y="54"/>
                  </a:lnTo>
                  <a:lnTo>
                    <a:pt x="158" y="54"/>
                  </a:lnTo>
                  <a:lnTo>
                    <a:pt x="158" y="54"/>
                  </a:lnTo>
                  <a:lnTo>
                    <a:pt x="158" y="54"/>
                  </a:lnTo>
                  <a:lnTo>
                    <a:pt x="158" y="54"/>
                  </a:lnTo>
                  <a:lnTo>
                    <a:pt x="156" y="54"/>
                  </a:lnTo>
                  <a:lnTo>
                    <a:pt x="156" y="54"/>
                  </a:lnTo>
                  <a:lnTo>
                    <a:pt x="156" y="54"/>
                  </a:lnTo>
                  <a:lnTo>
                    <a:pt x="156" y="56"/>
                  </a:lnTo>
                  <a:lnTo>
                    <a:pt x="156" y="56"/>
                  </a:lnTo>
                  <a:lnTo>
                    <a:pt x="156" y="58"/>
                  </a:lnTo>
                  <a:lnTo>
                    <a:pt x="156" y="58"/>
                  </a:lnTo>
                  <a:lnTo>
                    <a:pt x="158" y="61"/>
                  </a:lnTo>
                  <a:lnTo>
                    <a:pt x="158" y="63"/>
                  </a:lnTo>
                  <a:lnTo>
                    <a:pt x="156" y="63"/>
                  </a:lnTo>
                  <a:lnTo>
                    <a:pt x="154" y="63"/>
                  </a:lnTo>
                  <a:lnTo>
                    <a:pt x="151" y="63"/>
                  </a:lnTo>
                  <a:lnTo>
                    <a:pt x="149" y="63"/>
                  </a:lnTo>
                  <a:lnTo>
                    <a:pt x="147" y="63"/>
                  </a:lnTo>
                  <a:lnTo>
                    <a:pt x="142" y="63"/>
                  </a:lnTo>
                  <a:lnTo>
                    <a:pt x="140" y="65"/>
                  </a:lnTo>
                  <a:lnTo>
                    <a:pt x="137" y="65"/>
                  </a:lnTo>
                  <a:lnTo>
                    <a:pt x="133" y="65"/>
                  </a:lnTo>
                  <a:lnTo>
                    <a:pt x="130" y="65"/>
                  </a:lnTo>
                  <a:lnTo>
                    <a:pt x="126" y="65"/>
                  </a:lnTo>
                  <a:lnTo>
                    <a:pt x="123" y="65"/>
                  </a:lnTo>
                  <a:lnTo>
                    <a:pt x="119" y="68"/>
                  </a:lnTo>
                  <a:lnTo>
                    <a:pt x="114" y="68"/>
                  </a:lnTo>
                  <a:lnTo>
                    <a:pt x="112" y="68"/>
                  </a:lnTo>
                  <a:lnTo>
                    <a:pt x="107" y="68"/>
                  </a:lnTo>
                  <a:lnTo>
                    <a:pt x="102" y="68"/>
                  </a:lnTo>
                  <a:lnTo>
                    <a:pt x="98" y="70"/>
                  </a:lnTo>
                  <a:lnTo>
                    <a:pt x="95" y="70"/>
                  </a:lnTo>
                  <a:lnTo>
                    <a:pt x="91" y="70"/>
                  </a:lnTo>
                  <a:lnTo>
                    <a:pt x="86" y="70"/>
                  </a:lnTo>
                  <a:lnTo>
                    <a:pt x="81" y="70"/>
                  </a:lnTo>
                  <a:lnTo>
                    <a:pt x="77" y="70"/>
                  </a:lnTo>
                  <a:lnTo>
                    <a:pt x="74" y="70"/>
                  </a:lnTo>
                  <a:lnTo>
                    <a:pt x="70" y="72"/>
                  </a:lnTo>
                  <a:lnTo>
                    <a:pt x="65" y="72"/>
                  </a:lnTo>
                  <a:lnTo>
                    <a:pt x="60" y="72"/>
                  </a:lnTo>
                  <a:lnTo>
                    <a:pt x="58" y="72"/>
                  </a:lnTo>
                  <a:lnTo>
                    <a:pt x="56" y="72"/>
                  </a:lnTo>
                  <a:lnTo>
                    <a:pt x="56" y="72"/>
                  </a:lnTo>
                  <a:lnTo>
                    <a:pt x="56" y="72"/>
                  </a:lnTo>
                  <a:lnTo>
                    <a:pt x="56" y="72"/>
                  </a:lnTo>
                  <a:lnTo>
                    <a:pt x="56" y="72"/>
                  </a:lnTo>
                  <a:lnTo>
                    <a:pt x="51" y="72"/>
                  </a:lnTo>
                  <a:lnTo>
                    <a:pt x="49" y="75"/>
                  </a:lnTo>
                  <a:lnTo>
                    <a:pt x="44" y="75"/>
                  </a:lnTo>
                  <a:lnTo>
                    <a:pt x="42" y="75"/>
                  </a:lnTo>
                  <a:lnTo>
                    <a:pt x="37" y="75"/>
                  </a:lnTo>
                  <a:lnTo>
                    <a:pt x="35" y="75"/>
                  </a:lnTo>
                  <a:lnTo>
                    <a:pt x="30" y="75"/>
                  </a:lnTo>
                  <a:lnTo>
                    <a:pt x="28" y="75"/>
                  </a:lnTo>
                  <a:lnTo>
                    <a:pt x="23" y="75"/>
                  </a:lnTo>
                  <a:lnTo>
                    <a:pt x="21" y="77"/>
                  </a:lnTo>
                  <a:lnTo>
                    <a:pt x="19" y="77"/>
                  </a:lnTo>
                  <a:lnTo>
                    <a:pt x="14" y="77"/>
                  </a:lnTo>
                  <a:lnTo>
                    <a:pt x="12" y="77"/>
                  </a:lnTo>
                  <a:lnTo>
                    <a:pt x="7" y="77"/>
                  </a:lnTo>
                  <a:lnTo>
                    <a:pt x="5" y="77"/>
                  </a:lnTo>
                  <a:lnTo>
                    <a:pt x="0" y="77"/>
                  </a:lnTo>
                  <a:lnTo>
                    <a:pt x="0" y="77"/>
                  </a:lnTo>
                  <a:lnTo>
                    <a:pt x="0" y="77"/>
                  </a:lnTo>
                  <a:lnTo>
                    <a:pt x="0" y="77"/>
                  </a:lnTo>
                  <a:lnTo>
                    <a:pt x="2" y="77"/>
                  </a:lnTo>
                  <a:lnTo>
                    <a:pt x="2" y="75"/>
                  </a:lnTo>
                  <a:lnTo>
                    <a:pt x="2" y="75"/>
                  </a:lnTo>
                  <a:lnTo>
                    <a:pt x="2" y="75"/>
                  </a:lnTo>
                  <a:lnTo>
                    <a:pt x="2" y="75"/>
                  </a:lnTo>
                  <a:lnTo>
                    <a:pt x="2" y="72"/>
                  </a:lnTo>
                  <a:lnTo>
                    <a:pt x="5" y="72"/>
                  </a:lnTo>
                  <a:lnTo>
                    <a:pt x="5" y="72"/>
                  </a:lnTo>
                  <a:lnTo>
                    <a:pt x="5" y="72"/>
                  </a:lnTo>
                  <a:lnTo>
                    <a:pt x="5" y="72"/>
                  </a:lnTo>
                  <a:lnTo>
                    <a:pt x="7" y="72"/>
                  </a:lnTo>
                  <a:lnTo>
                    <a:pt x="7" y="70"/>
                  </a:lnTo>
                  <a:lnTo>
                    <a:pt x="5" y="70"/>
                  </a:lnTo>
                  <a:lnTo>
                    <a:pt x="5" y="68"/>
                  </a:lnTo>
                  <a:lnTo>
                    <a:pt x="5" y="68"/>
                  </a:lnTo>
                  <a:lnTo>
                    <a:pt x="5" y="65"/>
                  </a:lnTo>
                  <a:lnTo>
                    <a:pt x="5" y="65"/>
                  </a:lnTo>
                  <a:lnTo>
                    <a:pt x="5" y="65"/>
                  </a:lnTo>
                  <a:lnTo>
                    <a:pt x="7" y="63"/>
                  </a:lnTo>
                  <a:lnTo>
                    <a:pt x="7" y="63"/>
                  </a:lnTo>
                  <a:lnTo>
                    <a:pt x="7" y="63"/>
                  </a:lnTo>
                  <a:lnTo>
                    <a:pt x="7" y="61"/>
                  </a:lnTo>
                  <a:lnTo>
                    <a:pt x="7" y="61"/>
                  </a:lnTo>
                  <a:lnTo>
                    <a:pt x="7" y="61"/>
                  </a:lnTo>
                  <a:lnTo>
                    <a:pt x="7" y="61"/>
                  </a:lnTo>
                  <a:lnTo>
                    <a:pt x="7" y="61"/>
                  </a:lnTo>
                  <a:lnTo>
                    <a:pt x="9" y="61"/>
                  </a:lnTo>
                  <a:lnTo>
                    <a:pt x="9" y="61"/>
                  </a:lnTo>
                  <a:lnTo>
                    <a:pt x="9" y="58"/>
                  </a:lnTo>
                  <a:lnTo>
                    <a:pt x="9" y="58"/>
                  </a:lnTo>
                  <a:lnTo>
                    <a:pt x="9" y="58"/>
                  </a:lnTo>
                  <a:lnTo>
                    <a:pt x="9" y="58"/>
                  </a:lnTo>
                  <a:lnTo>
                    <a:pt x="9" y="56"/>
                  </a:lnTo>
                  <a:lnTo>
                    <a:pt x="9" y="56"/>
                  </a:lnTo>
                  <a:lnTo>
                    <a:pt x="9" y="56"/>
                  </a:lnTo>
                  <a:lnTo>
                    <a:pt x="9" y="56"/>
                  </a:lnTo>
                  <a:lnTo>
                    <a:pt x="9" y="56"/>
                  </a:lnTo>
                  <a:lnTo>
                    <a:pt x="9" y="54"/>
                  </a:lnTo>
                  <a:lnTo>
                    <a:pt x="9" y="54"/>
                  </a:lnTo>
                  <a:lnTo>
                    <a:pt x="9" y="54"/>
                  </a:lnTo>
                  <a:lnTo>
                    <a:pt x="12" y="51"/>
                  </a:lnTo>
                  <a:lnTo>
                    <a:pt x="14" y="49"/>
                  </a:lnTo>
                  <a:lnTo>
                    <a:pt x="14" y="49"/>
                  </a:lnTo>
                  <a:lnTo>
                    <a:pt x="14" y="49"/>
                  </a:lnTo>
                  <a:lnTo>
                    <a:pt x="12" y="49"/>
                  </a:lnTo>
                  <a:lnTo>
                    <a:pt x="12" y="47"/>
                  </a:lnTo>
                  <a:lnTo>
                    <a:pt x="12" y="47"/>
                  </a:lnTo>
                  <a:lnTo>
                    <a:pt x="14" y="47"/>
                  </a:lnTo>
                  <a:lnTo>
                    <a:pt x="14" y="47"/>
                  </a:lnTo>
                  <a:lnTo>
                    <a:pt x="14" y="47"/>
                  </a:lnTo>
                  <a:lnTo>
                    <a:pt x="14" y="47"/>
                  </a:lnTo>
                  <a:lnTo>
                    <a:pt x="14" y="47"/>
                  </a:lnTo>
                  <a:lnTo>
                    <a:pt x="14" y="47"/>
                  </a:lnTo>
                  <a:lnTo>
                    <a:pt x="14" y="44"/>
                  </a:lnTo>
                  <a:lnTo>
                    <a:pt x="14" y="44"/>
                  </a:lnTo>
                  <a:lnTo>
                    <a:pt x="14" y="44"/>
                  </a:lnTo>
                  <a:lnTo>
                    <a:pt x="14" y="42"/>
                  </a:lnTo>
                  <a:lnTo>
                    <a:pt x="14" y="42"/>
                  </a:lnTo>
                  <a:lnTo>
                    <a:pt x="14" y="42"/>
                  </a:lnTo>
                  <a:lnTo>
                    <a:pt x="14" y="42"/>
                  </a:lnTo>
                  <a:lnTo>
                    <a:pt x="14" y="40"/>
                  </a:lnTo>
                  <a:lnTo>
                    <a:pt x="16" y="40"/>
                  </a:lnTo>
                  <a:lnTo>
                    <a:pt x="16" y="40"/>
                  </a:lnTo>
                  <a:lnTo>
                    <a:pt x="16" y="40"/>
                  </a:lnTo>
                  <a:lnTo>
                    <a:pt x="16" y="37"/>
                  </a:lnTo>
                  <a:lnTo>
                    <a:pt x="14" y="37"/>
                  </a:lnTo>
                  <a:lnTo>
                    <a:pt x="14" y="35"/>
                  </a:lnTo>
                  <a:lnTo>
                    <a:pt x="16" y="35"/>
                  </a:lnTo>
                  <a:lnTo>
                    <a:pt x="16" y="35"/>
                  </a:lnTo>
                  <a:lnTo>
                    <a:pt x="16" y="35"/>
                  </a:lnTo>
                  <a:lnTo>
                    <a:pt x="16" y="35"/>
                  </a:lnTo>
                  <a:lnTo>
                    <a:pt x="16" y="35"/>
                  </a:lnTo>
                  <a:lnTo>
                    <a:pt x="16" y="35"/>
                  </a:lnTo>
                  <a:lnTo>
                    <a:pt x="16" y="35"/>
                  </a:lnTo>
                  <a:lnTo>
                    <a:pt x="16" y="33"/>
                  </a:lnTo>
                  <a:lnTo>
                    <a:pt x="16" y="33"/>
                  </a:lnTo>
                  <a:lnTo>
                    <a:pt x="16" y="33"/>
                  </a:lnTo>
                  <a:lnTo>
                    <a:pt x="16" y="33"/>
                  </a:lnTo>
                  <a:lnTo>
                    <a:pt x="16" y="33"/>
                  </a:lnTo>
                  <a:lnTo>
                    <a:pt x="16" y="33"/>
                  </a:lnTo>
                  <a:lnTo>
                    <a:pt x="19" y="33"/>
                  </a:lnTo>
                  <a:lnTo>
                    <a:pt x="16" y="30"/>
                  </a:lnTo>
                  <a:lnTo>
                    <a:pt x="16" y="30"/>
                  </a:lnTo>
                  <a:lnTo>
                    <a:pt x="16" y="30"/>
                  </a:lnTo>
                  <a:lnTo>
                    <a:pt x="16" y="28"/>
                  </a:lnTo>
                  <a:lnTo>
                    <a:pt x="16" y="28"/>
                  </a:lnTo>
                  <a:lnTo>
                    <a:pt x="16" y="28"/>
                  </a:lnTo>
                  <a:lnTo>
                    <a:pt x="19" y="28"/>
                  </a:lnTo>
                  <a:lnTo>
                    <a:pt x="19" y="28"/>
                  </a:lnTo>
                  <a:lnTo>
                    <a:pt x="19" y="28"/>
                  </a:lnTo>
                  <a:lnTo>
                    <a:pt x="19" y="30"/>
                  </a:lnTo>
                  <a:lnTo>
                    <a:pt x="19" y="30"/>
                  </a:lnTo>
                  <a:lnTo>
                    <a:pt x="19" y="28"/>
                  </a:lnTo>
                  <a:lnTo>
                    <a:pt x="19" y="28"/>
                  </a:lnTo>
                  <a:lnTo>
                    <a:pt x="21" y="28"/>
                  </a:lnTo>
                  <a:lnTo>
                    <a:pt x="21" y="28"/>
                  </a:lnTo>
                  <a:lnTo>
                    <a:pt x="26" y="28"/>
                  </a:lnTo>
                  <a:lnTo>
                    <a:pt x="28" y="28"/>
                  </a:lnTo>
                  <a:lnTo>
                    <a:pt x="33" y="26"/>
                  </a:lnTo>
                  <a:lnTo>
                    <a:pt x="37" y="26"/>
                  </a:lnTo>
                  <a:lnTo>
                    <a:pt x="42" y="26"/>
                  </a:lnTo>
                  <a:lnTo>
                    <a:pt x="47" y="26"/>
                  </a:lnTo>
                  <a:lnTo>
                    <a:pt x="51" y="26"/>
                  </a:lnTo>
                  <a:lnTo>
                    <a:pt x="56" y="26"/>
                  </a:lnTo>
                  <a:lnTo>
                    <a:pt x="56" y="23"/>
                  </a:lnTo>
                  <a:lnTo>
                    <a:pt x="56" y="23"/>
                  </a:lnTo>
                  <a:lnTo>
                    <a:pt x="56" y="23"/>
                  </a:lnTo>
                  <a:lnTo>
                    <a:pt x="56" y="21"/>
                  </a:lnTo>
                  <a:lnTo>
                    <a:pt x="53" y="19"/>
                  </a:lnTo>
                  <a:lnTo>
                    <a:pt x="53" y="19"/>
                  </a:lnTo>
                  <a:lnTo>
                    <a:pt x="53" y="19"/>
                  </a:lnTo>
                  <a:lnTo>
                    <a:pt x="53" y="19"/>
                  </a:lnTo>
                  <a:lnTo>
                    <a:pt x="53" y="19"/>
                  </a:lnTo>
                  <a:lnTo>
                    <a:pt x="56" y="19"/>
                  </a:lnTo>
                  <a:lnTo>
                    <a:pt x="58" y="19"/>
                  </a:lnTo>
                  <a:lnTo>
                    <a:pt x="60" y="19"/>
                  </a:lnTo>
                  <a:lnTo>
                    <a:pt x="60" y="19"/>
                  </a:lnTo>
                  <a:lnTo>
                    <a:pt x="60" y="19"/>
                  </a:lnTo>
                  <a:lnTo>
                    <a:pt x="60" y="19"/>
                  </a:lnTo>
                  <a:lnTo>
                    <a:pt x="60" y="19"/>
                  </a:lnTo>
                  <a:lnTo>
                    <a:pt x="60" y="19"/>
                  </a:lnTo>
                  <a:lnTo>
                    <a:pt x="60" y="19"/>
                  </a:lnTo>
                  <a:lnTo>
                    <a:pt x="60" y="19"/>
                  </a:lnTo>
                  <a:lnTo>
                    <a:pt x="63" y="19"/>
                  </a:lnTo>
                  <a:lnTo>
                    <a:pt x="63" y="19"/>
                  </a:lnTo>
                  <a:lnTo>
                    <a:pt x="65" y="19"/>
                  </a:lnTo>
                  <a:lnTo>
                    <a:pt x="65" y="19"/>
                  </a:lnTo>
                  <a:lnTo>
                    <a:pt x="67" y="19"/>
                  </a:lnTo>
                  <a:lnTo>
                    <a:pt x="72" y="19"/>
                  </a:lnTo>
                  <a:lnTo>
                    <a:pt x="74" y="19"/>
                  </a:lnTo>
                  <a:lnTo>
                    <a:pt x="77" y="19"/>
                  </a:lnTo>
                  <a:lnTo>
                    <a:pt x="79" y="19"/>
                  </a:lnTo>
                  <a:lnTo>
                    <a:pt x="81" y="16"/>
                  </a:lnTo>
                  <a:lnTo>
                    <a:pt x="86" y="16"/>
                  </a:lnTo>
                  <a:lnTo>
                    <a:pt x="88" y="16"/>
                  </a:lnTo>
                  <a:lnTo>
                    <a:pt x="88" y="16"/>
                  </a:lnTo>
                  <a:lnTo>
                    <a:pt x="91" y="16"/>
                  </a:lnTo>
                  <a:lnTo>
                    <a:pt x="91" y="16"/>
                  </a:lnTo>
                  <a:lnTo>
                    <a:pt x="93" y="16"/>
                  </a:lnTo>
                  <a:lnTo>
                    <a:pt x="93" y="16"/>
                  </a:lnTo>
                  <a:lnTo>
                    <a:pt x="93" y="16"/>
                  </a:lnTo>
                  <a:lnTo>
                    <a:pt x="95" y="16"/>
                  </a:lnTo>
                  <a:lnTo>
                    <a:pt x="95" y="16"/>
                  </a:lnTo>
                  <a:lnTo>
                    <a:pt x="98" y="16"/>
                  </a:lnTo>
                  <a:lnTo>
                    <a:pt x="98" y="16"/>
                  </a:lnTo>
                  <a:lnTo>
                    <a:pt x="102" y="16"/>
                  </a:lnTo>
                  <a:lnTo>
                    <a:pt x="105" y="16"/>
                  </a:lnTo>
                  <a:lnTo>
                    <a:pt x="112" y="14"/>
                  </a:lnTo>
                  <a:lnTo>
                    <a:pt x="116" y="14"/>
                  </a:lnTo>
                  <a:lnTo>
                    <a:pt x="121" y="14"/>
                  </a:lnTo>
                  <a:lnTo>
                    <a:pt x="130" y="12"/>
                  </a:lnTo>
                  <a:lnTo>
                    <a:pt x="137" y="12"/>
                  </a:lnTo>
                  <a:lnTo>
                    <a:pt x="142" y="12"/>
                  </a:lnTo>
                  <a:lnTo>
                    <a:pt x="149" y="12"/>
                  </a:lnTo>
                  <a:lnTo>
                    <a:pt x="154" y="9"/>
                  </a:lnTo>
                  <a:lnTo>
                    <a:pt x="158" y="9"/>
                  </a:lnTo>
                  <a:lnTo>
                    <a:pt x="161" y="9"/>
                  </a:lnTo>
                  <a:lnTo>
                    <a:pt x="163" y="9"/>
                  </a:lnTo>
                  <a:lnTo>
                    <a:pt x="165" y="9"/>
                  </a:lnTo>
                  <a:lnTo>
                    <a:pt x="165" y="9"/>
                  </a:lnTo>
                  <a:lnTo>
                    <a:pt x="168" y="9"/>
                  </a:lnTo>
                  <a:lnTo>
                    <a:pt x="168" y="9"/>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807">
              <a:extLst>
                <a:ext uri="{FF2B5EF4-FFF2-40B4-BE49-F238E27FC236}">
                  <a16:creationId xmlns:a16="http://schemas.microsoft.com/office/drawing/2014/main" id="{6B063DDC-4929-4584-9E64-14FD7B2BE6F7}"/>
                </a:ext>
              </a:extLst>
            </p:cNvPr>
            <p:cNvSpPr>
              <a:spLocks noEditPoints="1"/>
            </p:cNvSpPr>
            <p:nvPr/>
          </p:nvSpPr>
          <p:spPr bwMode="auto">
            <a:xfrm>
              <a:off x="7066756" y="4648201"/>
              <a:ext cx="320675" cy="180975"/>
            </a:xfrm>
            <a:custGeom>
              <a:avLst/>
              <a:gdLst>
                <a:gd name="T0" fmla="*/ 193 w 202"/>
                <a:gd name="T1" fmla="*/ 61 h 114"/>
                <a:gd name="T2" fmla="*/ 193 w 202"/>
                <a:gd name="T3" fmla="*/ 56 h 114"/>
                <a:gd name="T4" fmla="*/ 195 w 202"/>
                <a:gd name="T5" fmla="*/ 45 h 114"/>
                <a:gd name="T6" fmla="*/ 202 w 202"/>
                <a:gd name="T7" fmla="*/ 28 h 114"/>
                <a:gd name="T8" fmla="*/ 137 w 202"/>
                <a:gd name="T9" fmla="*/ 3 h 114"/>
                <a:gd name="T10" fmla="*/ 146 w 202"/>
                <a:gd name="T11" fmla="*/ 10 h 114"/>
                <a:gd name="T12" fmla="*/ 151 w 202"/>
                <a:gd name="T13" fmla="*/ 17 h 114"/>
                <a:gd name="T14" fmla="*/ 148 w 202"/>
                <a:gd name="T15" fmla="*/ 21 h 114"/>
                <a:gd name="T16" fmla="*/ 151 w 202"/>
                <a:gd name="T17" fmla="*/ 31 h 114"/>
                <a:gd name="T18" fmla="*/ 160 w 202"/>
                <a:gd name="T19" fmla="*/ 33 h 114"/>
                <a:gd name="T20" fmla="*/ 174 w 202"/>
                <a:gd name="T21" fmla="*/ 38 h 114"/>
                <a:gd name="T22" fmla="*/ 179 w 202"/>
                <a:gd name="T23" fmla="*/ 45 h 114"/>
                <a:gd name="T24" fmla="*/ 174 w 202"/>
                <a:gd name="T25" fmla="*/ 47 h 114"/>
                <a:gd name="T26" fmla="*/ 165 w 202"/>
                <a:gd name="T27" fmla="*/ 40 h 114"/>
                <a:gd name="T28" fmla="*/ 153 w 202"/>
                <a:gd name="T29" fmla="*/ 35 h 114"/>
                <a:gd name="T30" fmla="*/ 162 w 202"/>
                <a:gd name="T31" fmla="*/ 42 h 114"/>
                <a:gd name="T32" fmla="*/ 172 w 202"/>
                <a:gd name="T33" fmla="*/ 49 h 114"/>
                <a:gd name="T34" fmla="*/ 179 w 202"/>
                <a:gd name="T35" fmla="*/ 52 h 114"/>
                <a:gd name="T36" fmla="*/ 179 w 202"/>
                <a:gd name="T37" fmla="*/ 54 h 114"/>
                <a:gd name="T38" fmla="*/ 176 w 202"/>
                <a:gd name="T39" fmla="*/ 59 h 114"/>
                <a:gd name="T40" fmla="*/ 167 w 202"/>
                <a:gd name="T41" fmla="*/ 52 h 114"/>
                <a:gd name="T42" fmla="*/ 179 w 202"/>
                <a:gd name="T43" fmla="*/ 61 h 114"/>
                <a:gd name="T44" fmla="*/ 179 w 202"/>
                <a:gd name="T45" fmla="*/ 68 h 114"/>
                <a:gd name="T46" fmla="*/ 169 w 202"/>
                <a:gd name="T47" fmla="*/ 61 h 114"/>
                <a:gd name="T48" fmla="*/ 160 w 202"/>
                <a:gd name="T49" fmla="*/ 61 h 114"/>
                <a:gd name="T50" fmla="*/ 162 w 202"/>
                <a:gd name="T51" fmla="*/ 63 h 114"/>
                <a:gd name="T52" fmla="*/ 174 w 202"/>
                <a:gd name="T53" fmla="*/ 66 h 114"/>
                <a:gd name="T54" fmla="*/ 179 w 202"/>
                <a:gd name="T55" fmla="*/ 70 h 114"/>
                <a:gd name="T56" fmla="*/ 188 w 202"/>
                <a:gd name="T57" fmla="*/ 68 h 114"/>
                <a:gd name="T58" fmla="*/ 193 w 202"/>
                <a:gd name="T59" fmla="*/ 73 h 114"/>
                <a:gd name="T60" fmla="*/ 188 w 202"/>
                <a:gd name="T61" fmla="*/ 80 h 114"/>
                <a:gd name="T62" fmla="*/ 172 w 202"/>
                <a:gd name="T63" fmla="*/ 84 h 114"/>
                <a:gd name="T64" fmla="*/ 151 w 202"/>
                <a:gd name="T65" fmla="*/ 89 h 114"/>
                <a:gd name="T66" fmla="*/ 125 w 202"/>
                <a:gd name="T67" fmla="*/ 94 h 114"/>
                <a:gd name="T68" fmla="*/ 102 w 202"/>
                <a:gd name="T69" fmla="*/ 98 h 114"/>
                <a:gd name="T70" fmla="*/ 83 w 202"/>
                <a:gd name="T71" fmla="*/ 100 h 114"/>
                <a:gd name="T72" fmla="*/ 67 w 202"/>
                <a:gd name="T73" fmla="*/ 105 h 114"/>
                <a:gd name="T74" fmla="*/ 51 w 202"/>
                <a:gd name="T75" fmla="*/ 105 h 114"/>
                <a:gd name="T76" fmla="*/ 37 w 202"/>
                <a:gd name="T77" fmla="*/ 107 h 114"/>
                <a:gd name="T78" fmla="*/ 18 w 202"/>
                <a:gd name="T79" fmla="*/ 110 h 114"/>
                <a:gd name="T80" fmla="*/ 0 w 202"/>
                <a:gd name="T81" fmla="*/ 114 h 114"/>
                <a:gd name="T82" fmla="*/ 11 w 202"/>
                <a:gd name="T83" fmla="*/ 105 h 114"/>
                <a:gd name="T84" fmla="*/ 20 w 202"/>
                <a:gd name="T85" fmla="*/ 94 h 114"/>
                <a:gd name="T86" fmla="*/ 34 w 202"/>
                <a:gd name="T87" fmla="*/ 82 h 114"/>
                <a:gd name="T88" fmla="*/ 39 w 202"/>
                <a:gd name="T89" fmla="*/ 82 h 114"/>
                <a:gd name="T90" fmla="*/ 53 w 202"/>
                <a:gd name="T91" fmla="*/ 84 h 114"/>
                <a:gd name="T92" fmla="*/ 62 w 202"/>
                <a:gd name="T93" fmla="*/ 80 h 114"/>
                <a:gd name="T94" fmla="*/ 72 w 202"/>
                <a:gd name="T95" fmla="*/ 75 h 114"/>
                <a:gd name="T96" fmla="*/ 79 w 202"/>
                <a:gd name="T97" fmla="*/ 68 h 114"/>
                <a:gd name="T98" fmla="*/ 83 w 202"/>
                <a:gd name="T99" fmla="*/ 56 h 114"/>
                <a:gd name="T100" fmla="*/ 88 w 202"/>
                <a:gd name="T101" fmla="*/ 40 h 114"/>
                <a:gd name="T102" fmla="*/ 95 w 202"/>
                <a:gd name="T103" fmla="*/ 38 h 114"/>
                <a:gd name="T104" fmla="*/ 102 w 202"/>
                <a:gd name="T105" fmla="*/ 28 h 114"/>
                <a:gd name="T106" fmla="*/ 111 w 202"/>
                <a:gd name="T107" fmla="*/ 19 h 114"/>
                <a:gd name="T108" fmla="*/ 116 w 202"/>
                <a:gd name="T109" fmla="*/ 7 h 114"/>
                <a:gd name="T110" fmla="*/ 125 w 202"/>
                <a:gd name="T111" fmla="*/ 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2" h="114">
                  <a:moveTo>
                    <a:pt x="195" y="77"/>
                  </a:moveTo>
                  <a:lnTo>
                    <a:pt x="195" y="80"/>
                  </a:lnTo>
                  <a:lnTo>
                    <a:pt x="195" y="77"/>
                  </a:lnTo>
                  <a:close/>
                  <a:moveTo>
                    <a:pt x="193" y="59"/>
                  </a:moveTo>
                  <a:lnTo>
                    <a:pt x="193" y="56"/>
                  </a:lnTo>
                  <a:lnTo>
                    <a:pt x="193" y="59"/>
                  </a:lnTo>
                  <a:lnTo>
                    <a:pt x="193" y="61"/>
                  </a:lnTo>
                  <a:lnTo>
                    <a:pt x="190" y="61"/>
                  </a:lnTo>
                  <a:lnTo>
                    <a:pt x="193" y="61"/>
                  </a:lnTo>
                  <a:lnTo>
                    <a:pt x="193" y="59"/>
                  </a:lnTo>
                  <a:lnTo>
                    <a:pt x="190" y="59"/>
                  </a:lnTo>
                  <a:lnTo>
                    <a:pt x="190" y="56"/>
                  </a:lnTo>
                  <a:lnTo>
                    <a:pt x="190" y="54"/>
                  </a:lnTo>
                  <a:lnTo>
                    <a:pt x="193" y="56"/>
                  </a:lnTo>
                  <a:lnTo>
                    <a:pt x="190" y="56"/>
                  </a:lnTo>
                  <a:lnTo>
                    <a:pt x="193" y="59"/>
                  </a:lnTo>
                  <a:close/>
                  <a:moveTo>
                    <a:pt x="195" y="49"/>
                  </a:moveTo>
                  <a:lnTo>
                    <a:pt x="195" y="52"/>
                  </a:lnTo>
                  <a:lnTo>
                    <a:pt x="195" y="49"/>
                  </a:lnTo>
                  <a:close/>
                  <a:moveTo>
                    <a:pt x="195" y="47"/>
                  </a:moveTo>
                  <a:lnTo>
                    <a:pt x="195" y="45"/>
                  </a:lnTo>
                  <a:lnTo>
                    <a:pt x="195" y="47"/>
                  </a:lnTo>
                  <a:close/>
                  <a:moveTo>
                    <a:pt x="200" y="33"/>
                  </a:moveTo>
                  <a:lnTo>
                    <a:pt x="200" y="35"/>
                  </a:lnTo>
                  <a:lnTo>
                    <a:pt x="200" y="33"/>
                  </a:lnTo>
                  <a:lnTo>
                    <a:pt x="200" y="31"/>
                  </a:lnTo>
                  <a:lnTo>
                    <a:pt x="200" y="28"/>
                  </a:lnTo>
                  <a:lnTo>
                    <a:pt x="202" y="28"/>
                  </a:lnTo>
                  <a:lnTo>
                    <a:pt x="200" y="33"/>
                  </a:lnTo>
                  <a:close/>
                  <a:moveTo>
                    <a:pt x="130" y="7"/>
                  </a:moveTo>
                  <a:lnTo>
                    <a:pt x="130" y="5"/>
                  </a:lnTo>
                  <a:lnTo>
                    <a:pt x="130" y="3"/>
                  </a:lnTo>
                  <a:lnTo>
                    <a:pt x="132" y="3"/>
                  </a:lnTo>
                  <a:lnTo>
                    <a:pt x="135" y="3"/>
                  </a:lnTo>
                  <a:lnTo>
                    <a:pt x="137" y="3"/>
                  </a:lnTo>
                  <a:lnTo>
                    <a:pt x="139" y="3"/>
                  </a:lnTo>
                  <a:lnTo>
                    <a:pt x="139" y="5"/>
                  </a:lnTo>
                  <a:lnTo>
                    <a:pt x="137" y="5"/>
                  </a:lnTo>
                  <a:lnTo>
                    <a:pt x="139" y="7"/>
                  </a:lnTo>
                  <a:lnTo>
                    <a:pt x="141" y="7"/>
                  </a:lnTo>
                  <a:lnTo>
                    <a:pt x="144" y="7"/>
                  </a:lnTo>
                  <a:lnTo>
                    <a:pt x="146" y="10"/>
                  </a:lnTo>
                  <a:lnTo>
                    <a:pt x="148" y="10"/>
                  </a:lnTo>
                  <a:lnTo>
                    <a:pt x="148" y="12"/>
                  </a:lnTo>
                  <a:lnTo>
                    <a:pt x="151" y="12"/>
                  </a:lnTo>
                  <a:lnTo>
                    <a:pt x="151" y="14"/>
                  </a:lnTo>
                  <a:lnTo>
                    <a:pt x="151" y="17"/>
                  </a:lnTo>
                  <a:lnTo>
                    <a:pt x="153" y="17"/>
                  </a:lnTo>
                  <a:lnTo>
                    <a:pt x="151" y="17"/>
                  </a:lnTo>
                  <a:lnTo>
                    <a:pt x="151" y="19"/>
                  </a:lnTo>
                  <a:lnTo>
                    <a:pt x="148" y="19"/>
                  </a:lnTo>
                  <a:lnTo>
                    <a:pt x="151" y="19"/>
                  </a:lnTo>
                  <a:lnTo>
                    <a:pt x="151" y="21"/>
                  </a:lnTo>
                  <a:lnTo>
                    <a:pt x="148" y="21"/>
                  </a:lnTo>
                  <a:lnTo>
                    <a:pt x="148" y="19"/>
                  </a:lnTo>
                  <a:lnTo>
                    <a:pt x="148" y="21"/>
                  </a:lnTo>
                  <a:lnTo>
                    <a:pt x="148" y="24"/>
                  </a:lnTo>
                  <a:lnTo>
                    <a:pt x="146" y="26"/>
                  </a:lnTo>
                  <a:lnTo>
                    <a:pt x="148" y="28"/>
                  </a:lnTo>
                  <a:lnTo>
                    <a:pt x="146" y="28"/>
                  </a:lnTo>
                  <a:lnTo>
                    <a:pt x="148" y="28"/>
                  </a:lnTo>
                  <a:lnTo>
                    <a:pt x="148" y="31"/>
                  </a:lnTo>
                  <a:lnTo>
                    <a:pt x="151" y="31"/>
                  </a:lnTo>
                  <a:lnTo>
                    <a:pt x="151" y="28"/>
                  </a:lnTo>
                  <a:lnTo>
                    <a:pt x="153" y="28"/>
                  </a:lnTo>
                  <a:lnTo>
                    <a:pt x="155" y="28"/>
                  </a:lnTo>
                  <a:lnTo>
                    <a:pt x="155" y="31"/>
                  </a:lnTo>
                  <a:lnTo>
                    <a:pt x="158" y="31"/>
                  </a:lnTo>
                  <a:lnTo>
                    <a:pt x="158" y="33"/>
                  </a:lnTo>
                  <a:lnTo>
                    <a:pt x="160" y="33"/>
                  </a:lnTo>
                  <a:lnTo>
                    <a:pt x="162" y="33"/>
                  </a:lnTo>
                  <a:lnTo>
                    <a:pt x="165" y="33"/>
                  </a:lnTo>
                  <a:lnTo>
                    <a:pt x="167" y="33"/>
                  </a:lnTo>
                  <a:lnTo>
                    <a:pt x="169" y="33"/>
                  </a:lnTo>
                  <a:lnTo>
                    <a:pt x="169" y="35"/>
                  </a:lnTo>
                  <a:lnTo>
                    <a:pt x="172" y="35"/>
                  </a:lnTo>
                  <a:lnTo>
                    <a:pt x="174" y="38"/>
                  </a:lnTo>
                  <a:lnTo>
                    <a:pt x="176" y="38"/>
                  </a:lnTo>
                  <a:lnTo>
                    <a:pt x="179" y="38"/>
                  </a:lnTo>
                  <a:lnTo>
                    <a:pt x="179" y="40"/>
                  </a:lnTo>
                  <a:lnTo>
                    <a:pt x="176" y="40"/>
                  </a:lnTo>
                  <a:lnTo>
                    <a:pt x="176" y="42"/>
                  </a:lnTo>
                  <a:lnTo>
                    <a:pt x="176" y="45"/>
                  </a:lnTo>
                  <a:lnTo>
                    <a:pt x="179" y="45"/>
                  </a:lnTo>
                  <a:lnTo>
                    <a:pt x="176" y="45"/>
                  </a:lnTo>
                  <a:lnTo>
                    <a:pt x="176" y="47"/>
                  </a:lnTo>
                  <a:lnTo>
                    <a:pt x="179" y="47"/>
                  </a:lnTo>
                  <a:lnTo>
                    <a:pt x="176" y="47"/>
                  </a:lnTo>
                  <a:lnTo>
                    <a:pt x="174" y="47"/>
                  </a:lnTo>
                  <a:lnTo>
                    <a:pt x="174" y="45"/>
                  </a:lnTo>
                  <a:lnTo>
                    <a:pt x="174" y="47"/>
                  </a:lnTo>
                  <a:lnTo>
                    <a:pt x="172" y="47"/>
                  </a:lnTo>
                  <a:lnTo>
                    <a:pt x="172" y="45"/>
                  </a:lnTo>
                  <a:lnTo>
                    <a:pt x="169" y="45"/>
                  </a:lnTo>
                  <a:lnTo>
                    <a:pt x="169" y="42"/>
                  </a:lnTo>
                  <a:lnTo>
                    <a:pt x="167" y="42"/>
                  </a:lnTo>
                  <a:lnTo>
                    <a:pt x="165" y="42"/>
                  </a:lnTo>
                  <a:lnTo>
                    <a:pt x="165" y="40"/>
                  </a:lnTo>
                  <a:lnTo>
                    <a:pt x="162" y="40"/>
                  </a:lnTo>
                  <a:lnTo>
                    <a:pt x="160" y="40"/>
                  </a:lnTo>
                  <a:lnTo>
                    <a:pt x="160" y="38"/>
                  </a:lnTo>
                  <a:lnTo>
                    <a:pt x="160" y="35"/>
                  </a:lnTo>
                  <a:lnTo>
                    <a:pt x="158" y="35"/>
                  </a:lnTo>
                  <a:lnTo>
                    <a:pt x="155" y="35"/>
                  </a:lnTo>
                  <a:lnTo>
                    <a:pt x="153" y="35"/>
                  </a:lnTo>
                  <a:lnTo>
                    <a:pt x="155" y="35"/>
                  </a:lnTo>
                  <a:lnTo>
                    <a:pt x="158" y="35"/>
                  </a:lnTo>
                  <a:lnTo>
                    <a:pt x="158" y="38"/>
                  </a:lnTo>
                  <a:lnTo>
                    <a:pt x="160" y="38"/>
                  </a:lnTo>
                  <a:lnTo>
                    <a:pt x="160" y="40"/>
                  </a:lnTo>
                  <a:lnTo>
                    <a:pt x="162" y="40"/>
                  </a:lnTo>
                  <a:lnTo>
                    <a:pt x="162" y="42"/>
                  </a:lnTo>
                  <a:lnTo>
                    <a:pt x="165" y="42"/>
                  </a:lnTo>
                  <a:lnTo>
                    <a:pt x="165" y="45"/>
                  </a:lnTo>
                  <a:lnTo>
                    <a:pt x="167" y="45"/>
                  </a:lnTo>
                  <a:lnTo>
                    <a:pt x="169" y="45"/>
                  </a:lnTo>
                  <a:lnTo>
                    <a:pt x="169" y="47"/>
                  </a:lnTo>
                  <a:lnTo>
                    <a:pt x="172" y="47"/>
                  </a:lnTo>
                  <a:lnTo>
                    <a:pt x="172" y="49"/>
                  </a:lnTo>
                  <a:lnTo>
                    <a:pt x="174" y="49"/>
                  </a:lnTo>
                  <a:lnTo>
                    <a:pt x="174" y="47"/>
                  </a:lnTo>
                  <a:lnTo>
                    <a:pt x="176" y="49"/>
                  </a:lnTo>
                  <a:lnTo>
                    <a:pt x="179" y="49"/>
                  </a:lnTo>
                  <a:lnTo>
                    <a:pt x="176" y="49"/>
                  </a:lnTo>
                  <a:lnTo>
                    <a:pt x="176" y="52"/>
                  </a:lnTo>
                  <a:lnTo>
                    <a:pt x="179" y="52"/>
                  </a:lnTo>
                  <a:lnTo>
                    <a:pt x="179" y="49"/>
                  </a:lnTo>
                  <a:lnTo>
                    <a:pt x="181" y="52"/>
                  </a:lnTo>
                  <a:lnTo>
                    <a:pt x="179" y="52"/>
                  </a:lnTo>
                  <a:lnTo>
                    <a:pt x="181" y="52"/>
                  </a:lnTo>
                  <a:lnTo>
                    <a:pt x="181" y="54"/>
                  </a:lnTo>
                  <a:lnTo>
                    <a:pt x="181" y="56"/>
                  </a:lnTo>
                  <a:lnTo>
                    <a:pt x="179" y="54"/>
                  </a:lnTo>
                  <a:lnTo>
                    <a:pt x="176" y="54"/>
                  </a:lnTo>
                  <a:lnTo>
                    <a:pt x="176" y="56"/>
                  </a:lnTo>
                  <a:lnTo>
                    <a:pt x="179" y="56"/>
                  </a:lnTo>
                  <a:lnTo>
                    <a:pt x="176" y="56"/>
                  </a:lnTo>
                  <a:lnTo>
                    <a:pt x="179" y="56"/>
                  </a:lnTo>
                  <a:lnTo>
                    <a:pt x="179" y="59"/>
                  </a:lnTo>
                  <a:lnTo>
                    <a:pt x="176" y="59"/>
                  </a:lnTo>
                  <a:lnTo>
                    <a:pt x="176" y="61"/>
                  </a:lnTo>
                  <a:lnTo>
                    <a:pt x="176" y="59"/>
                  </a:lnTo>
                  <a:lnTo>
                    <a:pt x="174" y="59"/>
                  </a:lnTo>
                  <a:lnTo>
                    <a:pt x="172" y="56"/>
                  </a:lnTo>
                  <a:lnTo>
                    <a:pt x="169" y="56"/>
                  </a:lnTo>
                  <a:lnTo>
                    <a:pt x="169" y="54"/>
                  </a:lnTo>
                  <a:lnTo>
                    <a:pt x="167" y="52"/>
                  </a:lnTo>
                  <a:lnTo>
                    <a:pt x="167" y="54"/>
                  </a:lnTo>
                  <a:lnTo>
                    <a:pt x="169" y="56"/>
                  </a:lnTo>
                  <a:lnTo>
                    <a:pt x="172" y="56"/>
                  </a:lnTo>
                  <a:lnTo>
                    <a:pt x="172" y="59"/>
                  </a:lnTo>
                  <a:lnTo>
                    <a:pt x="174" y="61"/>
                  </a:lnTo>
                  <a:lnTo>
                    <a:pt x="176" y="61"/>
                  </a:lnTo>
                  <a:lnTo>
                    <a:pt x="179" y="61"/>
                  </a:lnTo>
                  <a:lnTo>
                    <a:pt x="181" y="61"/>
                  </a:lnTo>
                  <a:lnTo>
                    <a:pt x="181" y="63"/>
                  </a:lnTo>
                  <a:lnTo>
                    <a:pt x="183" y="63"/>
                  </a:lnTo>
                  <a:lnTo>
                    <a:pt x="183" y="66"/>
                  </a:lnTo>
                  <a:lnTo>
                    <a:pt x="181" y="66"/>
                  </a:lnTo>
                  <a:lnTo>
                    <a:pt x="181" y="68"/>
                  </a:lnTo>
                  <a:lnTo>
                    <a:pt x="179" y="68"/>
                  </a:lnTo>
                  <a:lnTo>
                    <a:pt x="179" y="66"/>
                  </a:lnTo>
                  <a:lnTo>
                    <a:pt x="176" y="66"/>
                  </a:lnTo>
                  <a:lnTo>
                    <a:pt x="174" y="66"/>
                  </a:lnTo>
                  <a:lnTo>
                    <a:pt x="174" y="63"/>
                  </a:lnTo>
                  <a:lnTo>
                    <a:pt x="172" y="61"/>
                  </a:lnTo>
                  <a:lnTo>
                    <a:pt x="169" y="63"/>
                  </a:lnTo>
                  <a:lnTo>
                    <a:pt x="169" y="61"/>
                  </a:lnTo>
                  <a:lnTo>
                    <a:pt x="167" y="61"/>
                  </a:lnTo>
                  <a:lnTo>
                    <a:pt x="167" y="59"/>
                  </a:lnTo>
                  <a:lnTo>
                    <a:pt x="167" y="61"/>
                  </a:lnTo>
                  <a:lnTo>
                    <a:pt x="165" y="63"/>
                  </a:lnTo>
                  <a:lnTo>
                    <a:pt x="165" y="61"/>
                  </a:lnTo>
                  <a:lnTo>
                    <a:pt x="162" y="61"/>
                  </a:lnTo>
                  <a:lnTo>
                    <a:pt x="160" y="61"/>
                  </a:lnTo>
                  <a:lnTo>
                    <a:pt x="158" y="61"/>
                  </a:lnTo>
                  <a:lnTo>
                    <a:pt x="155" y="61"/>
                  </a:lnTo>
                  <a:lnTo>
                    <a:pt x="155" y="63"/>
                  </a:lnTo>
                  <a:lnTo>
                    <a:pt x="158" y="63"/>
                  </a:lnTo>
                  <a:lnTo>
                    <a:pt x="160" y="61"/>
                  </a:lnTo>
                  <a:lnTo>
                    <a:pt x="160" y="63"/>
                  </a:lnTo>
                  <a:lnTo>
                    <a:pt x="162" y="63"/>
                  </a:lnTo>
                  <a:lnTo>
                    <a:pt x="162" y="61"/>
                  </a:lnTo>
                  <a:lnTo>
                    <a:pt x="165" y="61"/>
                  </a:lnTo>
                  <a:lnTo>
                    <a:pt x="165" y="63"/>
                  </a:lnTo>
                  <a:lnTo>
                    <a:pt x="167" y="63"/>
                  </a:lnTo>
                  <a:lnTo>
                    <a:pt x="169" y="63"/>
                  </a:lnTo>
                  <a:lnTo>
                    <a:pt x="172" y="63"/>
                  </a:lnTo>
                  <a:lnTo>
                    <a:pt x="174" y="66"/>
                  </a:lnTo>
                  <a:lnTo>
                    <a:pt x="172" y="66"/>
                  </a:lnTo>
                  <a:lnTo>
                    <a:pt x="174" y="68"/>
                  </a:lnTo>
                  <a:lnTo>
                    <a:pt x="176" y="68"/>
                  </a:lnTo>
                  <a:lnTo>
                    <a:pt x="179" y="68"/>
                  </a:lnTo>
                  <a:lnTo>
                    <a:pt x="179" y="70"/>
                  </a:lnTo>
                  <a:lnTo>
                    <a:pt x="179" y="73"/>
                  </a:lnTo>
                  <a:lnTo>
                    <a:pt x="179" y="70"/>
                  </a:lnTo>
                  <a:lnTo>
                    <a:pt x="181" y="70"/>
                  </a:lnTo>
                  <a:lnTo>
                    <a:pt x="183" y="70"/>
                  </a:lnTo>
                  <a:lnTo>
                    <a:pt x="183" y="68"/>
                  </a:lnTo>
                  <a:lnTo>
                    <a:pt x="181" y="68"/>
                  </a:lnTo>
                  <a:lnTo>
                    <a:pt x="183" y="68"/>
                  </a:lnTo>
                  <a:lnTo>
                    <a:pt x="186" y="68"/>
                  </a:lnTo>
                  <a:lnTo>
                    <a:pt x="188" y="68"/>
                  </a:lnTo>
                  <a:lnTo>
                    <a:pt x="190" y="68"/>
                  </a:lnTo>
                  <a:lnTo>
                    <a:pt x="193" y="70"/>
                  </a:lnTo>
                  <a:lnTo>
                    <a:pt x="197" y="77"/>
                  </a:lnTo>
                  <a:lnTo>
                    <a:pt x="195" y="77"/>
                  </a:lnTo>
                  <a:lnTo>
                    <a:pt x="195" y="75"/>
                  </a:lnTo>
                  <a:lnTo>
                    <a:pt x="195" y="73"/>
                  </a:lnTo>
                  <a:lnTo>
                    <a:pt x="193" y="73"/>
                  </a:lnTo>
                  <a:lnTo>
                    <a:pt x="193" y="77"/>
                  </a:lnTo>
                  <a:lnTo>
                    <a:pt x="195" y="80"/>
                  </a:lnTo>
                  <a:lnTo>
                    <a:pt x="193" y="80"/>
                  </a:lnTo>
                  <a:lnTo>
                    <a:pt x="193" y="77"/>
                  </a:lnTo>
                  <a:lnTo>
                    <a:pt x="193" y="80"/>
                  </a:lnTo>
                  <a:lnTo>
                    <a:pt x="190" y="80"/>
                  </a:lnTo>
                  <a:lnTo>
                    <a:pt x="188" y="80"/>
                  </a:lnTo>
                  <a:lnTo>
                    <a:pt x="186" y="80"/>
                  </a:lnTo>
                  <a:lnTo>
                    <a:pt x="183" y="82"/>
                  </a:lnTo>
                  <a:lnTo>
                    <a:pt x="181" y="82"/>
                  </a:lnTo>
                  <a:lnTo>
                    <a:pt x="179" y="82"/>
                  </a:lnTo>
                  <a:lnTo>
                    <a:pt x="176" y="82"/>
                  </a:lnTo>
                  <a:lnTo>
                    <a:pt x="174" y="84"/>
                  </a:lnTo>
                  <a:lnTo>
                    <a:pt x="172" y="84"/>
                  </a:lnTo>
                  <a:lnTo>
                    <a:pt x="169" y="84"/>
                  </a:lnTo>
                  <a:lnTo>
                    <a:pt x="167" y="84"/>
                  </a:lnTo>
                  <a:lnTo>
                    <a:pt x="165" y="87"/>
                  </a:lnTo>
                  <a:lnTo>
                    <a:pt x="160" y="87"/>
                  </a:lnTo>
                  <a:lnTo>
                    <a:pt x="158" y="87"/>
                  </a:lnTo>
                  <a:lnTo>
                    <a:pt x="155" y="87"/>
                  </a:lnTo>
                  <a:lnTo>
                    <a:pt x="151" y="89"/>
                  </a:lnTo>
                  <a:lnTo>
                    <a:pt x="148" y="89"/>
                  </a:lnTo>
                  <a:lnTo>
                    <a:pt x="146" y="89"/>
                  </a:lnTo>
                  <a:lnTo>
                    <a:pt x="141" y="91"/>
                  </a:lnTo>
                  <a:lnTo>
                    <a:pt x="137" y="91"/>
                  </a:lnTo>
                  <a:lnTo>
                    <a:pt x="135" y="91"/>
                  </a:lnTo>
                  <a:lnTo>
                    <a:pt x="130" y="94"/>
                  </a:lnTo>
                  <a:lnTo>
                    <a:pt x="125" y="94"/>
                  </a:lnTo>
                  <a:lnTo>
                    <a:pt x="123" y="94"/>
                  </a:lnTo>
                  <a:lnTo>
                    <a:pt x="118" y="96"/>
                  </a:lnTo>
                  <a:lnTo>
                    <a:pt x="114" y="96"/>
                  </a:lnTo>
                  <a:lnTo>
                    <a:pt x="111" y="96"/>
                  </a:lnTo>
                  <a:lnTo>
                    <a:pt x="109" y="98"/>
                  </a:lnTo>
                  <a:lnTo>
                    <a:pt x="104" y="98"/>
                  </a:lnTo>
                  <a:lnTo>
                    <a:pt x="102" y="98"/>
                  </a:lnTo>
                  <a:lnTo>
                    <a:pt x="100" y="98"/>
                  </a:lnTo>
                  <a:lnTo>
                    <a:pt x="97" y="100"/>
                  </a:lnTo>
                  <a:lnTo>
                    <a:pt x="93" y="100"/>
                  </a:lnTo>
                  <a:lnTo>
                    <a:pt x="90" y="100"/>
                  </a:lnTo>
                  <a:lnTo>
                    <a:pt x="88" y="100"/>
                  </a:lnTo>
                  <a:lnTo>
                    <a:pt x="86" y="100"/>
                  </a:lnTo>
                  <a:lnTo>
                    <a:pt x="83" y="100"/>
                  </a:lnTo>
                  <a:lnTo>
                    <a:pt x="81" y="103"/>
                  </a:lnTo>
                  <a:lnTo>
                    <a:pt x="79" y="103"/>
                  </a:lnTo>
                  <a:lnTo>
                    <a:pt x="76" y="103"/>
                  </a:lnTo>
                  <a:lnTo>
                    <a:pt x="74" y="103"/>
                  </a:lnTo>
                  <a:lnTo>
                    <a:pt x="72" y="103"/>
                  </a:lnTo>
                  <a:lnTo>
                    <a:pt x="69" y="103"/>
                  </a:lnTo>
                  <a:lnTo>
                    <a:pt x="67" y="105"/>
                  </a:lnTo>
                  <a:lnTo>
                    <a:pt x="65" y="105"/>
                  </a:lnTo>
                  <a:lnTo>
                    <a:pt x="62" y="105"/>
                  </a:lnTo>
                  <a:lnTo>
                    <a:pt x="60" y="105"/>
                  </a:lnTo>
                  <a:lnTo>
                    <a:pt x="58" y="105"/>
                  </a:lnTo>
                  <a:lnTo>
                    <a:pt x="55" y="105"/>
                  </a:lnTo>
                  <a:lnTo>
                    <a:pt x="53" y="105"/>
                  </a:lnTo>
                  <a:lnTo>
                    <a:pt x="51" y="105"/>
                  </a:lnTo>
                  <a:lnTo>
                    <a:pt x="48" y="105"/>
                  </a:lnTo>
                  <a:lnTo>
                    <a:pt x="46" y="105"/>
                  </a:lnTo>
                  <a:lnTo>
                    <a:pt x="44" y="105"/>
                  </a:lnTo>
                  <a:lnTo>
                    <a:pt x="44" y="107"/>
                  </a:lnTo>
                  <a:lnTo>
                    <a:pt x="41" y="107"/>
                  </a:lnTo>
                  <a:lnTo>
                    <a:pt x="39" y="107"/>
                  </a:lnTo>
                  <a:lnTo>
                    <a:pt x="37" y="107"/>
                  </a:lnTo>
                  <a:lnTo>
                    <a:pt x="34" y="107"/>
                  </a:lnTo>
                  <a:lnTo>
                    <a:pt x="30" y="110"/>
                  </a:lnTo>
                  <a:lnTo>
                    <a:pt x="27" y="110"/>
                  </a:lnTo>
                  <a:lnTo>
                    <a:pt x="25" y="110"/>
                  </a:lnTo>
                  <a:lnTo>
                    <a:pt x="23" y="110"/>
                  </a:lnTo>
                  <a:lnTo>
                    <a:pt x="20" y="110"/>
                  </a:lnTo>
                  <a:lnTo>
                    <a:pt x="18" y="110"/>
                  </a:lnTo>
                  <a:lnTo>
                    <a:pt x="16" y="112"/>
                  </a:lnTo>
                  <a:lnTo>
                    <a:pt x="11" y="112"/>
                  </a:lnTo>
                  <a:lnTo>
                    <a:pt x="9" y="112"/>
                  </a:lnTo>
                  <a:lnTo>
                    <a:pt x="7" y="112"/>
                  </a:lnTo>
                  <a:lnTo>
                    <a:pt x="4" y="112"/>
                  </a:lnTo>
                  <a:lnTo>
                    <a:pt x="2" y="112"/>
                  </a:lnTo>
                  <a:lnTo>
                    <a:pt x="0" y="114"/>
                  </a:lnTo>
                  <a:lnTo>
                    <a:pt x="0" y="112"/>
                  </a:lnTo>
                  <a:lnTo>
                    <a:pt x="2" y="110"/>
                  </a:lnTo>
                  <a:lnTo>
                    <a:pt x="4" y="110"/>
                  </a:lnTo>
                  <a:lnTo>
                    <a:pt x="7" y="110"/>
                  </a:lnTo>
                  <a:lnTo>
                    <a:pt x="9" y="107"/>
                  </a:lnTo>
                  <a:lnTo>
                    <a:pt x="11" y="107"/>
                  </a:lnTo>
                  <a:lnTo>
                    <a:pt x="11" y="105"/>
                  </a:lnTo>
                  <a:lnTo>
                    <a:pt x="13" y="105"/>
                  </a:lnTo>
                  <a:lnTo>
                    <a:pt x="13" y="103"/>
                  </a:lnTo>
                  <a:lnTo>
                    <a:pt x="16" y="103"/>
                  </a:lnTo>
                  <a:lnTo>
                    <a:pt x="18" y="100"/>
                  </a:lnTo>
                  <a:lnTo>
                    <a:pt x="18" y="98"/>
                  </a:lnTo>
                  <a:lnTo>
                    <a:pt x="20" y="96"/>
                  </a:lnTo>
                  <a:lnTo>
                    <a:pt x="20" y="94"/>
                  </a:lnTo>
                  <a:lnTo>
                    <a:pt x="23" y="91"/>
                  </a:lnTo>
                  <a:lnTo>
                    <a:pt x="25" y="91"/>
                  </a:lnTo>
                  <a:lnTo>
                    <a:pt x="27" y="89"/>
                  </a:lnTo>
                  <a:lnTo>
                    <a:pt x="30" y="87"/>
                  </a:lnTo>
                  <a:lnTo>
                    <a:pt x="32" y="84"/>
                  </a:lnTo>
                  <a:lnTo>
                    <a:pt x="32" y="82"/>
                  </a:lnTo>
                  <a:lnTo>
                    <a:pt x="34" y="82"/>
                  </a:lnTo>
                  <a:lnTo>
                    <a:pt x="37" y="80"/>
                  </a:lnTo>
                  <a:lnTo>
                    <a:pt x="37" y="77"/>
                  </a:lnTo>
                  <a:lnTo>
                    <a:pt x="39" y="77"/>
                  </a:lnTo>
                  <a:lnTo>
                    <a:pt x="39" y="80"/>
                  </a:lnTo>
                  <a:lnTo>
                    <a:pt x="37" y="80"/>
                  </a:lnTo>
                  <a:lnTo>
                    <a:pt x="39" y="80"/>
                  </a:lnTo>
                  <a:lnTo>
                    <a:pt x="39" y="82"/>
                  </a:lnTo>
                  <a:lnTo>
                    <a:pt x="41" y="84"/>
                  </a:lnTo>
                  <a:lnTo>
                    <a:pt x="44" y="84"/>
                  </a:lnTo>
                  <a:lnTo>
                    <a:pt x="46" y="87"/>
                  </a:lnTo>
                  <a:lnTo>
                    <a:pt x="48" y="87"/>
                  </a:lnTo>
                  <a:lnTo>
                    <a:pt x="51" y="87"/>
                  </a:lnTo>
                  <a:lnTo>
                    <a:pt x="51" y="84"/>
                  </a:lnTo>
                  <a:lnTo>
                    <a:pt x="53" y="84"/>
                  </a:lnTo>
                  <a:lnTo>
                    <a:pt x="53" y="82"/>
                  </a:lnTo>
                  <a:lnTo>
                    <a:pt x="55" y="82"/>
                  </a:lnTo>
                  <a:lnTo>
                    <a:pt x="58" y="82"/>
                  </a:lnTo>
                  <a:lnTo>
                    <a:pt x="58" y="84"/>
                  </a:lnTo>
                  <a:lnTo>
                    <a:pt x="60" y="82"/>
                  </a:lnTo>
                  <a:lnTo>
                    <a:pt x="62" y="82"/>
                  </a:lnTo>
                  <a:lnTo>
                    <a:pt x="62" y="80"/>
                  </a:lnTo>
                  <a:lnTo>
                    <a:pt x="65" y="80"/>
                  </a:lnTo>
                  <a:lnTo>
                    <a:pt x="65" y="82"/>
                  </a:lnTo>
                  <a:lnTo>
                    <a:pt x="67" y="80"/>
                  </a:lnTo>
                  <a:lnTo>
                    <a:pt x="65" y="77"/>
                  </a:lnTo>
                  <a:lnTo>
                    <a:pt x="67" y="77"/>
                  </a:lnTo>
                  <a:lnTo>
                    <a:pt x="69" y="77"/>
                  </a:lnTo>
                  <a:lnTo>
                    <a:pt x="72" y="75"/>
                  </a:lnTo>
                  <a:lnTo>
                    <a:pt x="74" y="75"/>
                  </a:lnTo>
                  <a:lnTo>
                    <a:pt x="74" y="73"/>
                  </a:lnTo>
                  <a:lnTo>
                    <a:pt x="76" y="73"/>
                  </a:lnTo>
                  <a:lnTo>
                    <a:pt x="76" y="75"/>
                  </a:lnTo>
                  <a:lnTo>
                    <a:pt x="76" y="73"/>
                  </a:lnTo>
                  <a:lnTo>
                    <a:pt x="79" y="70"/>
                  </a:lnTo>
                  <a:lnTo>
                    <a:pt x="79" y="68"/>
                  </a:lnTo>
                  <a:lnTo>
                    <a:pt x="81" y="68"/>
                  </a:lnTo>
                  <a:lnTo>
                    <a:pt x="79" y="66"/>
                  </a:lnTo>
                  <a:lnTo>
                    <a:pt x="79" y="63"/>
                  </a:lnTo>
                  <a:lnTo>
                    <a:pt x="81" y="63"/>
                  </a:lnTo>
                  <a:lnTo>
                    <a:pt x="81" y="61"/>
                  </a:lnTo>
                  <a:lnTo>
                    <a:pt x="81" y="59"/>
                  </a:lnTo>
                  <a:lnTo>
                    <a:pt x="83" y="56"/>
                  </a:lnTo>
                  <a:lnTo>
                    <a:pt x="83" y="54"/>
                  </a:lnTo>
                  <a:lnTo>
                    <a:pt x="86" y="52"/>
                  </a:lnTo>
                  <a:lnTo>
                    <a:pt x="86" y="49"/>
                  </a:lnTo>
                  <a:lnTo>
                    <a:pt x="86" y="47"/>
                  </a:lnTo>
                  <a:lnTo>
                    <a:pt x="88" y="45"/>
                  </a:lnTo>
                  <a:lnTo>
                    <a:pt x="88" y="42"/>
                  </a:lnTo>
                  <a:lnTo>
                    <a:pt x="88" y="40"/>
                  </a:lnTo>
                  <a:lnTo>
                    <a:pt x="88" y="38"/>
                  </a:lnTo>
                  <a:lnTo>
                    <a:pt x="90" y="38"/>
                  </a:lnTo>
                  <a:lnTo>
                    <a:pt x="90" y="35"/>
                  </a:lnTo>
                  <a:lnTo>
                    <a:pt x="90" y="33"/>
                  </a:lnTo>
                  <a:lnTo>
                    <a:pt x="93" y="35"/>
                  </a:lnTo>
                  <a:lnTo>
                    <a:pt x="93" y="38"/>
                  </a:lnTo>
                  <a:lnTo>
                    <a:pt x="95" y="38"/>
                  </a:lnTo>
                  <a:lnTo>
                    <a:pt x="97" y="38"/>
                  </a:lnTo>
                  <a:lnTo>
                    <a:pt x="100" y="38"/>
                  </a:lnTo>
                  <a:lnTo>
                    <a:pt x="100" y="35"/>
                  </a:lnTo>
                  <a:lnTo>
                    <a:pt x="102" y="35"/>
                  </a:lnTo>
                  <a:lnTo>
                    <a:pt x="102" y="33"/>
                  </a:lnTo>
                  <a:lnTo>
                    <a:pt x="102" y="31"/>
                  </a:lnTo>
                  <a:lnTo>
                    <a:pt x="102" y="28"/>
                  </a:lnTo>
                  <a:lnTo>
                    <a:pt x="102" y="26"/>
                  </a:lnTo>
                  <a:lnTo>
                    <a:pt x="104" y="24"/>
                  </a:lnTo>
                  <a:lnTo>
                    <a:pt x="107" y="24"/>
                  </a:lnTo>
                  <a:lnTo>
                    <a:pt x="109" y="24"/>
                  </a:lnTo>
                  <a:lnTo>
                    <a:pt x="109" y="21"/>
                  </a:lnTo>
                  <a:lnTo>
                    <a:pt x="109" y="19"/>
                  </a:lnTo>
                  <a:lnTo>
                    <a:pt x="111" y="19"/>
                  </a:lnTo>
                  <a:lnTo>
                    <a:pt x="111" y="17"/>
                  </a:lnTo>
                  <a:lnTo>
                    <a:pt x="114" y="17"/>
                  </a:lnTo>
                  <a:lnTo>
                    <a:pt x="114" y="14"/>
                  </a:lnTo>
                  <a:lnTo>
                    <a:pt x="114" y="12"/>
                  </a:lnTo>
                  <a:lnTo>
                    <a:pt x="116" y="12"/>
                  </a:lnTo>
                  <a:lnTo>
                    <a:pt x="116" y="10"/>
                  </a:lnTo>
                  <a:lnTo>
                    <a:pt x="116" y="7"/>
                  </a:lnTo>
                  <a:lnTo>
                    <a:pt x="116" y="5"/>
                  </a:lnTo>
                  <a:lnTo>
                    <a:pt x="116" y="3"/>
                  </a:lnTo>
                  <a:lnTo>
                    <a:pt x="116" y="0"/>
                  </a:lnTo>
                  <a:lnTo>
                    <a:pt x="118" y="3"/>
                  </a:lnTo>
                  <a:lnTo>
                    <a:pt x="121" y="3"/>
                  </a:lnTo>
                  <a:lnTo>
                    <a:pt x="123" y="5"/>
                  </a:lnTo>
                  <a:lnTo>
                    <a:pt x="125" y="5"/>
                  </a:lnTo>
                  <a:lnTo>
                    <a:pt x="128" y="7"/>
                  </a:lnTo>
                  <a:lnTo>
                    <a:pt x="130"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808">
              <a:extLst>
                <a:ext uri="{FF2B5EF4-FFF2-40B4-BE49-F238E27FC236}">
                  <a16:creationId xmlns:a16="http://schemas.microsoft.com/office/drawing/2014/main" id="{F03E339A-EBCB-42AB-A56C-3668C35E7A6D}"/>
                </a:ext>
              </a:extLst>
            </p:cNvPr>
            <p:cNvSpPr>
              <a:spLocks noEditPoints="1"/>
            </p:cNvSpPr>
            <p:nvPr/>
          </p:nvSpPr>
          <p:spPr bwMode="auto">
            <a:xfrm>
              <a:off x="6674644" y="4327526"/>
              <a:ext cx="214313" cy="233363"/>
            </a:xfrm>
            <a:custGeom>
              <a:avLst/>
              <a:gdLst>
                <a:gd name="T0" fmla="*/ 130 w 135"/>
                <a:gd name="T1" fmla="*/ 51 h 147"/>
                <a:gd name="T2" fmla="*/ 130 w 135"/>
                <a:gd name="T3" fmla="*/ 56 h 147"/>
                <a:gd name="T4" fmla="*/ 128 w 135"/>
                <a:gd name="T5" fmla="*/ 65 h 147"/>
                <a:gd name="T6" fmla="*/ 128 w 135"/>
                <a:gd name="T7" fmla="*/ 58 h 147"/>
                <a:gd name="T8" fmla="*/ 130 w 135"/>
                <a:gd name="T9" fmla="*/ 53 h 147"/>
                <a:gd name="T10" fmla="*/ 132 w 135"/>
                <a:gd name="T11" fmla="*/ 49 h 147"/>
                <a:gd name="T12" fmla="*/ 46 w 135"/>
                <a:gd name="T13" fmla="*/ 7 h 147"/>
                <a:gd name="T14" fmla="*/ 46 w 135"/>
                <a:gd name="T15" fmla="*/ 5 h 147"/>
                <a:gd name="T16" fmla="*/ 42 w 135"/>
                <a:gd name="T17" fmla="*/ 9 h 147"/>
                <a:gd name="T18" fmla="*/ 42 w 135"/>
                <a:gd name="T19" fmla="*/ 16 h 147"/>
                <a:gd name="T20" fmla="*/ 46 w 135"/>
                <a:gd name="T21" fmla="*/ 12 h 147"/>
                <a:gd name="T22" fmla="*/ 51 w 135"/>
                <a:gd name="T23" fmla="*/ 16 h 147"/>
                <a:gd name="T24" fmla="*/ 58 w 135"/>
                <a:gd name="T25" fmla="*/ 21 h 147"/>
                <a:gd name="T26" fmla="*/ 67 w 135"/>
                <a:gd name="T27" fmla="*/ 23 h 147"/>
                <a:gd name="T28" fmla="*/ 79 w 135"/>
                <a:gd name="T29" fmla="*/ 25 h 147"/>
                <a:gd name="T30" fmla="*/ 88 w 135"/>
                <a:gd name="T31" fmla="*/ 30 h 147"/>
                <a:gd name="T32" fmla="*/ 100 w 135"/>
                <a:gd name="T33" fmla="*/ 30 h 147"/>
                <a:gd name="T34" fmla="*/ 105 w 135"/>
                <a:gd name="T35" fmla="*/ 35 h 147"/>
                <a:gd name="T36" fmla="*/ 112 w 135"/>
                <a:gd name="T37" fmla="*/ 39 h 147"/>
                <a:gd name="T38" fmla="*/ 112 w 135"/>
                <a:gd name="T39" fmla="*/ 46 h 147"/>
                <a:gd name="T40" fmla="*/ 114 w 135"/>
                <a:gd name="T41" fmla="*/ 49 h 147"/>
                <a:gd name="T42" fmla="*/ 116 w 135"/>
                <a:gd name="T43" fmla="*/ 53 h 147"/>
                <a:gd name="T44" fmla="*/ 119 w 135"/>
                <a:gd name="T45" fmla="*/ 63 h 147"/>
                <a:gd name="T46" fmla="*/ 114 w 135"/>
                <a:gd name="T47" fmla="*/ 70 h 147"/>
                <a:gd name="T48" fmla="*/ 114 w 135"/>
                <a:gd name="T49" fmla="*/ 77 h 147"/>
                <a:gd name="T50" fmla="*/ 119 w 135"/>
                <a:gd name="T51" fmla="*/ 67 h 147"/>
                <a:gd name="T52" fmla="*/ 126 w 135"/>
                <a:gd name="T53" fmla="*/ 70 h 147"/>
                <a:gd name="T54" fmla="*/ 123 w 135"/>
                <a:gd name="T55" fmla="*/ 81 h 147"/>
                <a:gd name="T56" fmla="*/ 121 w 135"/>
                <a:gd name="T57" fmla="*/ 88 h 147"/>
                <a:gd name="T58" fmla="*/ 121 w 135"/>
                <a:gd name="T59" fmla="*/ 100 h 147"/>
                <a:gd name="T60" fmla="*/ 121 w 135"/>
                <a:gd name="T61" fmla="*/ 109 h 147"/>
                <a:gd name="T62" fmla="*/ 119 w 135"/>
                <a:gd name="T63" fmla="*/ 121 h 147"/>
                <a:gd name="T64" fmla="*/ 121 w 135"/>
                <a:gd name="T65" fmla="*/ 130 h 147"/>
                <a:gd name="T66" fmla="*/ 123 w 135"/>
                <a:gd name="T67" fmla="*/ 140 h 147"/>
                <a:gd name="T68" fmla="*/ 107 w 135"/>
                <a:gd name="T69" fmla="*/ 142 h 147"/>
                <a:gd name="T70" fmla="*/ 86 w 135"/>
                <a:gd name="T71" fmla="*/ 144 h 147"/>
                <a:gd name="T72" fmla="*/ 65 w 135"/>
                <a:gd name="T73" fmla="*/ 144 h 147"/>
                <a:gd name="T74" fmla="*/ 53 w 135"/>
                <a:gd name="T75" fmla="*/ 142 h 147"/>
                <a:gd name="T76" fmla="*/ 44 w 135"/>
                <a:gd name="T77" fmla="*/ 135 h 147"/>
                <a:gd name="T78" fmla="*/ 44 w 135"/>
                <a:gd name="T79" fmla="*/ 123 h 147"/>
                <a:gd name="T80" fmla="*/ 39 w 135"/>
                <a:gd name="T81" fmla="*/ 112 h 147"/>
                <a:gd name="T82" fmla="*/ 37 w 135"/>
                <a:gd name="T83" fmla="*/ 102 h 147"/>
                <a:gd name="T84" fmla="*/ 30 w 135"/>
                <a:gd name="T85" fmla="*/ 98 h 147"/>
                <a:gd name="T86" fmla="*/ 23 w 135"/>
                <a:gd name="T87" fmla="*/ 88 h 147"/>
                <a:gd name="T88" fmla="*/ 11 w 135"/>
                <a:gd name="T89" fmla="*/ 81 h 147"/>
                <a:gd name="T90" fmla="*/ 2 w 135"/>
                <a:gd name="T91" fmla="*/ 74 h 147"/>
                <a:gd name="T92" fmla="*/ 2 w 135"/>
                <a:gd name="T93" fmla="*/ 63 h 147"/>
                <a:gd name="T94" fmla="*/ 4 w 135"/>
                <a:gd name="T95" fmla="*/ 53 h 147"/>
                <a:gd name="T96" fmla="*/ 0 w 135"/>
                <a:gd name="T97" fmla="*/ 46 h 147"/>
                <a:gd name="T98" fmla="*/ 4 w 135"/>
                <a:gd name="T99" fmla="*/ 37 h 147"/>
                <a:gd name="T100" fmla="*/ 11 w 135"/>
                <a:gd name="T101" fmla="*/ 32 h 147"/>
                <a:gd name="T102" fmla="*/ 11 w 135"/>
                <a:gd name="T103" fmla="*/ 21 h 147"/>
                <a:gd name="T104" fmla="*/ 14 w 135"/>
                <a:gd name="T105" fmla="*/ 12 h 147"/>
                <a:gd name="T106" fmla="*/ 28 w 135"/>
                <a:gd name="T107" fmla="*/ 12 h 147"/>
                <a:gd name="T108" fmla="*/ 37 w 135"/>
                <a:gd name="T109" fmla="*/ 7 h 147"/>
                <a:gd name="T110" fmla="*/ 46 w 135"/>
                <a:gd name="T111" fmla="*/ 5 h 147"/>
                <a:gd name="T112" fmla="*/ 42 w 135"/>
                <a:gd name="T113" fmla="*/ 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5" h="147">
                  <a:moveTo>
                    <a:pt x="130" y="51"/>
                  </a:moveTo>
                  <a:lnTo>
                    <a:pt x="132" y="51"/>
                  </a:lnTo>
                  <a:lnTo>
                    <a:pt x="132" y="53"/>
                  </a:lnTo>
                  <a:lnTo>
                    <a:pt x="132" y="51"/>
                  </a:lnTo>
                  <a:lnTo>
                    <a:pt x="130" y="51"/>
                  </a:lnTo>
                  <a:lnTo>
                    <a:pt x="132" y="53"/>
                  </a:lnTo>
                  <a:lnTo>
                    <a:pt x="132" y="56"/>
                  </a:lnTo>
                  <a:lnTo>
                    <a:pt x="130" y="56"/>
                  </a:lnTo>
                  <a:lnTo>
                    <a:pt x="132" y="56"/>
                  </a:lnTo>
                  <a:lnTo>
                    <a:pt x="130" y="56"/>
                  </a:lnTo>
                  <a:lnTo>
                    <a:pt x="130" y="58"/>
                  </a:lnTo>
                  <a:lnTo>
                    <a:pt x="130" y="60"/>
                  </a:lnTo>
                  <a:lnTo>
                    <a:pt x="130" y="63"/>
                  </a:lnTo>
                  <a:lnTo>
                    <a:pt x="128" y="63"/>
                  </a:lnTo>
                  <a:lnTo>
                    <a:pt x="128" y="65"/>
                  </a:lnTo>
                  <a:lnTo>
                    <a:pt x="126" y="65"/>
                  </a:lnTo>
                  <a:lnTo>
                    <a:pt x="126" y="63"/>
                  </a:lnTo>
                  <a:lnTo>
                    <a:pt x="126" y="60"/>
                  </a:lnTo>
                  <a:lnTo>
                    <a:pt x="126" y="58"/>
                  </a:lnTo>
                  <a:lnTo>
                    <a:pt x="128" y="58"/>
                  </a:lnTo>
                  <a:lnTo>
                    <a:pt x="128" y="56"/>
                  </a:lnTo>
                  <a:lnTo>
                    <a:pt x="128" y="53"/>
                  </a:lnTo>
                  <a:lnTo>
                    <a:pt x="128" y="56"/>
                  </a:lnTo>
                  <a:lnTo>
                    <a:pt x="128" y="53"/>
                  </a:lnTo>
                  <a:lnTo>
                    <a:pt x="130" y="53"/>
                  </a:lnTo>
                  <a:lnTo>
                    <a:pt x="130" y="51"/>
                  </a:lnTo>
                  <a:close/>
                  <a:moveTo>
                    <a:pt x="132" y="46"/>
                  </a:moveTo>
                  <a:lnTo>
                    <a:pt x="135" y="46"/>
                  </a:lnTo>
                  <a:lnTo>
                    <a:pt x="135" y="49"/>
                  </a:lnTo>
                  <a:lnTo>
                    <a:pt x="132" y="49"/>
                  </a:lnTo>
                  <a:lnTo>
                    <a:pt x="132" y="46"/>
                  </a:lnTo>
                  <a:close/>
                  <a:moveTo>
                    <a:pt x="46" y="9"/>
                  </a:moveTo>
                  <a:lnTo>
                    <a:pt x="44" y="12"/>
                  </a:lnTo>
                  <a:lnTo>
                    <a:pt x="44" y="9"/>
                  </a:lnTo>
                  <a:lnTo>
                    <a:pt x="46" y="7"/>
                  </a:lnTo>
                  <a:lnTo>
                    <a:pt x="49" y="7"/>
                  </a:lnTo>
                  <a:lnTo>
                    <a:pt x="46" y="7"/>
                  </a:lnTo>
                  <a:lnTo>
                    <a:pt x="46" y="9"/>
                  </a:lnTo>
                  <a:close/>
                  <a:moveTo>
                    <a:pt x="49" y="5"/>
                  </a:moveTo>
                  <a:lnTo>
                    <a:pt x="46" y="5"/>
                  </a:lnTo>
                  <a:lnTo>
                    <a:pt x="49" y="5"/>
                  </a:lnTo>
                  <a:close/>
                  <a:moveTo>
                    <a:pt x="44" y="5"/>
                  </a:moveTo>
                  <a:lnTo>
                    <a:pt x="44" y="7"/>
                  </a:lnTo>
                  <a:lnTo>
                    <a:pt x="44" y="9"/>
                  </a:lnTo>
                  <a:lnTo>
                    <a:pt x="42" y="9"/>
                  </a:lnTo>
                  <a:lnTo>
                    <a:pt x="42" y="12"/>
                  </a:lnTo>
                  <a:lnTo>
                    <a:pt x="44" y="12"/>
                  </a:lnTo>
                  <a:lnTo>
                    <a:pt x="42" y="12"/>
                  </a:lnTo>
                  <a:lnTo>
                    <a:pt x="42" y="14"/>
                  </a:lnTo>
                  <a:lnTo>
                    <a:pt x="42" y="16"/>
                  </a:lnTo>
                  <a:lnTo>
                    <a:pt x="44" y="14"/>
                  </a:lnTo>
                  <a:lnTo>
                    <a:pt x="46" y="14"/>
                  </a:lnTo>
                  <a:lnTo>
                    <a:pt x="44" y="14"/>
                  </a:lnTo>
                  <a:lnTo>
                    <a:pt x="46" y="14"/>
                  </a:lnTo>
                  <a:lnTo>
                    <a:pt x="46" y="12"/>
                  </a:lnTo>
                  <a:lnTo>
                    <a:pt x="44" y="12"/>
                  </a:lnTo>
                  <a:lnTo>
                    <a:pt x="46" y="12"/>
                  </a:lnTo>
                  <a:lnTo>
                    <a:pt x="46" y="14"/>
                  </a:lnTo>
                  <a:lnTo>
                    <a:pt x="49" y="14"/>
                  </a:lnTo>
                  <a:lnTo>
                    <a:pt x="51" y="16"/>
                  </a:lnTo>
                  <a:lnTo>
                    <a:pt x="53" y="16"/>
                  </a:lnTo>
                  <a:lnTo>
                    <a:pt x="56" y="16"/>
                  </a:lnTo>
                  <a:lnTo>
                    <a:pt x="56" y="18"/>
                  </a:lnTo>
                  <a:lnTo>
                    <a:pt x="58" y="18"/>
                  </a:lnTo>
                  <a:lnTo>
                    <a:pt x="58" y="21"/>
                  </a:lnTo>
                  <a:lnTo>
                    <a:pt x="60" y="21"/>
                  </a:lnTo>
                  <a:lnTo>
                    <a:pt x="60" y="23"/>
                  </a:lnTo>
                  <a:lnTo>
                    <a:pt x="63" y="23"/>
                  </a:lnTo>
                  <a:lnTo>
                    <a:pt x="65" y="23"/>
                  </a:lnTo>
                  <a:lnTo>
                    <a:pt x="67" y="23"/>
                  </a:lnTo>
                  <a:lnTo>
                    <a:pt x="70" y="25"/>
                  </a:lnTo>
                  <a:lnTo>
                    <a:pt x="72" y="25"/>
                  </a:lnTo>
                  <a:lnTo>
                    <a:pt x="74" y="25"/>
                  </a:lnTo>
                  <a:lnTo>
                    <a:pt x="77" y="25"/>
                  </a:lnTo>
                  <a:lnTo>
                    <a:pt x="79" y="25"/>
                  </a:lnTo>
                  <a:lnTo>
                    <a:pt x="79" y="28"/>
                  </a:lnTo>
                  <a:lnTo>
                    <a:pt x="81" y="28"/>
                  </a:lnTo>
                  <a:lnTo>
                    <a:pt x="84" y="28"/>
                  </a:lnTo>
                  <a:lnTo>
                    <a:pt x="86" y="28"/>
                  </a:lnTo>
                  <a:lnTo>
                    <a:pt x="88" y="30"/>
                  </a:lnTo>
                  <a:lnTo>
                    <a:pt x="91" y="30"/>
                  </a:lnTo>
                  <a:lnTo>
                    <a:pt x="93" y="30"/>
                  </a:lnTo>
                  <a:lnTo>
                    <a:pt x="95" y="30"/>
                  </a:lnTo>
                  <a:lnTo>
                    <a:pt x="98" y="30"/>
                  </a:lnTo>
                  <a:lnTo>
                    <a:pt x="100" y="30"/>
                  </a:lnTo>
                  <a:lnTo>
                    <a:pt x="100" y="32"/>
                  </a:lnTo>
                  <a:lnTo>
                    <a:pt x="102" y="32"/>
                  </a:lnTo>
                  <a:lnTo>
                    <a:pt x="105" y="32"/>
                  </a:lnTo>
                  <a:lnTo>
                    <a:pt x="107" y="35"/>
                  </a:lnTo>
                  <a:lnTo>
                    <a:pt x="105" y="35"/>
                  </a:lnTo>
                  <a:lnTo>
                    <a:pt x="105" y="37"/>
                  </a:lnTo>
                  <a:lnTo>
                    <a:pt x="107" y="37"/>
                  </a:lnTo>
                  <a:lnTo>
                    <a:pt x="109" y="37"/>
                  </a:lnTo>
                  <a:lnTo>
                    <a:pt x="112" y="37"/>
                  </a:lnTo>
                  <a:lnTo>
                    <a:pt x="112" y="39"/>
                  </a:lnTo>
                  <a:lnTo>
                    <a:pt x="114" y="39"/>
                  </a:lnTo>
                  <a:lnTo>
                    <a:pt x="114" y="42"/>
                  </a:lnTo>
                  <a:lnTo>
                    <a:pt x="114" y="44"/>
                  </a:lnTo>
                  <a:lnTo>
                    <a:pt x="114" y="46"/>
                  </a:lnTo>
                  <a:lnTo>
                    <a:pt x="112" y="46"/>
                  </a:lnTo>
                  <a:lnTo>
                    <a:pt x="112" y="49"/>
                  </a:lnTo>
                  <a:lnTo>
                    <a:pt x="114" y="51"/>
                  </a:lnTo>
                  <a:lnTo>
                    <a:pt x="114" y="49"/>
                  </a:lnTo>
                  <a:lnTo>
                    <a:pt x="114" y="51"/>
                  </a:lnTo>
                  <a:lnTo>
                    <a:pt x="114" y="49"/>
                  </a:lnTo>
                  <a:lnTo>
                    <a:pt x="116" y="49"/>
                  </a:lnTo>
                  <a:lnTo>
                    <a:pt x="119" y="49"/>
                  </a:lnTo>
                  <a:lnTo>
                    <a:pt x="119" y="51"/>
                  </a:lnTo>
                  <a:lnTo>
                    <a:pt x="116" y="51"/>
                  </a:lnTo>
                  <a:lnTo>
                    <a:pt x="116" y="53"/>
                  </a:lnTo>
                  <a:lnTo>
                    <a:pt x="116" y="56"/>
                  </a:lnTo>
                  <a:lnTo>
                    <a:pt x="119" y="56"/>
                  </a:lnTo>
                  <a:lnTo>
                    <a:pt x="119" y="58"/>
                  </a:lnTo>
                  <a:lnTo>
                    <a:pt x="119" y="60"/>
                  </a:lnTo>
                  <a:lnTo>
                    <a:pt x="119" y="63"/>
                  </a:lnTo>
                  <a:lnTo>
                    <a:pt x="116" y="63"/>
                  </a:lnTo>
                  <a:lnTo>
                    <a:pt x="114" y="63"/>
                  </a:lnTo>
                  <a:lnTo>
                    <a:pt x="114" y="65"/>
                  </a:lnTo>
                  <a:lnTo>
                    <a:pt x="114" y="67"/>
                  </a:lnTo>
                  <a:lnTo>
                    <a:pt x="114" y="70"/>
                  </a:lnTo>
                  <a:lnTo>
                    <a:pt x="112" y="70"/>
                  </a:lnTo>
                  <a:lnTo>
                    <a:pt x="112" y="72"/>
                  </a:lnTo>
                  <a:lnTo>
                    <a:pt x="112" y="74"/>
                  </a:lnTo>
                  <a:lnTo>
                    <a:pt x="112" y="77"/>
                  </a:lnTo>
                  <a:lnTo>
                    <a:pt x="114" y="77"/>
                  </a:lnTo>
                  <a:lnTo>
                    <a:pt x="114" y="74"/>
                  </a:lnTo>
                  <a:lnTo>
                    <a:pt x="116" y="72"/>
                  </a:lnTo>
                  <a:lnTo>
                    <a:pt x="119" y="72"/>
                  </a:lnTo>
                  <a:lnTo>
                    <a:pt x="119" y="70"/>
                  </a:lnTo>
                  <a:lnTo>
                    <a:pt x="119" y="67"/>
                  </a:lnTo>
                  <a:lnTo>
                    <a:pt x="121" y="65"/>
                  </a:lnTo>
                  <a:lnTo>
                    <a:pt x="123" y="65"/>
                  </a:lnTo>
                  <a:lnTo>
                    <a:pt x="126" y="65"/>
                  </a:lnTo>
                  <a:lnTo>
                    <a:pt x="126" y="67"/>
                  </a:lnTo>
                  <a:lnTo>
                    <a:pt x="126" y="70"/>
                  </a:lnTo>
                  <a:lnTo>
                    <a:pt x="126" y="72"/>
                  </a:lnTo>
                  <a:lnTo>
                    <a:pt x="123" y="74"/>
                  </a:lnTo>
                  <a:lnTo>
                    <a:pt x="123" y="77"/>
                  </a:lnTo>
                  <a:lnTo>
                    <a:pt x="123" y="79"/>
                  </a:lnTo>
                  <a:lnTo>
                    <a:pt x="123" y="81"/>
                  </a:lnTo>
                  <a:lnTo>
                    <a:pt x="123" y="84"/>
                  </a:lnTo>
                  <a:lnTo>
                    <a:pt x="126" y="86"/>
                  </a:lnTo>
                  <a:lnTo>
                    <a:pt x="123" y="86"/>
                  </a:lnTo>
                  <a:lnTo>
                    <a:pt x="123" y="88"/>
                  </a:lnTo>
                  <a:lnTo>
                    <a:pt x="121" y="88"/>
                  </a:lnTo>
                  <a:lnTo>
                    <a:pt x="121" y="91"/>
                  </a:lnTo>
                  <a:lnTo>
                    <a:pt x="121" y="93"/>
                  </a:lnTo>
                  <a:lnTo>
                    <a:pt x="121" y="95"/>
                  </a:lnTo>
                  <a:lnTo>
                    <a:pt x="121" y="98"/>
                  </a:lnTo>
                  <a:lnTo>
                    <a:pt x="121" y="100"/>
                  </a:lnTo>
                  <a:lnTo>
                    <a:pt x="121" y="102"/>
                  </a:lnTo>
                  <a:lnTo>
                    <a:pt x="121" y="105"/>
                  </a:lnTo>
                  <a:lnTo>
                    <a:pt x="121" y="107"/>
                  </a:lnTo>
                  <a:lnTo>
                    <a:pt x="119" y="107"/>
                  </a:lnTo>
                  <a:lnTo>
                    <a:pt x="121" y="109"/>
                  </a:lnTo>
                  <a:lnTo>
                    <a:pt x="119" y="109"/>
                  </a:lnTo>
                  <a:lnTo>
                    <a:pt x="119" y="114"/>
                  </a:lnTo>
                  <a:lnTo>
                    <a:pt x="119" y="116"/>
                  </a:lnTo>
                  <a:lnTo>
                    <a:pt x="119" y="119"/>
                  </a:lnTo>
                  <a:lnTo>
                    <a:pt x="119" y="121"/>
                  </a:lnTo>
                  <a:lnTo>
                    <a:pt x="119" y="123"/>
                  </a:lnTo>
                  <a:lnTo>
                    <a:pt x="119" y="126"/>
                  </a:lnTo>
                  <a:lnTo>
                    <a:pt x="121" y="126"/>
                  </a:lnTo>
                  <a:lnTo>
                    <a:pt x="121" y="128"/>
                  </a:lnTo>
                  <a:lnTo>
                    <a:pt x="121" y="130"/>
                  </a:lnTo>
                  <a:lnTo>
                    <a:pt x="123" y="130"/>
                  </a:lnTo>
                  <a:lnTo>
                    <a:pt x="123" y="133"/>
                  </a:lnTo>
                  <a:lnTo>
                    <a:pt x="123" y="135"/>
                  </a:lnTo>
                  <a:lnTo>
                    <a:pt x="123" y="137"/>
                  </a:lnTo>
                  <a:lnTo>
                    <a:pt x="123" y="140"/>
                  </a:lnTo>
                  <a:lnTo>
                    <a:pt x="123" y="142"/>
                  </a:lnTo>
                  <a:lnTo>
                    <a:pt x="119" y="142"/>
                  </a:lnTo>
                  <a:lnTo>
                    <a:pt x="114" y="142"/>
                  </a:lnTo>
                  <a:lnTo>
                    <a:pt x="109" y="142"/>
                  </a:lnTo>
                  <a:lnTo>
                    <a:pt x="107" y="142"/>
                  </a:lnTo>
                  <a:lnTo>
                    <a:pt x="102" y="142"/>
                  </a:lnTo>
                  <a:lnTo>
                    <a:pt x="98" y="144"/>
                  </a:lnTo>
                  <a:lnTo>
                    <a:pt x="93" y="144"/>
                  </a:lnTo>
                  <a:lnTo>
                    <a:pt x="88" y="144"/>
                  </a:lnTo>
                  <a:lnTo>
                    <a:pt x="86" y="144"/>
                  </a:lnTo>
                  <a:lnTo>
                    <a:pt x="81" y="144"/>
                  </a:lnTo>
                  <a:lnTo>
                    <a:pt x="77" y="144"/>
                  </a:lnTo>
                  <a:lnTo>
                    <a:pt x="72" y="144"/>
                  </a:lnTo>
                  <a:lnTo>
                    <a:pt x="70" y="144"/>
                  </a:lnTo>
                  <a:lnTo>
                    <a:pt x="65" y="144"/>
                  </a:lnTo>
                  <a:lnTo>
                    <a:pt x="60" y="147"/>
                  </a:lnTo>
                  <a:lnTo>
                    <a:pt x="56" y="147"/>
                  </a:lnTo>
                  <a:lnTo>
                    <a:pt x="56" y="144"/>
                  </a:lnTo>
                  <a:lnTo>
                    <a:pt x="56" y="142"/>
                  </a:lnTo>
                  <a:lnTo>
                    <a:pt x="53" y="142"/>
                  </a:lnTo>
                  <a:lnTo>
                    <a:pt x="51" y="140"/>
                  </a:lnTo>
                  <a:lnTo>
                    <a:pt x="49" y="140"/>
                  </a:lnTo>
                  <a:lnTo>
                    <a:pt x="46" y="140"/>
                  </a:lnTo>
                  <a:lnTo>
                    <a:pt x="44" y="137"/>
                  </a:lnTo>
                  <a:lnTo>
                    <a:pt x="44" y="135"/>
                  </a:lnTo>
                  <a:lnTo>
                    <a:pt x="44" y="133"/>
                  </a:lnTo>
                  <a:lnTo>
                    <a:pt x="44" y="130"/>
                  </a:lnTo>
                  <a:lnTo>
                    <a:pt x="42" y="128"/>
                  </a:lnTo>
                  <a:lnTo>
                    <a:pt x="42" y="126"/>
                  </a:lnTo>
                  <a:lnTo>
                    <a:pt x="44" y="123"/>
                  </a:lnTo>
                  <a:lnTo>
                    <a:pt x="44" y="121"/>
                  </a:lnTo>
                  <a:lnTo>
                    <a:pt x="42" y="119"/>
                  </a:lnTo>
                  <a:lnTo>
                    <a:pt x="39" y="116"/>
                  </a:lnTo>
                  <a:lnTo>
                    <a:pt x="39" y="114"/>
                  </a:lnTo>
                  <a:lnTo>
                    <a:pt x="39" y="112"/>
                  </a:lnTo>
                  <a:lnTo>
                    <a:pt x="39" y="109"/>
                  </a:lnTo>
                  <a:lnTo>
                    <a:pt x="39" y="107"/>
                  </a:lnTo>
                  <a:lnTo>
                    <a:pt x="39" y="105"/>
                  </a:lnTo>
                  <a:lnTo>
                    <a:pt x="39" y="102"/>
                  </a:lnTo>
                  <a:lnTo>
                    <a:pt x="37" y="102"/>
                  </a:lnTo>
                  <a:lnTo>
                    <a:pt x="37" y="100"/>
                  </a:lnTo>
                  <a:lnTo>
                    <a:pt x="35" y="100"/>
                  </a:lnTo>
                  <a:lnTo>
                    <a:pt x="35" y="98"/>
                  </a:lnTo>
                  <a:lnTo>
                    <a:pt x="32" y="98"/>
                  </a:lnTo>
                  <a:lnTo>
                    <a:pt x="30" y="98"/>
                  </a:lnTo>
                  <a:lnTo>
                    <a:pt x="28" y="95"/>
                  </a:lnTo>
                  <a:lnTo>
                    <a:pt x="25" y="95"/>
                  </a:lnTo>
                  <a:lnTo>
                    <a:pt x="25" y="93"/>
                  </a:lnTo>
                  <a:lnTo>
                    <a:pt x="23" y="91"/>
                  </a:lnTo>
                  <a:lnTo>
                    <a:pt x="23" y="88"/>
                  </a:lnTo>
                  <a:lnTo>
                    <a:pt x="18" y="86"/>
                  </a:lnTo>
                  <a:lnTo>
                    <a:pt x="14" y="86"/>
                  </a:lnTo>
                  <a:lnTo>
                    <a:pt x="14" y="84"/>
                  </a:lnTo>
                  <a:lnTo>
                    <a:pt x="14" y="81"/>
                  </a:lnTo>
                  <a:lnTo>
                    <a:pt x="11" y="81"/>
                  </a:lnTo>
                  <a:lnTo>
                    <a:pt x="7" y="81"/>
                  </a:lnTo>
                  <a:lnTo>
                    <a:pt x="7" y="79"/>
                  </a:lnTo>
                  <a:lnTo>
                    <a:pt x="4" y="79"/>
                  </a:lnTo>
                  <a:lnTo>
                    <a:pt x="2" y="77"/>
                  </a:lnTo>
                  <a:lnTo>
                    <a:pt x="2" y="74"/>
                  </a:lnTo>
                  <a:lnTo>
                    <a:pt x="2" y="72"/>
                  </a:lnTo>
                  <a:lnTo>
                    <a:pt x="2" y="70"/>
                  </a:lnTo>
                  <a:lnTo>
                    <a:pt x="2" y="67"/>
                  </a:lnTo>
                  <a:lnTo>
                    <a:pt x="2" y="65"/>
                  </a:lnTo>
                  <a:lnTo>
                    <a:pt x="2" y="63"/>
                  </a:lnTo>
                  <a:lnTo>
                    <a:pt x="2" y="60"/>
                  </a:lnTo>
                  <a:lnTo>
                    <a:pt x="2" y="58"/>
                  </a:lnTo>
                  <a:lnTo>
                    <a:pt x="4" y="58"/>
                  </a:lnTo>
                  <a:lnTo>
                    <a:pt x="4" y="56"/>
                  </a:lnTo>
                  <a:lnTo>
                    <a:pt x="4" y="53"/>
                  </a:lnTo>
                  <a:lnTo>
                    <a:pt x="2" y="53"/>
                  </a:lnTo>
                  <a:lnTo>
                    <a:pt x="2" y="51"/>
                  </a:lnTo>
                  <a:lnTo>
                    <a:pt x="0" y="51"/>
                  </a:lnTo>
                  <a:lnTo>
                    <a:pt x="0" y="49"/>
                  </a:lnTo>
                  <a:lnTo>
                    <a:pt x="0" y="46"/>
                  </a:lnTo>
                  <a:lnTo>
                    <a:pt x="2" y="44"/>
                  </a:lnTo>
                  <a:lnTo>
                    <a:pt x="2" y="42"/>
                  </a:lnTo>
                  <a:lnTo>
                    <a:pt x="2" y="39"/>
                  </a:lnTo>
                  <a:lnTo>
                    <a:pt x="4" y="39"/>
                  </a:lnTo>
                  <a:lnTo>
                    <a:pt x="4" y="37"/>
                  </a:lnTo>
                  <a:lnTo>
                    <a:pt x="7" y="37"/>
                  </a:lnTo>
                  <a:lnTo>
                    <a:pt x="9" y="37"/>
                  </a:lnTo>
                  <a:lnTo>
                    <a:pt x="9" y="35"/>
                  </a:lnTo>
                  <a:lnTo>
                    <a:pt x="11" y="35"/>
                  </a:lnTo>
                  <a:lnTo>
                    <a:pt x="11" y="32"/>
                  </a:lnTo>
                  <a:lnTo>
                    <a:pt x="11" y="30"/>
                  </a:lnTo>
                  <a:lnTo>
                    <a:pt x="11" y="28"/>
                  </a:lnTo>
                  <a:lnTo>
                    <a:pt x="11" y="25"/>
                  </a:lnTo>
                  <a:lnTo>
                    <a:pt x="11" y="23"/>
                  </a:lnTo>
                  <a:lnTo>
                    <a:pt x="11" y="21"/>
                  </a:lnTo>
                  <a:lnTo>
                    <a:pt x="11" y="18"/>
                  </a:lnTo>
                  <a:lnTo>
                    <a:pt x="11" y="16"/>
                  </a:lnTo>
                  <a:lnTo>
                    <a:pt x="14" y="16"/>
                  </a:lnTo>
                  <a:lnTo>
                    <a:pt x="14" y="14"/>
                  </a:lnTo>
                  <a:lnTo>
                    <a:pt x="14" y="12"/>
                  </a:lnTo>
                  <a:lnTo>
                    <a:pt x="16" y="12"/>
                  </a:lnTo>
                  <a:lnTo>
                    <a:pt x="16" y="14"/>
                  </a:lnTo>
                  <a:lnTo>
                    <a:pt x="18" y="14"/>
                  </a:lnTo>
                  <a:lnTo>
                    <a:pt x="23" y="14"/>
                  </a:lnTo>
                  <a:lnTo>
                    <a:pt x="28" y="12"/>
                  </a:lnTo>
                  <a:lnTo>
                    <a:pt x="30" y="9"/>
                  </a:lnTo>
                  <a:lnTo>
                    <a:pt x="32" y="9"/>
                  </a:lnTo>
                  <a:lnTo>
                    <a:pt x="32" y="7"/>
                  </a:lnTo>
                  <a:lnTo>
                    <a:pt x="35" y="7"/>
                  </a:lnTo>
                  <a:lnTo>
                    <a:pt x="37" y="7"/>
                  </a:lnTo>
                  <a:lnTo>
                    <a:pt x="39" y="7"/>
                  </a:lnTo>
                  <a:lnTo>
                    <a:pt x="39" y="5"/>
                  </a:lnTo>
                  <a:lnTo>
                    <a:pt x="42" y="5"/>
                  </a:lnTo>
                  <a:lnTo>
                    <a:pt x="44" y="5"/>
                  </a:lnTo>
                  <a:close/>
                  <a:moveTo>
                    <a:pt x="46" y="5"/>
                  </a:moveTo>
                  <a:lnTo>
                    <a:pt x="44" y="5"/>
                  </a:lnTo>
                  <a:lnTo>
                    <a:pt x="46" y="5"/>
                  </a:lnTo>
                  <a:close/>
                  <a:moveTo>
                    <a:pt x="39" y="5"/>
                  </a:moveTo>
                  <a:lnTo>
                    <a:pt x="39" y="2"/>
                  </a:lnTo>
                  <a:lnTo>
                    <a:pt x="42" y="2"/>
                  </a:lnTo>
                  <a:lnTo>
                    <a:pt x="39" y="5"/>
                  </a:lnTo>
                  <a:close/>
                  <a:moveTo>
                    <a:pt x="51" y="2"/>
                  </a:moveTo>
                  <a:lnTo>
                    <a:pt x="51" y="0"/>
                  </a:lnTo>
                  <a:lnTo>
                    <a:pt x="51" y="2"/>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809">
              <a:extLst>
                <a:ext uri="{FF2B5EF4-FFF2-40B4-BE49-F238E27FC236}">
                  <a16:creationId xmlns:a16="http://schemas.microsoft.com/office/drawing/2014/main" id="{674AE1C4-DECF-42ED-B3D9-DF5B3CBB4E4C}"/>
                </a:ext>
              </a:extLst>
            </p:cNvPr>
            <p:cNvSpPr>
              <a:spLocks/>
            </p:cNvSpPr>
            <p:nvPr/>
          </p:nvSpPr>
          <p:spPr bwMode="auto">
            <a:xfrm>
              <a:off x="7095331" y="4608513"/>
              <a:ext cx="180975" cy="177800"/>
            </a:xfrm>
            <a:custGeom>
              <a:avLst/>
              <a:gdLst>
                <a:gd name="T0" fmla="*/ 77 w 114"/>
                <a:gd name="T1" fmla="*/ 35 h 112"/>
                <a:gd name="T2" fmla="*/ 79 w 114"/>
                <a:gd name="T3" fmla="*/ 28 h 112"/>
                <a:gd name="T4" fmla="*/ 84 w 114"/>
                <a:gd name="T5" fmla="*/ 28 h 112"/>
                <a:gd name="T6" fmla="*/ 89 w 114"/>
                <a:gd name="T7" fmla="*/ 25 h 112"/>
                <a:gd name="T8" fmla="*/ 93 w 114"/>
                <a:gd name="T9" fmla="*/ 23 h 112"/>
                <a:gd name="T10" fmla="*/ 98 w 114"/>
                <a:gd name="T11" fmla="*/ 18 h 112"/>
                <a:gd name="T12" fmla="*/ 105 w 114"/>
                <a:gd name="T13" fmla="*/ 18 h 112"/>
                <a:gd name="T14" fmla="*/ 107 w 114"/>
                <a:gd name="T15" fmla="*/ 21 h 112"/>
                <a:gd name="T16" fmla="*/ 112 w 114"/>
                <a:gd name="T17" fmla="*/ 23 h 112"/>
                <a:gd name="T18" fmla="*/ 112 w 114"/>
                <a:gd name="T19" fmla="*/ 30 h 112"/>
                <a:gd name="T20" fmla="*/ 105 w 114"/>
                <a:gd name="T21" fmla="*/ 30 h 112"/>
                <a:gd name="T22" fmla="*/ 98 w 114"/>
                <a:gd name="T23" fmla="*/ 28 h 112"/>
                <a:gd name="T24" fmla="*/ 98 w 114"/>
                <a:gd name="T25" fmla="*/ 37 h 112"/>
                <a:gd name="T26" fmla="*/ 93 w 114"/>
                <a:gd name="T27" fmla="*/ 42 h 112"/>
                <a:gd name="T28" fmla="*/ 91 w 114"/>
                <a:gd name="T29" fmla="*/ 49 h 112"/>
                <a:gd name="T30" fmla="*/ 84 w 114"/>
                <a:gd name="T31" fmla="*/ 53 h 112"/>
                <a:gd name="T32" fmla="*/ 82 w 114"/>
                <a:gd name="T33" fmla="*/ 60 h 112"/>
                <a:gd name="T34" fmla="*/ 75 w 114"/>
                <a:gd name="T35" fmla="*/ 63 h 112"/>
                <a:gd name="T36" fmla="*/ 72 w 114"/>
                <a:gd name="T37" fmla="*/ 63 h 112"/>
                <a:gd name="T38" fmla="*/ 70 w 114"/>
                <a:gd name="T39" fmla="*/ 70 h 112"/>
                <a:gd name="T40" fmla="*/ 65 w 114"/>
                <a:gd name="T41" fmla="*/ 79 h 112"/>
                <a:gd name="T42" fmla="*/ 63 w 114"/>
                <a:gd name="T43" fmla="*/ 88 h 112"/>
                <a:gd name="T44" fmla="*/ 61 w 114"/>
                <a:gd name="T45" fmla="*/ 93 h 112"/>
                <a:gd name="T46" fmla="*/ 58 w 114"/>
                <a:gd name="T47" fmla="*/ 98 h 112"/>
                <a:gd name="T48" fmla="*/ 51 w 114"/>
                <a:gd name="T49" fmla="*/ 102 h 112"/>
                <a:gd name="T50" fmla="*/ 47 w 114"/>
                <a:gd name="T51" fmla="*/ 107 h 112"/>
                <a:gd name="T52" fmla="*/ 42 w 114"/>
                <a:gd name="T53" fmla="*/ 107 h 112"/>
                <a:gd name="T54" fmla="*/ 35 w 114"/>
                <a:gd name="T55" fmla="*/ 107 h 112"/>
                <a:gd name="T56" fmla="*/ 30 w 114"/>
                <a:gd name="T57" fmla="*/ 112 h 112"/>
                <a:gd name="T58" fmla="*/ 21 w 114"/>
                <a:gd name="T59" fmla="*/ 107 h 112"/>
                <a:gd name="T60" fmla="*/ 21 w 114"/>
                <a:gd name="T61" fmla="*/ 102 h 112"/>
                <a:gd name="T62" fmla="*/ 14 w 114"/>
                <a:gd name="T63" fmla="*/ 100 h 112"/>
                <a:gd name="T64" fmla="*/ 7 w 114"/>
                <a:gd name="T65" fmla="*/ 95 h 112"/>
                <a:gd name="T66" fmla="*/ 2 w 114"/>
                <a:gd name="T67" fmla="*/ 88 h 112"/>
                <a:gd name="T68" fmla="*/ 0 w 114"/>
                <a:gd name="T69" fmla="*/ 79 h 112"/>
                <a:gd name="T70" fmla="*/ 5 w 114"/>
                <a:gd name="T71" fmla="*/ 74 h 112"/>
                <a:gd name="T72" fmla="*/ 9 w 114"/>
                <a:gd name="T73" fmla="*/ 70 h 112"/>
                <a:gd name="T74" fmla="*/ 7 w 114"/>
                <a:gd name="T75" fmla="*/ 63 h 112"/>
                <a:gd name="T76" fmla="*/ 9 w 114"/>
                <a:gd name="T77" fmla="*/ 56 h 112"/>
                <a:gd name="T78" fmla="*/ 16 w 114"/>
                <a:gd name="T79" fmla="*/ 58 h 112"/>
                <a:gd name="T80" fmla="*/ 16 w 114"/>
                <a:gd name="T81" fmla="*/ 49 h 112"/>
                <a:gd name="T82" fmla="*/ 21 w 114"/>
                <a:gd name="T83" fmla="*/ 42 h 112"/>
                <a:gd name="T84" fmla="*/ 28 w 114"/>
                <a:gd name="T85" fmla="*/ 42 h 112"/>
                <a:gd name="T86" fmla="*/ 33 w 114"/>
                <a:gd name="T87" fmla="*/ 32 h 112"/>
                <a:gd name="T88" fmla="*/ 35 w 114"/>
                <a:gd name="T89" fmla="*/ 25 h 112"/>
                <a:gd name="T90" fmla="*/ 37 w 114"/>
                <a:gd name="T91" fmla="*/ 18 h 112"/>
                <a:gd name="T92" fmla="*/ 37 w 114"/>
                <a:gd name="T93" fmla="*/ 9 h 112"/>
                <a:gd name="T94" fmla="*/ 35 w 114"/>
                <a:gd name="T95" fmla="*/ 0 h 112"/>
                <a:gd name="T96" fmla="*/ 40 w 114"/>
                <a:gd name="T97" fmla="*/ 7 h 112"/>
                <a:gd name="T98" fmla="*/ 42 w 114"/>
                <a:gd name="T99" fmla="*/ 16 h 112"/>
                <a:gd name="T100" fmla="*/ 42 w 114"/>
                <a:gd name="T101" fmla="*/ 25 h 112"/>
                <a:gd name="T102" fmla="*/ 54 w 114"/>
                <a:gd name="T103" fmla="*/ 25 h 112"/>
                <a:gd name="T104" fmla="*/ 65 w 114"/>
                <a:gd name="T105" fmla="*/ 2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 h="112">
                  <a:moveTo>
                    <a:pt x="68" y="23"/>
                  </a:moveTo>
                  <a:lnTo>
                    <a:pt x="72" y="39"/>
                  </a:lnTo>
                  <a:lnTo>
                    <a:pt x="75" y="35"/>
                  </a:lnTo>
                  <a:lnTo>
                    <a:pt x="77" y="35"/>
                  </a:lnTo>
                  <a:lnTo>
                    <a:pt x="77" y="32"/>
                  </a:lnTo>
                  <a:lnTo>
                    <a:pt x="79" y="32"/>
                  </a:lnTo>
                  <a:lnTo>
                    <a:pt x="79" y="30"/>
                  </a:lnTo>
                  <a:lnTo>
                    <a:pt x="79" y="28"/>
                  </a:lnTo>
                  <a:lnTo>
                    <a:pt x="82" y="28"/>
                  </a:lnTo>
                  <a:lnTo>
                    <a:pt x="82" y="30"/>
                  </a:lnTo>
                  <a:lnTo>
                    <a:pt x="84" y="30"/>
                  </a:lnTo>
                  <a:lnTo>
                    <a:pt x="84" y="28"/>
                  </a:lnTo>
                  <a:lnTo>
                    <a:pt x="84" y="25"/>
                  </a:lnTo>
                  <a:lnTo>
                    <a:pt x="86" y="25"/>
                  </a:lnTo>
                  <a:lnTo>
                    <a:pt x="86" y="23"/>
                  </a:lnTo>
                  <a:lnTo>
                    <a:pt x="89" y="25"/>
                  </a:lnTo>
                  <a:lnTo>
                    <a:pt x="91" y="25"/>
                  </a:lnTo>
                  <a:lnTo>
                    <a:pt x="93" y="23"/>
                  </a:lnTo>
                  <a:lnTo>
                    <a:pt x="96" y="23"/>
                  </a:lnTo>
                  <a:lnTo>
                    <a:pt x="93" y="23"/>
                  </a:lnTo>
                  <a:lnTo>
                    <a:pt x="96" y="23"/>
                  </a:lnTo>
                  <a:lnTo>
                    <a:pt x="96" y="21"/>
                  </a:lnTo>
                  <a:lnTo>
                    <a:pt x="98" y="21"/>
                  </a:lnTo>
                  <a:lnTo>
                    <a:pt x="98" y="18"/>
                  </a:lnTo>
                  <a:lnTo>
                    <a:pt x="100" y="18"/>
                  </a:lnTo>
                  <a:lnTo>
                    <a:pt x="100" y="16"/>
                  </a:lnTo>
                  <a:lnTo>
                    <a:pt x="103" y="18"/>
                  </a:lnTo>
                  <a:lnTo>
                    <a:pt x="105" y="18"/>
                  </a:lnTo>
                  <a:lnTo>
                    <a:pt x="107" y="18"/>
                  </a:lnTo>
                  <a:lnTo>
                    <a:pt x="110" y="18"/>
                  </a:lnTo>
                  <a:lnTo>
                    <a:pt x="110" y="21"/>
                  </a:lnTo>
                  <a:lnTo>
                    <a:pt x="107" y="21"/>
                  </a:lnTo>
                  <a:lnTo>
                    <a:pt x="110" y="21"/>
                  </a:lnTo>
                  <a:lnTo>
                    <a:pt x="110" y="23"/>
                  </a:lnTo>
                  <a:lnTo>
                    <a:pt x="112" y="21"/>
                  </a:lnTo>
                  <a:lnTo>
                    <a:pt x="112" y="23"/>
                  </a:lnTo>
                  <a:lnTo>
                    <a:pt x="112" y="25"/>
                  </a:lnTo>
                  <a:lnTo>
                    <a:pt x="114" y="28"/>
                  </a:lnTo>
                  <a:lnTo>
                    <a:pt x="112" y="28"/>
                  </a:lnTo>
                  <a:lnTo>
                    <a:pt x="112" y="30"/>
                  </a:lnTo>
                  <a:lnTo>
                    <a:pt x="112" y="32"/>
                  </a:lnTo>
                  <a:lnTo>
                    <a:pt x="110" y="32"/>
                  </a:lnTo>
                  <a:lnTo>
                    <a:pt x="107" y="30"/>
                  </a:lnTo>
                  <a:lnTo>
                    <a:pt x="105" y="30"/>
                  </a:lnTo>
                  <a:lnTo>
                    <a:pt x="103" y="28"/>
                  </a:lnTo>
                  <a:lnTo>
                    <a:pt x="100" y="28"/>
                  </a:lnTo>
                  <a:lnTo>
                    <a:pt x="98" y="25"/>
                  </a:lnTo>
                  <a:lnTo>
                    <a:pt x="98" y="28"/>
                  </a:lnTo>
                  <a:lnTo>
                    <a:pt x="98" y="30"/>
                  </a:lnTo>
                  <a:lnTo>
                    <a:pt x="98" y="32"/>
                  </a:lnTo>
                  <a:lnTo>
                    <a:pt x="98" y="35"/>
                  </a:lnTo>
                  <a:lnTo>
                    <a:pt x="98" y="37"/>
                  </a:lnTo>
                  <a:lnTo>
                    <a:pt x="96" y="37"/>
                  </a:lnTo>
                  <a:lnTo>
                    <a:pt x="96" y="39"/>
                  </a:lnTo>
                  <a:lnTo>
                    <a:pt x="96" y="42"/>
                  </a:lnTo>
                  <a:lnTo>
                    <a:pt x="93" y="42"/>
                  </a:lnTo>
                  <a:lnTo>
                    <a:pt x="93" y="44"/>
                  </a:lnTo>
                  <a:lnTo>
                    <a:pt x="91" y="44"/>
                  </a:lnTo>
                  <a:lnTo>
                    <a:pt x="91" y="46"/>
                  </a:lnTo>
                  <a:lnTo>
                    <a:pt x="91" y="49"/>
                  </a:lnTo>
                  <a:lnTo>
                    <a:pt x="89" y="49"/>
                  </a:lnTo>
                  <a:lnTo>
                    <a:pt x="86" y="49"/>
                  </a:lnTo>
                  <a:lnTo>
                    <a:pt x="84" y="51"/>
                  </a:lnTo>
                  <a:lnTo>
                    <a:pt x="84" y="53"/>
                  </a:lnTo>
                  <a:lnTo>
                    <a:pt x="84" y="56"/>
                  </a:lnTo>
                  <a:lnTo>
                    <a:pt x="84" y="58"/>
                  </a:lnTo>
                  <a:lnTo>
                    <a:pt x="84" y="60"/>
                  </a:lnTo>
                  <a:lnTo>
                    <a:pt x="82" y="60"/>
                  </a:lnTo>
                  <a:lnTo>
                    <a:pt x="82" y="63"/>
                  </a:lnTo>
                  <a:lnTo>
                    <a:pt x="79" y="63"/>
                  </a:lnTo>
                  <a:lnTo>
                    <a:pt x="77" y="63"/>
                  </a:lnTo>
                  <a:lnTo>
                    <a:pt x="75" y="63"/>
                  </a:lnTo>
                  <a:lnTo>
                    <a:pt x="75" y="60"/>
                  </a:lnTo>
                  <a:lnTo>
                    <a:pt x="72" y="58"/>
                  </a:lnTo>
                  <a:lnTo>
                    <a:pt x="72" y="60"/>
                  </a:lnTo>
                  <a:lnTo>
                    <a:pt x="72" y="63"/>
                  </a:lnTo>
                  <a:lnTo>
                    <a:pt x="70" y="63"/>
                  </a:lnTo>
                  <a:lnTo>
                    <a:pt x="70" y="65"/>
                  </a:lnTo>
                  <a:lnTo>
                    <a:pt x="70" y="67"/>
                  </a:lnTo>
                  <a:lnTo>
                    <a:pt x="70" y="70"/>
                  </a:lnTo>
                  <a:lnTo>
                    <a:pt x="68" y="72"/>
                  </a:lnTo>
                  <a:lnTo>
                    <a:pt x="68" y="74"/>
                  </a:lnTo>
                  <a:lnTo>
                    <a:pt x="68" y="77"/>
                  </a:lnTo>
                  <a:lnTo>
                    <a:pt x="65" y="79"/>
                  </a:lnTo>
                  <a:lnTo>
                    <a:pt x="65" y="81"/>
                  </a:lnTo>
                  <a:lnTo>
                    <a:pt x="63" y="84"/>
                  </a:lnTo>
                  <a:lnTo>
                    <a:pt x="63" y="86"/>
                  </a:lnTo>
                  <a:lnTo>
                    <a:pt x="63" y="88"/>
                  </a:lnTo>
                  <a:lnTo>
                    <a:pt x="61" y="88"/>
                  </a:lnTo>
                  <a:lnTo>
                    <a:pt x="61" y="91"/>
                  </a:lnTo>
                  <a:lnTo>
                    <a:pt x="63" y="93"/>
                  </a:lnTo>
                  <a:lnTo>
                    <a:pt x="61" y="93"/>
                  </a:lnTo>
                  <a:lnTo>
                    <a:pt x="61" y="95"/>
                  </a:lnTo>
                  <a:lnTo>
                    <a:pt x="58" y="98"/>
                  </a:lnTo>
                  <a:lnTo>
                    <a:pt x="58" y="100"/>
                  </a:lnTo>
                  <a:lnTo>
                    <a:pt x="58" y="98"/>
                  </a:lnTo>
                  <a:lnTo>
                    <a:pt x="56" y="98"/>
                  </a:lnTo>
                  <a:lnTo>
                    <a:pt x="56" y="100"/>
                  </a:lnTo>
                  <a:lnTo>
                    <a:pt x="54" y="100"/>
                  </a:lnTo>
                  <a:lnTo>
                    <a:pt x="51" y="102"/>
                  </a:lnTo>
                  <a:lnTo>
                    <a:pt x="49" y="102"/>
                  </a:lnTo>
                  <a:lnTo>
                    <a:pt x="47" y="102"/>
                  </a:lnTo>
                  <a:lnTo>
                    <a:pt x="49" y="105"/>
                  </a:lnTo>
                  <a:lnTo>
                    <a:pt x="47" y="107"/>
                  </a:lnTo>
                  <a:lnTo>
                    <a:pt x="47" y="105"/>
                  </a:lnTo>
                  <a:lnTo>
                    <a:pt x="44" y="105"/>
                  </a:lnTo>
                  <a:lnTo>
                    <a:pt x="44" y="107"/>
                  </a:lnTo>
                  <a:lnTo>
                    <a:pt x="42" y="107"/>
                  </a:lnTo>
                  <a:lnTo>
                    <a:pt x="40" y="109"/>
                  </a:lnTo>
                  <a:lnTo>
                    <a:pt x="40" y="107"/>
                  </a:lnTo>
                  <a:lnTo>
                    <a:pt x="37" y="107"/>
                  </a:lnTo>
                  <a:lnTo>
                    <a:pt x="35" y="107"/>
                  </a:lnTo>
                  <a:lnTo>
                    <a:pt x="35" y="109"/>
                  </a:lnTo>
                  <a:lnTo>
                    <a:pt x="33" y="109"/>
                  </a:lnTo>
                  <a:lnTo>
                    <a:pt x="33" y="112"/>
                  </a:lnTo>
                  <a:lnTo>
                    <a:pt x="30" y="112"/>
                  </a:lnTo>
                  <a:lnTo>
                    <a:pt x="28" y="112"/>
                  </a:lnTo>
                  <a:lnTo>
                    <a:pt x="26" y="109"/>
                  </a:lnTo>
                  <a:lnTo>
                    <a:pt x="23" y="109"/>
                  </a:lnTo>
                  <a:lnTo>
                    <a:pt x="21" y="107"/>
                  </a:lnTo>
                  <a:lnTo>
                    <a:pt x="21" y="105"/>
                  </a:lnTo>
                  <a:lnTo>
                    <a:pt x="19" y="105"/>
                  </a:lnTo>
                  <a:lnTo>
                    <a:pt x="21" y="105"/>
                  </a:lnTo>
                  <a:lnTo>
                    <a:pt x="21" y="102"/>
                  </a:lnTo>
                  <a:lnTo>
                    <a:pt x="19" y="102"/>
                  </a:lnTo>
                  <a:lnTo>
                    <a:pt x="16" y="102"/>
                  </a:lnTo>
                  <a:lnTo>
                    <a:pt x="14" y="102"/>
                  </a:lnTo>
                  <a:lnTo>
                    <a:pt x="14" y="100"/>
                  </a:lnTo>
                  <a:lnTo>
                    <a:pt x="12" y="100"/>
                  </a:lnTo>
                  <a:lnTo>
                    <a:pt x="9" y="100"/>
                  </a:lnTo>
                  <a:lnTo>
                    <a:pt x="9" y="98"/>
                  </a:lnTo>
                  <a:lnTo>
                    <a:pt x="7" y="95"/>
                  </a:lnTo>
                  <a:lnTo>
                    <a:pt x="7" y="93"/>
                  </a:lnTo>
                  <a:lnTo>
                    <a:pt x="5" y="93"/>
                  </a:lnTo>
                  <a:lnTo>
                    <a:pt x="5" y="91"/>
                  </a:lnTo>
                  <a:lnTo>
                    <a:pt x="2" y="88"/>
                  </a:lnTo>
                  <a:lnTo>
                    <a:pt x="0" y="86"/>
                  </a:lnTo>
                  <a:lnTo>
                    <a:pt x="0" y="84"/>
                  </a:lnTo>
                  <a:lnTo>
                    <a:pt x="0" y="81"/>
                  </a:lnTo>
                  <a:lnTo>
                    <a:pt x="0" y="79"/>
                  </a:lnTo>
                  <a:lnTo>
                    <a:pt x="0" y="77"/>
                  </a:lnTo>
                  <a:lnTo>
                    <a:pt x="2" y="77"/>
                  </a:lnTo>
                  <a:lnTo>
                    <a:pt x="5" y="77"/>
                  </a:lnTo>
                  <a:lnTo>
                    <a:pt x="5" y="74"/>
                  </a:lnTo>
                  <a:lnTo>
                    <a:pt x="7" y="74"/>
                  </a:lnTo>
                  <a:lnTo>
                    <a:pt x="7" y="72"/>
                  </a:lnTo>
                  <a:lnTo>
                    <a:pt x="7" y="70"/>
                  </a:lnTo>
                  <a:lnTo>
                    <a:pt x="9" y="70"/>
                  </a:lnTo>
                  <a:lnTo>
                    <a:pt x="9" y="67"/>
                  </a:lnTo>
                  <a:lnTo>
                    <a:pt x="7" y="67"/>
                  </a:lnTo>
                  <a:lnTo>
                    <a:pt x="7" y="65"/>
                  </a:lnTo>
                  <a:lnTo>
                    <a:pt x="7" y="63"/>
                  </a:lnTo>
                  <a:lnTo>
                    <a:pt x="9" y="63"/>
                  </a:lnTo>
                  <a:lnTo>
                    <a:pt x="9" y="60"/>
                  </a:lnTo>
                  <a:lnTo>
                    <a:pt x="9" y="58"/>
                  </a:lnTo>
                  <a:lnTo>
                    <a:pt x="9" y="56"/>
                  </a:lnTo>
                  <a:lnTo>
                    <a:pt x="12" y="56"/>
                  </a:lnTo>
                  <a:lnTo>
                    <a:pt x="14" y="58"/>
                  </a:lnTo>
                  <a:lnTo>
                    <a:pt x="14" y="60"/>
                  </a:lnTo>
                  <a:lnTo>
                    <a:pt x="16" y="58"/>
                  </a:lnTo>
                  <a:lnTo>
                    <a:pt x="16" y="56"/>
                  </a:lnTo>
                  <a:lnTo>
                    <a:pt x="16" y="53"/>
                  </a:lnTo>
                  <a:lnTo>
                    <a:pt x="16" y="51"/>
                  </a:lnTo>
                  <a:lnTo>
                    <a:pt x="16" y="49"/>
                  </a:lnTo>
                  <a:lnTo>
                    <a:pt x="19" y="46"/>
                  </a:lnTo>
                  <a:lnTo>
                    <a:pt x="21" y="46"/>
                  </a:lnTo>
                  <a:lnTo>
                    <a:pt x="21" y="44"/>
                  </a:lnTo>
                  <a:lnTo>
                    <a:pt x="21" y="42"/>
                  </a:lnTo>
                  <a:lnTo>
                    <a:pt x="23" y="42"/>
                  </a:lnTo>
                  <a:lnTo>
                    <a:pt x="26" y="44"/>
                  </a:lnTo>
                  <a:lnTo>
                    <a:pt x="26" y="42"/>
                  </a:lnTo>
                  <a:lnTo>
                    <a:pt x="28" y="42"/>
                  </a:lnTo>
                  <a:lnTo>
                    <a:pt x="28" y="39"/>
                  </a:lnTo>
                  <a:lnTo>
                    <a:pt x="30" y="39"/>
                  </a:lnTo>
                  <a:lnTo>
                    <a:pt x="30" y="37"/>
                  </a:lnTo>
                  <a:lnTo>
                    <a:pt x="33" y="32"/>
                  </a:lnTo>
                  <a:lnTo>
                    <a:pt x="35" y="32"/>
                  </a:lnTo>
                  <a:lnTo>
                    <a:pt x="35" y="30"/>
                  </a:lnTo>
                  <a:lnTo>
                    <a:pt x="35" y="28"/>
                  </a:lnTo>
                  <a:lnTo>
                    <a:pt x="35" y="25"/>
                  </a:lnTo>
                  <a:lnTo>
                    <a:pt x="35" y="23"/>
                  </a:lnTo>
                  <a:lnTo>
                    <a:pt x="37" y="23"/>
                  </a:lnTo>
                  <a:lnTo>
                    <a:pt x="37" y="21"/>
                  </a:lnTo>
                  <a:lnTo>
                    <a:pt x="37" y="18"/>
                  </a:lnTo>
                  <a:lnTo>
                    <a:pt x="37" y="16"/>
                  </a:lnTo>
                  <a:lnTo>
                    <a:pt x="37" y="14"/>
                  </a:lnTo>
                  <a:lnTo>
                    <a:pt x="37" y="11"/>
                  </a:lnTo>
                  <a:lnTo>
                    <a:pt x="37" y="9"/>
                  </a:lnTo>
                  <a:lnTo>
                    <a:pt x="37" y="7"/>
                  </a:lnTo>
                  <a:lnTo>
                    <a:pt x="37" y="4"/>
                  </a:lnTo>
                  <a:lnTo>
                    <a:pt x="35" y="2"/>
                  </a:lnTo>
                  <a:lnTo>
                    <a:pt x="35" y="0"/>
                  </a:lnTo>
                  <a:lnTo>
                    <a:pt x="37" y="0"/>
                  </a:lnTo>
                  <a:lnTo>
                    <a:pt x="40" y="2"/>
                  </a:lnTo>
                  <a:lnTo>
                    <a:pt x="40" y="4"/>
                  </a:lnTo>
                  <a:lnTo>
                    <a:pt x="40" y="7"/>
                  </a:lnTo>
                  <a:lnTo>
                    <a:pt x="40" y="9"/>
                  </a:lnTo>
                  <a:lnTo>
                    <a:pt x="40" y="11"/>
                  </a:lnTo>
                  <a:lnTo>
                    <a:pt x="42" y="14"/>
                  </a:lnTo>
                  <a:lnTo>
                    <a:pt x="42" y="16"/>
                  </a:lnTo>
                  <a:lnTo>
                    <a:pt x="42" y="18"/>
                  </a:lnTo>
                  <a:lnTo>
                    <a:pt x="42" y="21"/>
                  </a:lnTo>
                  <a:lnTo>
                    <a:pt x="42" y="23"/>
                  </a:lnTo>
                  <a:lnTo>
                    <a:pt x="42" y="25"/>
                  </a:lnTo>
                  <a:lnTo>
                    <a:pt x="44" y="28"/>
                  </a:lnTo>
                  <a:lnTo>
                    <a:pt x="47" y="28"/>
                  </a:lnTo>
                  <a:lnTo>
                    <a:pt x="49" y="28"/>
                  </a:lnTo>
                  <a:lnTo>
                    <a:pt x="54" y="25"/>
                  </a:lnTo>
                  <a:lnTo>
                    <a:pt x="56" y="25"/>
                  </a:lnTo>
                  <a:lnTo>
                    <a:pt x="58" y="25"/>
                  </a:lnTo>
                  <a:lnTo>
                    <a:pt x="63" y="25"/>
                  </a:lnTo>
                  <a:lnTo>
                    <a:pt x="65" y="23"/>
                  </a:lnTo>
                  <a:lnTo>
                    <a:pt x="68" y="2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810">
              <a:extLst>
                <a:ext uri="{FF2B5EF4-FFF2-40B4-BE49-F238E27FC236}">
                  <a16:creationId xmlns:a16="http://schemas.microsoft.com/office/drawing/2014/main" id="{8E84B5EF-5304-455B-8D19-2D687339C4E5}"/>
                </a:ext>
              </a:extLst>
            </p:cNvPr>
            <p:cNvSpPr>
              <a:spLocks/>
            </p:cNvSpPr>
            <p:nvPr/>
          </p:nvSpPr>
          <p:spPr bwMode="auto">
            <a:xfrm>
              <a:off x="7346156" y="4608513"/>
              <a:ext cx="41275" cy="66675"/>
            </a:xfrm>
            <a:custGeom>
              <a:avLst/>
              <a:gdLst>
                <a:gd name="T0" fmla="*/ 7 w 26"/>
                <a:gd name="T1" fmla="*/ 0 h 42"/>
                <a:gd name="T2" fmla="*/ 7 w 26"/>
                <a:gd name="T3" fmla="*/ 2 h 42"/>
                <a:gd name="T4" fmla="*/ 5 w 26"/>
                <a:gd name="T5" fmla="*/ 4 h 42"/>
                <a:gd name="T6" fmla="*/ 5 w 26"/>
                <a:gd name="T7" fmla="*/ 7 h 42"/>
                <a:gd name="T8" fmla="*/ 5 w 26"/>
                <a:gd name="T9" fmla="*/ 7 h 42"/>
                <a:gd name="T10" fmla="*/ 7 w 26"/>
                <a:gd name="T11" fmla="*/ 9 h 42"/>
                <a:gd name="T12" fmla="*/ 5 w 26"/>
                <a:gd name="T13" fmla="*/ 11 h 42"/>
                <a:gd name="T14" fmla="*/ 7 w 26"/>
                <a:gd name="T15" fmla="*/ 11 h 42"/>
                <a:gd name="T16" fmla="*/ 10 w 26"/>
                <a:gd name="T17" fmla="*/ 14 h 42"/>
                <a:gd name="T18" fmla="*/ 12 w 26"/>
                <a:gd name="T19" fmla="*/ 14 h 42"/>
                <a:gd name="T20" fmla="*/ 12 w 26"/>
                <a:gd name="T21" fmla="*/ 16 h 42"/>
                <a:gd name="T22" fmla="*/ 12 w 26"/>
                <a:gd name="T23" fmla="*/ 18 h 42"/>
                <a:gd name="T24" fmla="*/ 14 w 26"/>
                <a:gd name="T25" fmla="*/ 21 h 42"/>
                <a:gd name="T26" fmla="*/ 14 w 26"/>
                <a:gd name="T27" fmla="*/ 23 h 42"/>
                <a:gd name="T28" fmla="*/ 17 w 26"/>
                <a:gd name="T29" fmla="*/ 25 h 42"/>
                <a:gd name="T30" fmla="*/ 17 w 26"/>
                <a:gd name="T31" fmla="*/ 25 h 42"/>
                <a:gd name="T32" fmla="*/ 21 w 26"/>
                <a:gd name="T33" fmla="*/ 30 h 42"/>
                <a:gd name="T34" fmla="*/ 24 w 26"/>
                <a:gd name="T35" fmla="*/ 28 h 42"/>
                <a:gd name="T36" fmla="*/ 24 w 26"/>
                <a:gd name="T37" fmla="*/ 28 h 42"/>
                <a:gd name="T38" fmla="*/ 24 w 26"/>
                <a:gd name="T39" fmla="*/ 32 h 42"/>
                <a:gd name="T40" fmla="*/ 24 w 26"/>
                <a:gd name="T41" fmla="*/ 32 h 42"/>
                <a:gd name="T42" fmla="*/ 24 w 26"/>
                <a:gd name="T43" fmla="*/ 32 h 42"/>
                <a:gd name="T44" fmla="*/ 24 w 26"/>
                <a:gd name="T45" fmla="*/ 32 h 42"/>
                <a:gd name="T46" fmla="*/ 24 w 26"/>
                <a:gd name="T47" fmla="*/ 32 h 42"/>
                <a:gd name="T48" fmla="*/ 24 w 26"/>
                <a:gd name="T49" fmla="*/ 35 h 42"/>
                <a:gd name="T50" fmla="*/ 21 w 26"/>
                <a:gd name="T51" fmla="*/ 35 h 42"/>
                <a:gd name="T52" fmla="*/ 21 w 26"/>
                <a:gd name="T53" fmla="*/ 37 h 42"/>
                <a:gd name="T54" fmla="*/ 21 w 26"/>
                <a:gd name="T55" fmla="*/ 37 h 42"/>
                <a:gd name="T56" fmla="*/ 24 w 26"/>
                <a:gd name="T57" fmla="*/ 35 h 42"/>
                <a:gd name="T58" fmla="*/ 24 w 26"/>
                <a:gd name="T59" fmla="*/ 35 h 42"/>
                <a:gd name="T60" fmla="*/ 26 w 26"/>
                <a:gd name="T61" fmla="*/ 35 h 42"/>
                <a:gd name="T62" fmla="*/ 26 w 26"/>
                <a:gd name="T63" fmla="*/ 35 h 42"/>
                <a:gd name="T64" fmla="*/ 26 w 26"/>
                <a:gd name="T65" fmla="*/ 37 h 42"/>
                <a:gd name="T66" fmla="*/ 26 w 26"/>
                <a:gd name="T67" fmla="*/ 39 h 42"/>
                <a:gd name="T68" fmla="*/ 26 w 26"/>
                <a:gd name="T69" fmla="*/ 39 h 42"/>
                <a:gd name="T70" fmla="*/ 26 w 26"/>
                <a:gd name="T71" fmla="*/ 39 h 42"/>
                <a:gd name="T72" fmla="*/ 24 w 26"/>
                <a:gd name="T73" fmla="*/ 39 h 42"/>
                <a:gd name="T74" fmla="*/ 19 w 26"/>
                <a:gd name="T75" fmla="*/ 42 h 42"/>
                <a:gd name="T76" fmla="*/ 12 w 26"/>
                <a:gd name="T77" fmla="*/ 42 h 42"/>
                <a:gd name="T78" fmla="*/ 10 w 26"/>
                <a:gd name="T79" fmla="*/ 39 h 42"/>
                <a:gd name="T80" fmla="*/ 7 w 26"/>
                <a:gd name="T81" fmla="*/ 32 h 42"/>
                <a:gd name="T82" fmla="*/ 5 w 26"/>
                <a:gd name="T83" fmla="*/ 25 h 42"/>
                <a:gd name="T84" fmla="*/ 5 w 26"/>
                <a:gd name="T85" fmla="*/ 21 h 42"/>
                <a:gd name="T86" fmla="*/ 3 w 26"/>
                <a:gd name="T87" fmla="*/ 14 h 42"/>
                <a:gd name="T88" fmla="*/ 0 w 26"/>
                <a:gd name="T89" fmla="*/ 7 h 42"/>
                <a:gd name="T90" fmla="*/ 0 w 26"/>
                <a:gd name="T91" fmla="*/ 4 h 42"/>
                <a:gd name="T92" fmla="*/ 0 w 26"/>
                <a:gd name="T93" fmla="*/ 2 h 42"/>
                <a:gd name="T94" fmla="*/ 3 w 26"/>
                <a:gd name="T95" fmla="*/ 0 h 42"/>
                <a:gd name="T96" fmla="*/ 3 w 26"/>
                <a:gd name="T97" fmla="*/ 0 h 42"/>
                <a:gd name="T98" fmla="*/ 7 w 26"/>
                <a:gd name="T99" fmla="*/ 0 h 42"/>
                <a:gd name="T100" fmla="*/ 7 w 26"/>
                <a:gd name="T10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 h="42">
                  <a:moveTo>
                    <a:pt x="7" y="0"/>
                  </a:moveTo>
                  <a:lnTo>
                    <a:pt x="7" y="0"/>
                  </a:lnTo>
                  <a:lnTo>
                    <a:pt x="7" y="0"/>
                  </a:lnTo>
                  <a:lnTo>
                    <a:pt x="7" y="0"/>
                  </a:lnTo>
                  <a:lnTo>
                    <a:pt x="7" y="2"/>
                  </a:lnTo>
                  <a:lnTo>
                    <a:pt x="7" y="2"/>
                  </a:lnTo>
                  <a:lnTo>
                    <a:pt x="5" y="4"/>
                  </a:lnTo>
                  <a:lnTo>
                    <a:pt x="5" y="4"/>
                  </a:lnTo>
                  <a:lnTo>
                    <a:pt x="5" y="4"/>
                  </a:lnTo>
                  <a:lnTo>
                    <a:pt x="5" y="4"/>
                  </a:lnTo>
                  <a:lnTo>
                    <a:pt x="5" y="4"/>
                  </a:lnTo>
                  <a:lnTo>
                    <a:pt x="5" y="7"/>
                  </a:lnTo>
                  <a:lnTo>
                    <a:pt x="5" y="7"/>
                  </a:lnTo>
                  <a:lnTo>
                    <a:pt x="5" y="7"/>
                  </a:lnTo>
                  <a:lnTo>
                    <a:pt x="5" y="7"/>
                  </a:lnTo>
                  <a:lnTo>
                    <a:pt x="5" y="7"/>
                  </a:lnTo>
                  <a:lnTo>
                    <a:pt x="5" y="7"/>
                  </a:lnTo>
                  <a:lnTo>
                    <a:pt x="7" y="9"/>
                  </a:lnTo>
                  <a:lnTo>
                    <a:pt x="7" y="9"/>
                  </a:lnTo>
                  <a:lnTo>
                    <a:pt x="5" y="9"/>
                  </a:lnTo>
                  <a:lnTo>
                    <a:pt x="5" y="11"/>
                  </a:lnTo>
                  <a:lnTo>
                    <a:pt x="5" y="11"/>
                  </a:lnTo>
                  <a:lnTo>
                    <a:pt x="7" y="11"/>
                  </a:lnTo>
                  <a:lnTo>
                    <a:pt x="7" y="11"/>
                  </a:lnTo>
                  <a:lnTo>
                    <a:pt x="7" y="11"/>
                  </a:lnTo>
                  <a:lnTo>
                    <a:pt x="10" y="14"/>
                  </a:lnTo>
                  <a:lnTo>
                    <a:pt x="10" y="14"/>
                  </a:lnTo>
                  <a:lnTo>
                    <a:pt x="10" y="14"/>
                  </a:lnTo>
                  <a:lnTo>
                    <a:pt x="10" y="14"/>
                  </a:lnTo>
                  <a:lnTo>
                    <a:pt x="12" y="14"/>
                  </a:lnTo>
                  <a:lnTo>
                    <a:pt x="12" y="16"/>
                  </a:lnTo>
                  <a:lnTo>
                    <a:pt x="12" y="16"/>
                  </a:lnTo>
                  <a:lnTo>
                    <a:pt x="12" y="16"/>
                  </a:lnTo>
                  <a:lnTo>
                    <a:pt x="12" y="16"/>
                  </a:lnTo>
                  <a:lnTo>
                    <a:pt x="12" y="18"/>
                  </a:lnTo>
                  <a:lnTo>
                    <a:pt x="12" y="18"/>
                  </a:lnTo>
                  <a:lnTo>
                    <a:pt x="12" y="21"/>
                  </a:lnTo>
                  <a:lnTo>
                    <a:pt x="14" y="21"/>
                  </a:lnTo>
                  <a:lnTo>
                    <a:pt x="14" y="21"/>
                  </a:lnTo>
                  <a:lnTo>
                    <a:pt x="14" y="21"/>
                  </a:lnTo>
                  <a:lnTo>
                    <a:pt x="14" y="23"/>
                  </a:lnTo>
                  <a:lnTo>
                    <a:pt x="14" y="23"/>
                  </a:lnTo>
                  <a:lnTo>
                    <a:pt x="14" y="23"/>
                  </a:lnTo>
                  <a:lnTo>
                    <a:pt x="17" y="23"/>
                  </a:lnTo>
                  <a:lnTo>
                    <a:pt x="17" y="25"/>
                  </a:lnTo>
                  <a:lnTo>
                    <a:pt x="17" y="25"/>
                  </a:lnTo>
                  <a:lnTo>
                    <a:pt x="17" y="25"/>
                  </a:lnTo>
                  <a:lnTo>
                    <a:pt x="17" y="25"/>
                  </a:lnTo>
                  <a:lnTo>
                    <a:pt x="19" y="28"/>
                  </a:lnTo>
                  <a:lnTo>
                    <a:pt x="21" y="28"/>
                  </a:lnTo>
                  <a:lnTo>
                    <a:pt x="21" y="30"/>
                  </a:lnTo>
                  <a:lnTo>
                    <a:pt x="21" y="30"/>
                  </a:lnTo>
                  <a:lnTo>
                    <a:pt x="24" y="30"/>
                  </a:lnTo>
                  <a:lnTo>
                    <a:pt x="24" y="28"/>
                  </a:lnTo>
                  <a:lnTo>
                    <a:pt x="24" y="28"/>
                  </a:lnTo>
                  <a:lnTo>
                    <a:pt x="24" y="28"/>
                  </a:lnTo>
                  <a:lnTo>
                    <a:pt x="24" y="28"/>
                  </a:lnTo>
                  <a:lnTo>
                    <a:pt x="24" y="32"/>
                  </a:lnTo>
                  <a:lnTo>
                    <a:pt x="26" y="35"/>
                  </a:lnTo>
                  <a:lnTo>
                    <a:pt x="24" y="32"/>
                  </a:lnTo>
                  <a:lnTo>
                    <a:pt x="24" y="32"/>
                  </a:lnTo>
                  <a:lnTo>
                    <a:pt x="24" y="32"/>
                  </a:lnTo>
                  <a:lnTo>
                    <a:pt x="24" y="32"/>
                  </a:lnTo>
                  <a:lnTo>
                    <a:pt x="24" y="32"/>
                  </a:lnTo>
                  <a:lnTo>
                    <a:pt x="24" y="32"/>
                  </a:lnTo>
                  <a:lnTo>
                    <a:pt x="24" y="32"/>
                  </a:lnTo>
                  <a:lnTo>
                    <a:pt x="24" y="32"/>
                  </a:lnTo>
                  <a:lnTo>
                    <a:pt x="24" y="32"/>
                  </a:lnTo>
                  <a:lnTo>
                    <a:pt x="24" y="32"/>
                  </a:lnTo>
                  <a:lnTo>
                    <a:pt x="24" y="32"/>
                  </a:lnTo>
                  <a:lnTo>
                    <a:pt x="24" y="32"/>
                  </a:lnTo>
                  <a:lnTo>
                    <a:pt x="24" y="32"/>
                  </a:lnTo>
                  <a:lnTo>
                    <a:pt x="24" y="35"/>
                  </a:lnTo>
                  <a:lnTo>
                    <a:pt x="24" y="35"/>
                  </a:lnTo>
                  <a:lnTo>
                    <a:pt x="24" y="35"/>
                  </a:lnTo>
                  <a:lnTo>
                    <a:pt x="24" y="35"/>
                  </a:lnTo>
                  <a:lnTo>
                    <a:pt x="21" y="35"/>
                  </a:lnTo>
                  <a:lnTo>
                    <a:pt x="21" y="35"/>
                  </a:lnTo>
                  <a:lnTo>
                    <a:pt x="21" y="35"/>
                  </a:lnTo>
                  <a:lnTo>
                    <a:pt x="21" y="37"/>
                  </a:lnTo>
                  <a:lnTo>
                    <a:pt x="21" y="37"/>
                  </a:lnTo>
                  <a:lnTo>
                    <a:pt x="21" y="37"/>
                  </a:lnTo>
                  <a:lnTo>
                    <a:pt x="21" y="37"/>
                  </a:lnTo>
                  <a:lnTo>
                    <a:pt x="21" y="37"/>
                  </a:lnTo>
                  <a:lnTo>
                    <a:pt x="24" y="35"/>
                  </a:lnTo>
                  <a:lnTo>
                    <a:pt x="24" y="35"/>
                  </a:lnTo>
                  <a:lnTo>
                    <a:pt x="24" y="35"/>
                  </a:lnTo>
                  <a:lnTo>
                    <a:pt x="24" y="35"/>
                  </a:lnTo>
                  <a:lnTo>
                    <a:pt x="24" y="37"/>
                  </a:lnTo>
                  <a:lnTo>
                    <a:pt x="24" y="35"/>
                  </a:lnTo>
                  <a:lnTo>
                    <a:pt x="26" y="35"/>
                  </a:lnTo>
                  <a:lnTo>
                    <a:pt x="26" y="35"/>
                  </a:lnTo>
                  <a:lnTo>
                    <a:pt x="26" y="35"/>
                  </a:lnTo>
                  <a:lnTo>
                    <a:pt x="26" y="35"/>
                  </a:lnTo>
                  <a:lnTo>
                    <a:pt x="26" y="35"/>
                  </a:lnTo>
                  <a:lnTo>
                    <a:pt x="26" y="35"/>
                  </a:lnTo>
                  <a:lnTo>
                    <a:pt x="26" y="35"/>
                  </a:lnTo>
                  <a:lnTo>
                    <a:pt x="26" y="37"/>
                  </a:lnTo>
                  <a:lnTo>
                    <a:pt x="26" y="37"/>
                  </a:lnTo>
                  <a:lnTo>
                    <a:pt x="26" y="37"/>
                  </a:lnTo>
                  <a:lnTo>
                    <a:pt x="26" y="39"/>
                  </a:lnTo>
                  <a:lnTo>
                    <a:pt x="26" y="39"/>
                  </a:lnTo>
                  <a:lnTo>
                    <a:pt x="26" y="39"/>
                  </a:lnTo>
                  <a:lnTo>
                    <a:pt x="26" y="39"/>
                  </a:lnTo>
                  <a:lnTo>
                    <a:pt x="26" y="39"/>
                  </a:lnTo>
                  <a:lnTo>
                    <a:pt x="26" y="39"/>
                  </a:lnTo>
                  <a:lnTo>
                    <a:pt x="26" y="39"/>
                  </a:lnTo>
                  <a:lnTo>
                    <a:pt x="26" y="39"/>
                  </a:lnTo>
                  <a:lnTo>
                    <a:pt x="26" y="39"/>
                  </a:lnTo>
                  <a:lnTo>
                    <a:pt x="26" y="39"/>
                  </a:lnTo>
                  <a:lnTo>
                    <a:pt x="24" y="39"/>
                  </a:lnTo>
                  <a:lnTo>
                    <a:pt x="21" y="39"/>
                  </a:lnTo>
                  <a:lnTo>
                    <a:pt x="19" y="42"/>
                  </a:lnTo>
                  <a:lnTo>
                    <a:pt x="19" y="42"/>
                  </a:lnTo>
                  <a:lnTo>
                    <a:pt x="17" y="42"/>
                  </a:lnTo>
                  <a:lnTo>
                    <a:pt x="14" y="42"/>
                  </a:lnTo>
                  <a:lnTo>
                    <a:pt x="12" y="42"/>
                  </a:lnTo>
                  <a:lnTo>
                    <a:pt x="12" y="42"/>
                  </a:lnTo>
                  <a:lnTo>
                    <a:pt x="10" y="42"/>
                  </a:lnTo>
                  <a:lnTo>
                    <a:pt x="10" y="39"/>
                  </a:lnTo>
                  <a:lnTo>
                    <a:pt x="10" y="37"/>
                  </a:lnTo>
                  <a:lnTo>
                    <a:pt x="10" y="35"/>
                  </a:lnTo>
                  <a:lnTo>
                    <a:pt x="7" y="32"/>
                  </a:lnTo>
                  <a:lnTo>
                    <a:pt x="7" y="30"/>
                  </a:lnTo>
                  <a:lnTo>
                    <a:pt x="7" y="28"/>
                  </a:lnTo>
                  <a:lnTo>
                    <a:pt x="5" y="25"/>
                  </a:lnTo>
                  <a:lnTo>
                    <a:pt x="5" y="25"/>
                  </a:lnTo>
                  <a:lnTo>
                    <a:pt x="5" y="23"/>
                  </a:lnTo>
                  <a:lnTo>
                    <a:pt x="5" y="21"/>
                  </a:lnTo>
                  <a:lnTo>
                    <a:pt x="3" y="18"/>
                  </a:lnTo>
                  <a:lnTo>
                    <a:pt x="3" y="16"/>
                  </a:lnTo>
                  <a:lnTo>
                    <a:pt x="3" y="14"/>
                  </a:lnTo>
                  <a:lnTo>
                    <a:pt x="0" y="11"/>
                  </a:lnTo>
                  <a:lnTo>
                    <a:pt x="0" y="9"/>
                  </a:lnTo>
                  <a:lnTo>
                    <a:pt x="0" y="7"/>
                  </a:lnTo>
                  <a:lnTo>
                    <a:pt x="0" y="4"/>
                  </a:lnTo>
                  <a:lnTo>
                    <a:pt x="0" y="4"/>
                  </a:lnTo>
                  <a:lnTo>
                    <a:pt x="0" y="4"/>
                  </a:lnTo>
                  <a:lnTo>
                    <a:pt x="0" y="4"/>
                  </a:lnTo>
                  <a:lnTo>
                    <a:pt x="0" y="2"/>
                  </a:lnTo>
                  <a:lnTo>
                    <a:pt x="0" y="2"/>
                  </a:lnTo>
                  <a:lnTo>
                    <a:pt x="0" y="2"/>
                  </a:lnTo>
                  <a:lnTo>
                    <a:pt x="0" y="0"/>
                  </a:lnTo>
                  <a:lnTo>
                    <a:pt x="3" y="0"/>
                  </a:lnTo>
                  <a:lnTo>
                    <a:pt x="3" y="0"/>
                  </a:lnTo>
                  <a:lnTo>
                    <a:pt x="3" y="0"/>
                  </a:lnTo>
                  <a:lnTo>
                    <a:pt x="3" y="0"/>
                  </a:lnTo>
                  <a:lnTo>
                    <a:pt x="5" y="0"/>
                  </a:lnTo>
                  <a:lnTo>
                    <a:pt x="5" y="0"/>
                  </a:lnTo>
                  <a:lnTo>
                    <a:pt x="7" y="0"/>
                  </a:lnTo>
                  <a:lnTo>
                    <a:pt x="7" y="0"/>
                  </a:lnTo>
                  <a:lnTo>
                    <a:pt x="7" y="0"/>
                  </a:lnTo>
                  <a:lnTo>
                    <a:pt x="7" y="0"/>
                  </a:lnTo>
                  <a:lnTo>
                    <a:pt x="7" y="0"/>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811">
              <a:extLst>
                <a:ext uri="{FF2B5EF4-FFF2-40B4-BE49-F238E27FC236}">
                  <a16:creationId xmlns:a16="http://schemas.microsoft.com/office/drawing/2014/main" id="{595895AA-CE8C-4D11-82F7-E12CA3003372}"/>
                </a:ext>
              </a:extLst>
            </p:cNvPr>
            <p:cNvSpPr>
              <a:spLocks/>
            </p:cNvSpPr>
            <p:nvPr/>
          </p:nvSpPr>
          <p:spPr bwMode="auto">
            <a:xfrm>
              <a:off x="7301706" y="4659313"/>
              <a:ext cx="11113" cy="11113"/>
            </a:xfrm>
            <a:custGeom>
              <a:avLst/>
              <a:gdLst>
                <a:gd name="T0" fmla="*/ 5 w 7"/>
                <a:gd name="T1" fmla="*/ 7 h 7"/>
                <a:gd name="T2" fmla="*/ 3 w 7"/>
                <a:gd name="T3" fmla="*/ 7 h 7"/>
                <a:gd name="T4" fmla="*/ 3 w 7"/>
                <a:gd name="T5" fmla="*/ 7 h 7"/>
                <a:gd name="T6" fmla="*/ 5 w 7"/>
                <a:gd name="T7" fmla="*/ 5 h 7"/>
                <a:gd name="T8" fmla="*/ 5 w 7"/>
                <a:gd name="T9" fmla="*/ 5 h 7"/>
                <a:gd name="T10" fmla="*/ 3 w 7"/>
                <a:gd name="T11" fmla="*/ 5 h 7"/>
                <a:gd name="T12" fmla="*/ 3 w 7"/>
                <a:gd name="T13" fmla="*/ 5 h 7"/>
                <a:gd name="T14" fmla="*/ 3 w 7"/>
                <a:gd name="T15" fmla="*/ 5 h 7"/>
                <a:gd name="T16" fmla="*/ 3 w 7"/>
                <a:gd name="T17" fmla="*/ 5 h 7"/>
                <a:gd name="T18" fmla="*/ 3 w 7"/>
                <a:gd name="T19" fmla="*/ 5 h 7"/>
                <a:gd name="T20" fmla="*/ 3 w 7"/>
                <a:gd name="T21" fmla="*/ 5 h 7"/>
                <a:gd name="T22" fmla="*/ 3 w 7"/>
                <a:gd name="T23" fmla="*/ 5 h 7"/>
                <a:gd name="T24" fmla="*/ 0 w 7"/>
                <a:gd name="T25" fmla="*/ 5 h 7"/>
                <a:gd name="T26" fmla="*/ 0 w 7"/>
                <a:gd name="T27" fmla="*/ 3 h 7"/>
                <a:gd name="T28" fmla="*/ 3 w 7"/>
                <a:gd name="T29" fmla="*/ 3 h 7"/>
                <a:gd name="T30" fmla="*/ 3 w 7"/>
                <a:gd name="T31" fmla="*/ 0 h 7"/>
                <a:gd name="T32" fmla="*/ 5 w 7"/>
                <a:gd name="T33" fmla="*/ 3 h 7"/>
                <a:gd name="T34" fmla="*/ 7 w 7"/>
                <a:gd name="T35" fmla="*/ 5 h 7"/>
                <a:gd name="T36" fmla="*/ 5 w 7"/>
                <a:gd name="T37" fmla="*/ 5 h 7"/>
                <a:gd name="T38" fmla="*/ 5 w 7"/>
                <a:gd name="T3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5" y="7"/>
                  </a:moveTo>
                  <a:lnTo>
                    <a:pt x="3" y="7"/>
                  </a:lnTo>
                  <a:lnTo>
                    <a:pt x="3" y="7"/>
                  </a:lnTo>
                  <a:lnTo>
                    <a:pt x="5" y="5"/>
                  </a:lnTo>
                  <a:lnTo>
                    <a:pt x="5" y="5"/>
                  </a:lnTo>
                  <a:lnTo>
                    <a:pt x="3" y="5"/>
                  </a:lnTo>
                  <a:lnTo>
                    <a:pt x="3" y="5"/>
                  </a:lnTo>
                  <a:lnTo>
                    <a:pt x="3" y="5"/>
                  </a:lnTo>
                  <a:lnTo>
                    <a:pt x="3" y="5"/>
                  </a:lnTo>
                  <a:lnTo>
                    <a:pt x="3" y="5"/>
                  </a:lnTo>
                  <a:lnTo>
                    <a:pt x="3" y="5"/>
                  </a:lnTo>
                  <a:lnTo>
                    <a:pt x="3" y="5"/>
                  </a:lnTo>
                  <a:lnTo>
                    <a:pt x="0" y="5"/>
                  </a:lnTo>
                  <a:lnTo>
                    <a:pt x="0" y="3"/>
                  </a:lnTo>
                  <a:lnTo>
                    <a:pt x="3" y="3"/>
                  </a:lnTo>
                  <a:lnTo>
                    <a:pt x="3" y="0"/>
                  </a:lnTo>
                  <a:lnTo>
                    <a:pt x="5" y="3"/>
                  </a:lnTo>
                  <a:lnTo>
                    <a:pt x="7" y="5"/>
                  </a:lnTo>
                  <a:lnTo>
                    <a:pt x="5" y="5"/>
                  </a:lnTo>
                  <a:lnTo>
                    <a:pt x="5"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812">
              <a:extLst>
                <a:ext uri="{FF2B5EF4-FFF2-40B4-BE49-F238E27FC236}">
                  <a16:creationId xmlns:a16="http://schemas.microsoft.com/office/drawing/2014/main" id="{D924F03A-167E-4E8C-9A3E-3F377B6A321C}"/>
                </a:ext>
              </a:extLst>
            </p:cNvPr>
            <p:cNvSpPr>
              <a:spLocks noEditPoints="1"/>
            </p:cNvSpPr>
            <p:nvPr/>
          </p:nvSpPr>
          <p:spPr bwMode="auto">
            <a:xfrm>
              <a:off x="7203281" y="4614863"/>
              <a:ext cx="187325" cy="93663"/>
            </a:xfrm>
            <a:custGeom>
              <a:avLst/>
              <a:gdLst>
                <a:gd name="T0" fmla="*/ 95 w 118"/>
                <a:gd name="T1" fmla="*/ 54 h 59"/>
                <a:gd name="T2" fmla="*/ 95 w 118"/>
                <a:gd name="T3" fmla="*/ 49 h 59"/>
                <a:gd name="T4" fmla="*/ 116 w 118"/>
                <a:gd name="T5" fmla="*/ 42 h 59"/>
                <a:gd name="T6" fmla="*/ 116 w 118"/>
                <a:gd name="T7" fmla="*/ 38 h 59"/>
                <a:gd name="T8" fmla="*/ 7 w 118"/>
                <a:gd name="T9" fmla="*/ 19 h 59"/>
                <a:gd name="T10" fmla="*/ 23 w 118"/>
                <a:gd name="T11" fmla="*/ 14 h 59"/>
                <a:gd name="T12" fmla="*/ 39 w 118"/>
                <a:gd name="T13" fmla="*/ 12 h 59"/>
                <a:gd name="T14" fmla="*/ 55 w 118"/>
                <a:gd name="T15" fmla="*/ 7 h 59"/>
                <a:gd name="T16" fmla="*/ 72 w 118"/>
                <a:gd name="T17" fmla="*/ 3 h 59"/>
                <a:gd name="T18" fmla="*/ 90 w 118"/>
                <a:gd name="T19" fmla="*/ 0 h 59"/>
                <a:gd name="T20" fmla="*/ 93 w 118"/>
                <a:gd name="T21" fmla="*/ 14 h 59"/>
                <a:gd name="T22" fmla="*/ 97 w 118"/>
                <a:gd name="T23" fmla="*/ 28 h 59"/>
                <a:gd name="T24" fmla="*/ 104 w 118"/>
                <a:gd name="T25" fmla="*/ 38 h 59"/>
                <a:gd name="T26" fmla="*/ 116 w 118"/>
                <a:gd name="T27" fmla="*/ 38 h 59"/>
                <a:gd name="T28" fmla="*/ 114 w 118"/>
                <a:gd name="T29" fmla="*/ 45 h 59"/>
                <a:gd name="T30" fmla="*/ 107 w 118"/>
                <a:gd name="T31" fmla="*/ 52 h 59"/>
                <a:gd name="T32" fmla="*/ 100 w 118"/>
                <a:gd name="T33" fmla="*/ 54 h 59"/>
                <a:gd name="T34" fmla="*/ 100 w 118"/>
                <a:gd name="T35" fmla="*/ 49 h 59"/>
                <a:gd name="T36" fmla="*/ 97 w 118"/>
                <a:gd name="T37" fmla="*/ 47 h 59"/>
                <a:gd name="T38" fmla="*/ 95 w 118"/>
                <a:gd name="T39" fmla="*/ 42 h 59"/>
                <a:gd name="T40" fmla="*/ 90 w 118"/>
                <a:gd name="T41" fmla="*/ 45 h 59"/>
                <a:gd name="T42" fmla="*/ 86 w 118"/>
                <a:gd name="T43" fmla="*/ 42 h 59"/>
                <a:gd name="T44" fmla="*/ 86 w 118"/>
                <a:gd name="T45" fmla="*/ 38 h 59"/>
                <a:gd name="T46" fmla="*/ 90 w 118"/>
                <a:gd name="T47" fmla="*/ 38 h 59"/>
                <a:gd name="T48" fmla="*/ 88 w 118"/>
                <a:gd name="T49" fmla="*/ 35 h 59"/>
                <a:gd name="T50" fmla="*/ 88 w 118"/>
                <a:gd name="T51" fmla="*/ 35 h 59"/>
                <a:gd name="T52" fmla="*/ 83 w 118"/>
                <a:gd name="T53" fmla="*/ 31 h 59"/>
                <a:gd name="T54" fmla="*/ 88 w 118"/>
                <a:gd name="T55" fmla="*/ 31 h 59"/>
                <a:gd name="T56" fmla="*/ 86 w 118"/>
                <a:gd name="T57" fmla="*/ 28 h 59"/>
                <a:gd name="T58" fmla="*/ 83 w 118"/>
                <a:gd name="T59" fmla="*/ 31 h 59"/>
                <a:gd name="T60" fmla="*/ 86 w 118"/>
                <a:gd name="T61" fmla="*/ 26 h 59"/>
                <a:gd name="T62" fmla="*/ 86 w 118"/>
                <a:gd name="T63" fmla="*/ 21 h 59"/>
                <a:gd name="T64" fmla="*/ 81 w 118"/>
                <a:gd name="T65" fmla="*/ 19 h 59"/>
                <a:gd name="T66" fmla="*/ 90 w 118"/>
                <a:gd name="T67" fmla="*/ 12 h 59"/>
                <a:gd name="T68" fmla="*/ 90 w 118"/>
                <a:gd name="T69" fmla="*/ 7 h 59"/>
                <a:gd name="T70" fmla="*/ 86 w 118"/>
                <a:gd name="T71" fmla="*/ 7 h 59"/>
                <a:gd name="T72" fmla="*/ 83 w 118"/>
                <a:gd name="T73" fmla="*/ 10 h 59"/>
                <a:gd name="T74" fmla="*/ 81 w 118"/>
                <a:gd name="T75" fmla="*/ 14 h 59"/>
                <a:gd name="T76" fmla="*/ 79 w 118"/>
                <a:gd name="T77" fmla="*/ 17 h 59"/>
                <a:gd name="T78" fmla="*/ 76 w 118"/>
                <a:gd name="T79" fmla="*/ 19 h 59"/>
                <a:gd name="T80" fmla="*/ 76 w 118"/>
                <a:gd name="T81" fmla="*/ 21 h 59"/>
                <a:gd name="T82" fmla="*/ 76 w 118"/>
                <a:gd name="T83" fmla="*/ 26 h 59"/>
                <a:gd name="T84" fmla="*/ 79 w 118"/>
                <a:gd name="T85" fmla="*/ 28 h 59"/>
                <a:gd name="T86" fmla="*/ 79 w 118"/>
                <a:gd name="T87" fmla="*/ 33 h 59"/>
                <a:gd name="T88" fmla="*/ 86 w 118"/>
                <a:gd name="T89" fmla="*/ 45 h 59"/>
                <a:gd name="T90" fmla="*/ 76 w 118"/>
                <a:gd name="T91" fmla="*/ 42 h 59"/>
                <a:gd name="T92" fmla="*/ 81 w 118"/>
                <a:gd name="T93" fmla="*/ 47 h 59"/>
                <a:gd name="T94" fmla="*/ 88 w 118"/>
                <a:gd name="T95" fmla="*/ 54 h 59"/>
                <a:gd name="T96" fmla="*/ 83 w 118"/>
                <a:gd name="T97" fmla="*/ 54 h 59"/>
                <a:gd name="T98" fmla="*/ 76 w 118"/>
                <a:gd name="T99" fmla="*/ 52 h 59"/>
                <a:gd name="T100" fmla="*/ 74 w 118"/>
                <a:gd name="T101" fmla="*/ 52 h 59"/>
                <a:gd name="T102" fmla="*/ 67 w 118"/>
                <a:gd name="T103" fmla="*/ 47 h 59"/>
                <a:gd name="T104" fmla="*/ 62 w 118"/>
                <a:gd name="T105" fmla="*/ 47 h 59"/>
                <a:gd name="T106" fmla="*/ 62 w 118"/>
                <a:gd name="T107" fmla="*/ 42 h 59"/>
                <a:gd name="T108" fmla="*/ 69 w 118"/>
                <a:gd name="T109" fmla="*/ 33 h 59"/>
                <a:gd name="T110" fmla="*/ 58 w 118"/>
                <a:gd name="T111" fmla="*/ 28 h 59"/>
                <a:gd name="T112" fmla="*/ 51 w 118"/>
                <a:gd name="T113" fmla="*/ 24 h 59"/>
                <a:gd name="T114" fmla="*/ 42 w 118"/>
                <a:gd name="T115" fmla="*/ 19 h 59"/>
                <a:gd name="T116" fmla="*/ 37 w 118"/>
                <a:gd name="T117" fmla="*/ 14 h 59"/>
                <a:gd name="T118" fmla="*/ 28 w 118"/>
                <a:gd name="T119" fmla="*/ 17 h 59"/>
                <a:gd name="T120" fmla="*/ 21 w 118"/>
                <a:gd name="T121" fmla="*/ 21 h 59"/>
                <a:gd name="T122" fmla="*/ 14 w 118"/>
                <a:gd name="T123" fmla="*/ 26 h 59"/>
                <a:gd name="T124" fmla="*/ 9 w 118"/>
                <a:gd name="T125"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 h="59">
                  <a:moveTo>
                    <a:pt x="97" y="54"/>
                  </a:moveTo>
                  <a:lnTo>
                    <a:pt x="97" y="56"/>
                  </a:lnTo>
                  <a:lnTo>
                    <a:pt x="97" y="59"/>
                  </a:lnTo>
                  <a:lnTo>
                    <a:pt x="97" y="56"/>
                  </a:lnTo>
                  <a:lnTo>
                    <a:pt x="95" y="56"/>
                  </a:lnTo>
                  <a:lnTo>
                    <a:pt x="95" y="54"/>
                  </a:lnTo>
                  <a:lnTo>
                    <a:pt x="97" y="54"/>
                  </a:lnTo>
                  <a:lnTo>
                    <a:pt x="95" y="54"/>
                  </a:lnTo>
                  <a:lnTo>
                    <a:pt x="97" y="54"/>
                  </a:lnTo>
                  <a:close/>
                  <a:moveTo>
                    <a:pt x="95" y="49"/>
                  </a:moveTo>
                  <a:lnTo>
                    <a:pt x="93" y="49"/>
                  </a:lnTo>
                  <a:lnTo>
                    <a:pt x="95" y="49"/>
                  </a:lnTo>
                  <a:close/>
                  <a:moveTo>
                    <a:pt x="116" y="49"/>
                  </a:moveTo>
                  <a:lnTo>
                    <a:pt x="114" y="49"/>
                  </a:lnTo>
                  <a:lnTo>
                    <a:pt x="116" y="49"/>
                  </a:lnTo>
                  <a:lnTo>
                    <a:pt x="116" y="47"/>
                  </a:lnTo>
                  <a:lnTo>
                    <a:pt x="116" y="45"/>
                  </a:lnTo>
                  <a:lnTo>
                    <a:pt x="116" y="42"/>
                  </a:lnTo>
                  <a:lnTo>
                    <a:pt x="116" y="40"/>
                  </a:lnTo>
                  <a:lnTo>
                    <a:pt x="116" y="42"/>
                  </a:lnTo>
                  <a:lnTo>
                    <a:pt x="116" y="45"/>
                  </a:lnTo>
                  <a:lnTo>
                    <a:pt x="116" y="47"/>
                  </a:lnTo>
                  <a:lnTo>
                    <a:pt x="116" y="49"/>
                  </a:lnTo>
                  <a:close/>
                  <a:moveTo>
                    <a:pt x="116" y="38"/>
                  </a:moveTo>
                  <a:lnTo>
                    <a:pt x="116" y="40"/>
                  </a:lnTo>
                  <a:lnTo>
                    <a:pt x="116" y="38"/>
                  </a:lnTo>
                  <a:lnTo>
                    <a:pt x="116" y="35"/>
                  </a:lnTo>
                  <a:lnTo>
                    <a:pt x="118" y="38"/>
                  </a:lnTo>
                  <a:lnTo>
                    <a:pt x="116" y="38"/>
                  </a:lnTo>
                  <a:close/>
                  <a:moveTo>
                    <a:pt x="7" y="19"/>
                  </a:moveTo>
                  <a:lnTo>
                    <a:pt x="9" y="17"/>
                  </a:lnTo>
                  <a:lnTo>
                    <a:pt x="11" y="17"/>
                  </a:lnTo>
                  <a:lnTo>
                    <a:pt x="14" y="17"/>
                  </a:lnTo>
                  <a:lnTo>
                    <a:pt x="18" y="17"/>
                  </a:lnTo>
                  <a:lnTo>
                    <a:pt x="21" y="14"/>
                  </a:lnTo>
                  <a:lnTo>
                    <a:pt x="23" y="14"/>
                  </a:lnTo>
                  <a:lnTo>
                    <a:pt x="25" y="14"/>
                  </a:lnTo>
                  <a:lnTo>
                    <a:pt x="28" y="14"/>
                  </a:lnTo>
                  <a:lnTo>
                    <a:pt x="32" y="12"/>
                  </a:lnTo>
                  <a:lnTo>
                    <a:pt x="35" y="12"/>
                  </a:lnTo>
                  <a:lnTo>
                    <a:pt x="37" y="12"/>
                  </a:lnTo>
                  <a:lnTo>
                    <a:pt x="39" y="12"/>
                  </a:lnTo>
                  <a:lnTo>
                    <a:pt x="42" y="10"/>
                  </a:lnTo>
                  <a:lnTo>
                    <a:pt x="46" y="10"/>
                  </a:lnTo>
                  <a:lnTo>
                    <a:pt x="49" y="10"/>
                  </a:lnTo>
                  <a:lnTo>
                    <a:pt x="51" y="10"/>
                  </a:lnTo>
                  <a:lnTo>
                    <a:pt x="53" y="7"/>
                  </a:lnTo>
                  <a:lnTo>
                    <a:pt x="55" y="7"/>
                  </a:lnTo>
                  <a:lnTo>
                    <a:pt x="60" y="7"/>
                  </a:lnTo>
                  <a:lnTo>
                    <a:pt x="62" y="7"/>
                  </a:lnTo>
                  <a:lnTo>
                    <a:pt x="65" y="5"/>
                  </a:lnTo>
                  <a:lnTo>
                    <a:pt x="67" y="5"/>
                  </a:lnTo>
                  <a:lnTo>
                    <a:pt x="69" y="5"/>
                  </a:lnTo>
                  <a:lnTo>
                    <a:pt x="72" y="3"/>
                  </a:lnTo>
                  <a:lnTo>
                    <a:pt x="76" y="3"/>
                  </a:lnTo>
                  <a:lnTo>
                    <a:pt x="79" y="3"/>
                  </a:lnTo>
                  <a:lnTo>
                    <a:pt x="81" y="3"/>
                  </a:lnTo>
                  <a:lnTo>
                    <a:pt x="83" y="0"/>
                  </a:lnTo>
                  <a:lnTo>
                    <a:pt x="86" y="0"/>
                  </a:lnTo>
                  <a:lnTo>
                    <a:pt x="90" y="0"/>
                  </a:lnTo>
                  <a:lnTo>
                    <a:pt x="90" y="3"/>
                  </a:lnTo>
                  <a:lnTo>
                    <a:pt x="90" y="5"/>
                  </a:lnTo>
                  <a:lnTo>
                    <a:pt x="90" y="7"/>
                  </a:lnTo>
                  <a:lnTo>
                    <a:pt x="93" y="10"/>
                  </a:lnTo>
                  <a:lnTo>
                    <a:pt x="93" y="12"/>
                  </a:lnTo>
                  <a:lnTo>
                    <a:pt x="93" y="14"/>
                  </a:lnTo>
                  <a:lnTo>
                    <a:pt x="95" y="17"/>
                  </a:lnTo>
                  <a:lnTo>
                    <a:pt x="95" y="19"/>
                  </a:lnTo>
                  <a:lnTo>
                    <a:pt x="95" y="21"/>
                  </a:lnTo>
                  <a:lnTo>
                    <a:pt x="97" y="24"/>
                  </a:lnTo>
                  <a:lnTo>
                    <a:pt x="97" y="26"/>
                  </a:lnTo>
                  <a:lnTo>
                    <a:pt x="97" y="28"/>
                  </a:lnTo>
                  <a:lnTo>
                    <a:pt x="100" y="31"/>
                  </a:lnTo>
                  <a:lnTo>
                    <a:pt x="100" y="33"/>
                  </a:lnTo>
                  <a:lnTo>
                    <a:pt x="100" y="35"/>
                  </a:lnTo>
                  <a:lnTo>
                    <a:pt x="100" y="38"/>
                  </a:lnTo>
                  <a:lnTo>
                    <a:pt x="102" y="38"/>
                  </a:lnTo>
                  <a:lnTo>
                    <a:pt x="104" y="38"/>
                  </a:lnTo>
                  <a:lnTo>
                    <a:pt x="107" y="38"/>
                  </a:lnTo>
                  <a:lnTo>
                    <a:pt x="109" y="38"/>
                  </a:lnTo>
                  <a:lnTo>
                    <a:pt x="111" y="35"/>
                  </a:lnTo>
                  <a:lnTo>
                    <a:pt x="114" y="35"/>
                  </a:lnTo>
                  <a:lnTo>
                    <a:pt x="116" y="35"/>
                  </a:lnTo>
                  <a:lnTo>
                    <a:pt x="116" y="38"/>
                  </a:lnTo>
                  <a:lnTo>
                    <a:pt x="114" y="38"/>
                  </a:lnTo>
                  <a:lnTo>
                    <a:pt x="116" y="38"/>
                  </a:lnTo>
                  <a:lnTo>
                    <a:pt x="116" y="40"/>
                  </a:lnTo>
                  <a:lnTo>
                    <a:pt x="116" y="42"/>
                  </a:lnTo>
                  <a:lnTo>
                    <a:pt x="114" y="42"/>
                  </a:lnTo>
                  <a:lnTo>
                    <a:pt x="114" y="45"/>
                  </a:lnTo>
                  <a:lnTo>
                    <a:pt x="114" y="47"/>
                  </a:lnTo>
                  <a:lnTo>
                    <a:pt x="111" y="47"/>
                  </a:lnTo>
                  <a:lnTo>
                    <a:pt x="111" y="49"/>
                  </a:lnTo>
                  <a:lnTo>
                    <a:pt x="111" y="52"/>
                  </a:lnTo>
                  <a:lnTo>
                    <a:pt x="109" y="52"/>
                  </a:lnTo>
                  <a:lnTo>
                    <a:pt x="107" y="52"/>
                  </a:lnTo>
                  <a:lnTo>
                    <a:pt x="107" y="54"/>
                  </a:lnTo>
                  <a:lnTo>
                    <a:pt x="104" y="54"/>
                  </a:lnTo>
                  <a:lnTo>
                    <a:pt x="102" y="54"/>
                  </a:lnTo>
                  <a:lnTo>
                    <a:pt x="102" y="56"/>
                  </a:lnTo>
                  <a:lnTo>
                    <a:pt x="100" y="56"/>
                  </a:lnTo>
                  <a:lnTo>
                    <a:pt x="100" y="54"/>
                  </a:lnTo>
                  <a:lnTo>
                    <a:pt x="100" y="52"/>
                  </a:lnTo>
                  <a:lnTo>
                    <a:pt x="102" y="52"/>
                  </a:lnTo>
                  <a:lnTo>
                    <a:pt x="102" y="49"/>
                  </a:lnTo>
                  <a:lnTo>
                    <a:pt x="102" y="52"/>
                  </a:lnTo>
                  <a:lnTo>
                    <a:pt x="100" y="52"/>
                  </a:lnTo>
                  <a:lnTo>
                    <a:pt x="100" y="49"/>
                  </a:lnTo>
                  <a:lnTo>
                    <a:pt x="102" y="49"/>
                  </a:lnTo>
                  <a:lnTo>
                    <a:pt x="100" y="49"/>
                  </a:lnTo>
                  <a:lnTo>
                    <a:pt x="97" y="49"/>
                  </a:lnTo>
                  <a:lnTo>
                    <a:pt x="97" y="47"/>
                  </a:lnTo>
                  <a:lnTo>
                    <a:pt x="100" y="47"/>
                  </a:lnTo>
                  <a:lnTo>
                    <a:pt x="97" y="47"/>
                  </a:lnTo>
                  <a:lnTo>
                    <a:pt x="97" y="45"/>
                  </a:lnTo>
                  <a:lnTo>
                    <a:pt x="97" y="42"/>
                  </a:lnTo>
                  <a:lnTo>
                    <a:pt x="97" y="45"/>
                  </a:lnTo>
                  <a:lnTo>
                    <a:pt x="95" y="47"/>
                  </a:lnTo>
                  <a:lnTo>
                    <a:pt x="95" y="45"/>
                  </a:lnTo>
                  <a:lnTo>
                    <a:pt x="95" y="42"/>
                  </a:lnTo>
                  <a:lnTo>
                    <a:pt x="95" y="45"/>
                  </a:lnTo>
                  <a:lnTo>
                    <a:pt x="93" y="45"/>
                  </a:lnTo>
                  <a:lnTo>
                    <a:pt x="95" y="45"/>
                  </a:lnTo>
                  <a:lnTo>
                    <a:pt x="95" y="47"/>
                  </a:lnTo>
                  <a:lnTo>
                    <a:pt x="93" y="47"/>
                  </a:lnTo>
                  <a:lnTo>
                    <a:pt x="90" y="45"/>
                  </a:lnTo>
                  <a:lnTo>
                    <a:pt x="88" y="45"/>
                  </a:lnTo>
                  <a:lnTo>
                    <a:pt x="90" y="45"/>
                  </a:lnTo>
                  <a:lnTo>
                    <a:pt x="90" y="47"/>
                  </a:lnTo>
                  <a:lnTo>
                    <a:pt x="88" y="45"/>
                  </a:lnTo>
                  <a:lnTo>
                    <a:pt x="88" y="42"/>
                  </a:lnTo>
                  <a:lnTo>
                    <a:pt x="86" y="42"/>
                  </a:lnTo>
                  <a:lnTo>
                    <a:pt x="86" y="40"/>
                  </a:lnTo>
                  <a:lnTo>
                    <a:pt x="86" y="42"/>
                  </a:lnTo>
                  <a:lnTo>
                    <a:pt x="88" y="42"/>
                  </a:lnTo>
                  <a:lnTo>
                    <a:pt x="88" y="40"/>
                  </a:lnTo>
                  <a:lnTo>
                    <a:pt x="88" y="38"/>
                  </a:lnTo>
                  <a:lnTo>
                    <a:pt x="86" y="38"/>
                  </a:lnTo>
                  <a:lnTo>
                    <a:pt x="86" y="40"/>
                  </a:lnTo>
                  <a:lnTo>
                    <a:pt x="86" y="38"/>
                  </a:lnTo>
                  <a:lnTo>
                    <a:pt x="88" y="38"/>
                  </a:lnTo>
                  <a:lnTo>
                    <a:pt x="88" y="35"/>
                  </a:lnTo>
                  <a:lnTo>
                    <a:pt x="88" y="38"/>
                  </a:lnTo>
                  <a:lnTo>
                    <a:pt x="90" y="38"/>
                  </a:lnTo>
                  <a:lnTo>
                    <a:pt x="93" y="38"/>
                  </a:lnTo>
                  <a:lnTo>
                    <a:pt x="93" y="35"/>
                  </a:lnTo>
                  <a:lnTo>
                    <a:pt x="93" y="33"/>
                  </a:lnTo>
                  <a:lnTo>
                    <a:pt x="93" y="35"/>
                  </a:lnTo>
                  <a:lnTo>
                    <a:pt x="90" y="35"/>
                  </a:lnTo>
                  <a:lnTo>
                    <a:pt x="88" y="35"/>
                  </a:lnTo>
                  <a:lnTo>
                    <a:pt x="90" y="35"/>
                  </a:lnTo>
                  <a:lnTo>
                    <a:pt x="90" y="33"/>
                  </a:lnTo>
                  <a:lnTo>
                    <a:pt x="88" y="33"/>
                  </a:lnTo>
                  <a:lnTo>
                    <a:pt x="88" y="35"/>
                  </a:lnTo>
                  <a:lnTo>
                    <a:pt x="88" y="33"/>
                  </a:lnTo>
                  <a:lnTo>
                    <a:pt x="88" y="35"/>
                  </a:lnTo>
                  <a:lnTo>
                    <a:pt x="86" y="35"/>
                  </a:lnTo>
                  <a:lnTo>
                    <a:pt x="86" y="33"/>
                  </a:lnTo>
                  <a:lnTo>
                    <a:pt x="83" y="33"/>
                  </a:lnTo>
                  <a:lnTo>
                    <a:pt x="83" y="35"/>
                  </a:lnTo>
                  <a:lnTo>
                    <a:pt x="83" y="33"/>
                  </a:lnTo>
                  <a:lnTo>
                    <a:pt x="83" y="31"/>
                  </a:lnTo>
                  <a:lnTo>
                    <a:pt x="83" y="28"/>
                  </a:lnTo>
                  <a:lnTo>
                    <a:pt x="83" y="31"/>
                  </a:lnTo>
                  <a:lnTo>
                    <a:pt x="86" y="31"/>
                  </a:lnTo>
                  <a:lnTo>
                    <a:pt x="86" y="33"/>
                  </a:lnTo>
                  <a:lnTo>
                    <a:pt x="88" y="33"/>
                  </a:lnTo>
                  <a:lnTo>
                    <a:pt x="88" y="31"/>
                  </a:lnTo>
                  <a:lnTo>
                    <a:pt x="86" y="31"/>
                  </a:lnTo>
                  <a:lnTo>
                    <a:pt x="86" y="28"/>
                  </a:lnTo>
                  <a:lnTo>
                    <a:pt x="88" y="28"/>
                  </a:lnTo>
                  <a:lnTo>
                    <a:pt x="86" y="28"/>
                  </a:lnTo>
                  <a:lnTo>
                    <a:pt x="86" y="26"/>
                  </a:lnTo>
                  <a:lnTo>
                    <a:pt x="86" y="28"/>
                  </a:lnTo>
                  <a:lnTo>
                    <a:pt x="86" y="26"/>
                  </a:lnTo>
                  <a:lnTo>
                    <a:pt x="83" y="26"/>
                  </a:lnTo>
                  <a:lnTo>
                    <a:pt x="83" y="28"/>
                  </a:lnTo>
                  <a:lnTo>
                    <a:pt x="81" y="28"/>
                  </a:lnTo>
                  <a:lnTo>
                    <a:pt x="83" y="28"/>
                  </a:lnTo>
                  <a:lnTo>
                    <a:pt x="83" y="31"/>
                  </a:lnTo>
                  <a:lnTo>
                    <a:pt x="81" y="31"/>
                  </a:lnTo>
                  <a:lnTo>
                    <a:pt x="81" y="28"/>
                  </a:lnTo>
                  <a:lnTo>
                    <a:pt x="81" y="26"/>
                  </a:lnTo>
                  <a:lnTo>
                    <a:pt x="81" y="24"/>
                  </a:lnTo>
                  <a:lnTo>
                    <a:pt x="83" y="26"/>
                  </a:lnTo>
                  <a:lnTo>
                    <a:pt x="86" y="26"/>
                  </a:lnTo>
                  <a:lnTo>
                    <a:pt x="86" y="24"/>
                  </a:lnTo>
                  <a:lnTo>
                    <a:pt x="86" y="21"/>
                  </a:lnTo>
                  <a:lnTo>
                    <a:pt x="86" y="19"/>
                  </a:lnTo>
                  <a:lnTo>
                    <a:pt x="88" y="19"/>
                  </a:lnTo>
                  <a:lnTo>
                    <a:pt x="86" y="19"/>
                  </a:lnTo>
                  <a:lnTo>
                    <a:pt x="86" y="21"/>
                  </a:lnTo>
                  <a:lnTo>
                    <a:pt x="86" y="19"/>
                  </a:lnTo>
                  <a:lnTo>
                    <a:pt x="83" y="21"/>
                  </a:lnTo>
                  <a:lnTo>
                    <a:pt x="83" y="24"/>
                  </a:lnTo>
                  <a:lnTo>
                    <a:pt x="83" y="21"/>
                  </a:lnTo>
                  <a:lnTo>
                    <a:pt x="81" y="21"/>
                  </a:lnTo>
                  <a:lnTo>
                    <a:pt x="81" y="19"/>
                  </a:lnTo>
                  <a:lnTo>
                    <a:pt x="83" y="17"/>
                  </a:lnTo>
                  <a:lnTo>
                    <a:pt x="83" y="14"/>
                  </a:lnTo>
                  <a:lnTo>
                    <a:pt x="83" y="12"/>
                  </a:lnTo>
                  <a:lnTo>
                    <a:pt x="86" y="12"/>
                  </a:lnTo>
                  <a:lnTo>
                    <a:pt x="88" y="12"/>
                  </a:lnTo>
                  <a:lnTo>
                    <a:pt x="90" y="12"/>
                  </a:lnTo>
                  <a:lnTo>
                    <a:pt x="88" y="12"/>
                  </a:lnTo>
                  <a:lnTo>
                    <a:pt x="86" y="12"/>
                  </a:lnTo>
                  <a:lnTo>
                    <a:pt x="86" y="10"/>
                  </a:lnTo>
                  <a:lnTo>
                    <a:pt x="88" y="10"/>
                  </a:lnTo>
                  <a:lnTo>
                    <a:pt x="88" y="7"/>
                  </a:lnTo>
                  <a:lnTo>
                    <a:pt x="90" y="7"/>
                  </a:lnTo>
                  <a:lnTo>
                    <a:pt x="88" y="7"/>
                  </a:lnTo>
                  <a:lnTo>
                    <a:pt x="90" y="5"/>
                  </a:lnTo>
                  <a:lnTo>
                    <a:pt x="88" y="5"/>
                  </a:lnTo>
                  <a:lnTo>
                    <a:pt x="88" y="7"/>
                  </a:lnTo>
                  <a:lnTo>
                    <a:pt x="86" y="10"/>
                  </a:lnTo>
                  <a:lnTo>
                    <a:pt x="86" y="7"/>
                  </a:lnTo>
                  <a:lnTo>
                    <a:pt x="86" y="5"/>
                  </a:lnTo>
                  <a:lnTo>
                    <a:pt x="86" y="7"/>
                  </a:lnTo>
                  <a:lnTo>
                    <a:pt x="83" y="7"/>
                  </a:lnTo>
                  <a:lnTo>
                    <a:pt x="83" y="10"/>
                  </a:lnTo>
                  <a:lnTo>
                    <a:pt x="86" y="10"/>
                  </a:lnTo>
                  <a:lnTo>
                    <a:pt x="83" y="10"/>
                  </a:lnTo>
                  <a:lnTo>
                    <a:pt x="83" y="12"/>
                  </a:lnTo>
                  <a:lnTo>
                    <a:pt x="81" y="14"/>
                  </a:lnTo>
                  <a:lnTo>
                    <a:pt x="81" y="12"/>
                  </a:lnTo>
                  <a:lnTo>
                    <a:pt x="81" y="10"/>
                  </a:lnTo>
                  <a:lnTo>
                    <a:pt x="81" y="12"/>
                  </a:lnTo>
                  <a:lnTo>
                    <a:pt x="81" y="14"/>
                  </a:lnTo>
                  <a:lnTo>
                    <a:pt x="81" y="17"/>
                  </a:lnTo>
                  <a:lnTo>
                    <a:pt x="81" y="14"/>
                  </a:lnTo>
                  <a:lnTo>
                    <a:pt x="79" y="12"/>
                  </a:lnTo>
                  <a:lnTo>
                    <a:pt x="76" y="14"/>
                  </a:lnTo>
                  <a:lnTo>
                    <a:pt x="79" y="14"/>
                  </a:lnTo>
                  <a:lnTo>
                    <a:pt x="79" y="17"/>
                  </a:lnTo>
                  <a:lnTo>
                    <a:pt x="76" y="17"/>
                  </a:lnTo>
                  <a:lnTo>
                    <a:pt x="79" y="17"/>
                  </a:lnTo>
                  <a:lnTo>
                    <a:pt x="79" y="19"/>
                  </a:lnTo>
                  <a:lnTo>
                    <a:pt x="79" y="17"/>
                  </a:lnTo>
                  <a:lnTo>
                    <a:pt x="76" y="17"/>
                  </a:lnTo>
                  <a:lnTo>
                    <a:pt x="76" y="19"/>
                  </a:lnTo>
                  <a:lnTo>
                    <a:pt x="79" y="19"/>
                  </a:lnTo>
                  <a:lnTo>
                    <a:pt x="76" y="19"/>
                  </a:lnTo>
                  <a:lnTo>
                    <a:pt x="74" y="19"/>
                  </a:lnTo>
                  <a:lnTo>
                    <a:pt x="72" y="19"/>
                  </a:lnTo>
                  <a:lnTo>
                    <a:pt x="74" y="19"/>
                  </a:lnTo>
                  <a:lnTo>
                    <a:pt x="76" y="21"/>
                  </a:lnTo>
                  <a:lnTo>
                    <a:pt x="79" y="21"/>
                  </a:lnTo>
                  <a:lnTo>
                    <a:pt x="79" y="24"/>
                  </a:lnTo>
                  <a:lnTo>
                    <a:pt x="76" y="24"/>
                  </a:lnTo>
                  <a:lnTo>
                    <a:pt x="79" y="24"/>
                  </a:lnTo>
                  <a:lnTo>
                    <a:pt x="79" y="26"/>
                  </a:lnTo>
                  <a:lnTo>
                    <a:pt x="76" y="26"/>
                  </a:lnTo>
                  <a:lnTo>
                    <a:pt x="76" y="24"/>
                  </a:lnTo>
                  <a:lnTo>
                    <a:pt x="76" y="26"/>
                  </a:lnTo>
                  <a:lnTo>
                    <a:pt x="79" y="26"/>
                  </a:lnTo>
                  <a:lnTo>
                    <a:pt x="79" y="28"/>
                  </a:lnTo>
                  <a:lnTo>
                    <a:pt x="76" y="28"/>
                  </a:lnTo>
                  <a:lnTo>
                    <a:pt x="79" y="28"/>
                  </a:lnTo>
                  <a:lnTo>
                    <a:pt x="79" y="31"/>
                  </a:lnTo>
                  <a:lnTo>
                    <a:pt x="76" y="31"/>
                  </a:lnTo>
                  <a:lnTo>
                    <a:pt x="79" y="31"/>
                  </a:lnTo>
                  <a:lnTo>
                    <a:pt x="76" y="31"/>
                  </a:lnTo>
                  <a:lnTo>
                    <a:pt x="79" y="31"/>
                  </a:lnTo>
                  <a:lnTo>
                    <a:pt x="79" y="33"/>
                  </a:lnTo>
                  <a:lnTo>
                    <a:pt x="79" y="35"/>
                  </a:lnTo>
                  <a:lnTo>
                    <a:pt x="79" y="38"/>
                  </a:lnTo>
                  <a:lnTo>
                    <a:pt x="81" y="40"/>
                  </a:lnTo>
                  <a:lnTo>
                    <a:pt x="81" y="42"/>
                  </a:lnTo>
                  <a:lnTo>
                    <a:pt x="83" y="45"/>
                  </a:lnTo>
                  <a:lnTo>
                    <a:pt x="86" y="45"/>
                  </a:lnTo>
                  <a:lnTo>
                    <a:pt x="86" y="47"/>
                  </a:lnTo>
                  <a:lnTo>
                    <a:pt x="83" y="47"/>
                  </a:lnTo>
                  <a:lnTo>
                    <a:pt x="83" y="45"/>
                  </a:lnTo>
                  <a:lnTo>
                    <a:pt x="81" y="45"/>
                  </a:lnTo>
                  <a:lnTo>
                    <a:pt x="79" y="45"/>
                  </a:lnTo>
                  <a:lnTo>
                    <a:pt x="76" y="42"/>
                  </a:lnTo>
                  <a:lnTo>
                    <a:pt x="76" y="38"/>
                  </a:lnTo>
                  <a:lnTo>
                    <a:pt x="76" y="40"/>
                  </a:lnTo>
                  <a:lnTo>
                    <a:pt x="76" y="42"/>
                  </a:lnTo>
                  <a:lnTo>
                    <a:pt x="76" y="45"/>
                  </a:lnTo>
                  <a:lnTo>
                    <a:pt x="79" y="45"/>
                  </a:lnTo>
                  <a:lnTo>
                    <a:pt x="81" y="47"/>
                  </a:lnTo>
                  <a:lnTo>
                    <a:pt x="83" y="47"/>
                  </a:lnTo>
                  <a:lnTo>
                    <a:pt x="86" y="47"/>
                  </a:lnTo>
                  <a:lnTo>
                    <a:pt x="86" y="49"/>
                  </a:lnTo>
                  <a:lnTo>
                    <a:pt x="86" y="52"/>
                  </a:lnTo>
                  <a:lnTo>
                    <a:pt x="88" y="52"/>
                  </a:lnTo>
                  <a:lnTo>
                    <a:pt x="88" y="54"/>
                  </a:lnTo>
                  <a:lnTo>
                    <a:pt x="88" y="56"/>
                  </a:lnTo>
                  <a:lnTo>
                    <a:pt x="88" y="54"/>
                  </a:lnTo>
                  <a:lnTo>
                    <a:pt x="86" y="54"/>
                  </a:lnTo>
                  <a:lnTo>
                    <a:pt x="86" y="52"/>
                  </a:lnTo>
                  <a:lnTo>
                    <a:pt x="83" y="52"/>
                  </a:lnTo>
                  <a:lnTo>
                    <a:pt x="83" y="54"/>
                  </a:lnTo>
                  <a:lnTo>
                    <a:pt x="83" y="52"/>
                  </a:lnTo>
                  <a:lnTo>
                    <a:pt x="83" y="54"/>
                  </a:lnTo>
                  <a:lnTo>
                    <a:pt x="83" y="52"/>
                  </a:lnTo>
                  <a:lnTo>
                    <a:pt x="81" y="52"/>
                  </a:lnTo>
                  <a:lnTo>
                    <a:pt x="79" y="52"/>
                  </a:lnTo>
                  <a:lnTo>
                    <a:pt x="76" y="52"/>
                  </a:lnTo>
                  <a:lnTo>
                    <a:pt x="74" y="52"/>
                  </a:lnTo>
                  <a:lnTo>
                    <a:pt x="74" y="49"/>
                  </a:lnTo>
                  <a:lnTo>
                    <a:pt x="74" y="47"/>
                  </a:lnTo>
                  <a:lnTo>
                    <a:pt x="72" y="47"/>
                  </a:lnTo>
                  <a:lnTo>
                    <a:pt x="74" y="49"/>
                  </a:lnTo>
                  <a:lnTo>
                    <a:pt x="74" y="52"/>
                  </a:lnTo>
                  <a:lnTo>
                    <a:pt x="72" y="52"/>
                  </a:lnTo>
                  <a:lnTo>
                    <a:pt x="72" y="49"/>
                  </a:lnTo>
                  <a:lnTo>
                    <a:pt x="69" y="49"/>
                  </a:lnTo>
                  <a:lnTo>
                    <a:pt x="69" y="47"/>
                  </a:lnTo>
                  <a:lnTo>
                    <a:pt x="67" y="45"/>
                  </a:lnTo>
                  <a:lnTo>
                    <a:pt x="67" y="47"/>
                  </a:lnTo>
                  <a:lnTo>
                    <a:pt x="65" y="47"/>
                  </a:lnTo>
                  <a:lnTo>
                    <a:pt x="67" y="47"/>
                  </a:lnTo>
                  <a:lnTo>
                    <a:pt x="67" y="49"/>
                  </a:lnTo>
                  <a:lnTo>
                    <a:pt x="65" y="49"/>
                  </a:lnTo>
                  <a:lnTo>
                    <a:pt x="62" y="49"/>
                  </a:lnTo>
                  <a:lnTo>
                    <a:pt x="62" y="47"/>
                  </a:lnTo>
                  <a:lnTo>
                    <a:pt x="62" y="45"/>
                  </a:lnTo>
                  <a:lnTo>
                    <a:pt x="65" y="45"/>
                  </a:lnTo>
                  <a:lnTo>
                    <a:pt x="65" y="42"/>
                  </a:lnTo>
                  <a:lnTo>
                    <a:pt x="65" y="45"/>
                  </a:lnTo>
                  <a:lnTo>
                    <a:pt x="62" y="45"/>
                  </a:lnTo>
                  <a:lnTo>
                    <a:pt x="62" y="42"/>
                  </a:lnTo>
                  <a:lnTo>
                    <a:pt x="65" y="42"/>
                  </a:lnTo>
                  <a:lnTo>
                    <a:pt x="65" y="40"/>
                  </a:lnTo>
                  <a:lnTo>
                    <a:pt x="67" y="38"/>
                  </a:lnTo>
                  <a:lnTo>
                    <a:pt x="67" y="35"/>
                  </a:lnTo>
                  <a:lnTo>
                    <a:pt x="67" y="33"/>
                  </a:lnTo>
                  <a:lnTo>
                    <a:pt x="69" y="33"/>
                  </a:lnTo>
                  <a:lnTo>
                    <a:pt x="67" y="31"/>
                  </a:lnTo>
                  <a:lnTo>
                    <a:pt x="65" y="28"/>
                  </a:lnTo>
                  <a:lnTo>
                    <a:pt x="65" y="31"/>
                  </a:lnTo>
                  <a:lnTo>
                    <a:pt x="62" y="31"/>
                  </a:lnTo>
                  <a:lnTo>
                    <a:pt x="60" y="31"/>
                  </a:lnTo>
                  <a:lnTo>
                    <a:pt x="58" y="28"/>
                  </a:lnTo>
                  <a:lnTo>
                    <a:pt x="55" y="28"/>
                  </a:lnTo>
                  <a:lnTo>
                    <a:pt x="53" y="28"/>
                  </a:lnTo>
                  <a:lnTo>
                    <a:pt x="51" y="26"/>
                  </a:lnTo>
                  <a:lnTo>
                    <a:pt x="53" y="26"/>
                  </a:lnTo>
                  <a:lnTo>
                    <a:pt x="53" y="24"/>
                  </a:lnTo>
                  <a:lnTo>
                    <a:pt x="51" y="24"/>
                  </a:lnTo>
                  <a:lnTo>
                    <a:pt x="49" y="24"/>
                  </a:lnTo>
                  <a:lnTo>
                    <a:pt x="46" y="24"/>
                  </a:lnTo>
                  <a:lnTo>
                    <a:pt x="44" y="21"/>
                  </a:lnTo>
                  <a:lnTo>
                    <a:pt x="44" y="19"/>
                  </a:lnTo>
                  <a:lnTo>
                    <a:pt x="44" y="17"/>
                  </a:lnTo>
                  <a:lnTo>
                    <a:pt x="42" y="19"/>
                  </a:lnTo>
                  <a:lnTo>
                    <a:pt x="42" y="17"/>
                  </a:lnTo>
                  <a:lnTo>
                    <a:pt x="39" y="17"/>
                  </a:lnTo>
                  <a:lnTo>
                    <a:pt x="42" y="17"/>
                  </a:lnTo>
                  <a:lnTo>
                    <a:pt x="42" y="14"/>
                  </a:lnTo>
                  <a:lnTo>
                    <a:pt x="39" y="14"/>
                  </a:lnTo>
                  <a:lnTo>
                    <a:pt x="37" y="14"/>
                  </a:lnTo>
                  <a:lnTo>
                    <a:pt x="35" y="14"/>
                  </a:lnTo>
                  <a:lnTo>
                    <a:pt x="32" y="12"/>
                  </a:lnTo>
                  <a:lnTo>
                    <a:pt x="32" y="14"/>
                  </a:lnTo>
                  <a:lnTo>
                    <a:pt x="30" y="14"/>
                  </a:lnTo>
                  <a:lnTo>
                    <a:pt x="30" y="17"/>
                  </a:lnTo>
                  <a:lnTo>
                    <a:pt x="28" y="17"/>
                  </a:lnTo>
                  <a:lnTo>
                    <a:pt x="28" y="19"/>
                  </a:lnTo>
                  <a:lnTo>
                    <a:pt x="25" y="19"/>
                  </a:lnTo>
                  <a:lnTo>
                    <a:pt x="28" y="19"/>
                  </a:lnTo>
                  <a:lnTo>
                    <a:pt x="25" y="19"/>
                  </a:lnTo>
                  <a:lnTo>
                    <a:pt x="23" y="21"/>
                  </a:lnTo>
                  <a:lnTo>
                    <a:pt x="21" y="21"/>
                  </a:lnTo>
                  <a:lnTo>
                    <a:pt x="18" y="19"/>
                  </a:lnTo>
                  <a:lnTo>
                    <a:pt x="18" y="21"/>
                  </a:lnTo>
                  <a:lnTo>
                    <a:pt x="16" y="21"/>
                  </a:lnTo>
                  <a:lnTo>
                    <a:pt x="16" y="24"/>
                  </a:lnTo>
                  <a:lnTo>
                    <a:pt x="16" y="26"/>
                  </a:lnTo>
                  <a:lnTo>
                    <a:pt x="14" y="26"/>
                  </a:lnTo>
                  <a:lnTo>
                    <a:pt x="14" y="24"/>
                  </a:lnTo>
                  <a:lnTo>
                    <a:pt x="11" y="24"/>
                  </a:lnTo>
                  <a:lnTo>
                    <a:pt x="11" y="26"/>
                  </a:lnTo>
                  <a:lnTo>
                    <a:pt x="11" y="28"/>
                  </a:lnTo>
                  <a:lnTo>
                    <a:pt x="9" y="28"/>
                  </a:lnTo>
                  <a:lnTo>
                    <a:pt x="9" y="31"/>
                  </a:lnTo>
                  <a:lnTo>
                    <a:pt x="7" y="31"/>
                  </a:lnTo>
                  <a:lnTo>
                    <a:pt x="4" y="35"/>
                  </a:lnTo>
                  <a:lnTo>
                    <a:pt x="0" y="19"/>
                  </a:lnTo>
                  <a:lnTo>
                    <a:pt x="4" y="19"/>
                  </a:lnTo>
                  <a:lnTo>
                    <a:pt x="7" y="19"/>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813">
              <a:extLst>
                <a:ext uri="{FF2B5EF4-FFF2-40B4-BE49-F238E27FC236}">
                  <a16:creationId xmlns:a16="http://schemas.microsoft.com/office/drawing/2014/main" id="{588555E5-41F6-42F4-BA73-18D8266613ED}"/>
                </a:ext>
              </a:extLst>
            </p:cNvPr>
            <p:cNvSpPr>
              <a:spLocks noEditPoints="1"/>
            </p:cNvSpPr>
            <p:nvPr/>
          </p:nvSpPr>
          <p:spPr bwMode="auto">
            <a:xfrm>
              <a:off x="7354094" y="4522788"/>
              <a:ext cx="55563" cy="122238"/>
            </a:xfrm>
            <a:custGeom>
              <a:avLst/>
              <a:gdLst>
                <a:gd name="T0" fmla="*/ 30 w 35"/>
                <a:gd name="T1" fmla="*/ 61 h 77"/>
                <a:gd name="T2" fmla="*/ 33 w 35"/>
                <a:gd name="T3" fmla="*/ 58 h 77"/>
                <a:gd name="T4" fmla="*/ 33 w 35"/>
                <a:gd name="T5" fmla="*/ 54 h 77"/>
                <a:gd name="T6" fmla="*/ 35 w 35"/>
                <a:gd name="T7" fmla="*/ 49 h 77"/>
                <a:gd name="T8" fmla="*/ 28 w 35"/>
                <a:gd name="T9" fmla="*/ 17 h 77"/>
                <a:gd name="T10" fmla="*/ 26 w 35"/>
                <a:gd name="T11" fmla="*/ 19 h 77"/>
                <a:gd name="T12" fmla="*/ 26 w 35"/>
                <a:gd name="T13" fmla="*/ 19 h 77"/>
                <a:gd name="T14" fmla="*/ 26 w 35"/>
                <a:gd name="T15" fmla="*/ 24 h 77"/>
                <a:gd name="T16" fmla="*/ 26 w 35"/>
                <a:gd name="T17" fmla="*/ 26 h 77"/>
                <a:gd name="T18" fmla="*/ 33 w 35"/>
                <a:gd name="T19" fmla="*/ 26 h 77"/>
                <a:gd name="T20" fmla="*/ 33 w 35"/>
                <a:gd name="T21" fmla="*/ 31 h 77"/>
                <a:gd name="T22" fmla="*/ 35 w 35"/>
                <a:gd name="T23" fmla="*/ 40 h 77"/>
                <a:gd name="T24" fmla="*/ 33 w 35"/>
                <a:gd name="T25" fmla="*/ 40 h 77"/>
                <a:gd name="T26" fmla="*/ 33 w 35"/>
                <a:gd name="T27" fmla="*/ 37 h 77"/>
                <a:gd name="T28" fmla="*/ 33 w 35"/>
                <a:gd name="T29" fmla="*/ 40 h 77"/>
                <a:gd name="T30" fmla="*/ 33 w 35"/>
                <a:gd name="T31" fmla="*/ 44 h 77"/>
                <a:gd name="T32" fmla="*/ 33 w 35"/>
                <a:gd name="T33" fmla="*/ 49 h 77"/>
                <a:gd name="T34" fmla="*/ 33 w 35"/>
                <a:gd name="T35" fmla="*/ 51 h 77"/>
                <a:gd name="T36" fmla="*/ 33 w 35"/>
                <a:gd name="T37" fmla="*/ 56 h 77"/>
                <a:gd name="T38" fmla="*/ 30 w 35"/>
                <a:gd name="T39" fmla="*/ 56 h 77"/>
                <a:gd name="T40" fmla="*/ 30 w 35"/>
                <a:gd name="T41" fmla="*/ 58 h 77"/>
                <a:gd name="T42" fmla="*/ 28 w 35"/>
                <a:gd name="T43" fmla="*/ 61 h 77"/>
                <a:gd name="T44" fmla="*/ 28 w 35"/>
                <a:gd name="T45" fmla="*/ 63 h 77"/>
                <a:gd name="T46" fmla="*/ 28 w 35"/>
                <a:gd name="T47" fmla="*/ 63 h 77"/>
                <a:gd name="T48" fmla="*/ 28 w 35"/>
                <a:gd name="T49" fmla="*/ 63 h 77"/>
                <a:gd name="T50" fmla="*/ 23 w 35"/>
                <a:gd name="T51" fmla="*/ 70 h 77"/>
                <a:gd name="T52" fmla="*/ 26 w 35"/>
                <a:gd name="T53" fmla="*/ 70 h 77"/>
                <a:gd name="T54" fmla="*/ 23 w 35"/>
                <a:gd name="T55" fmla="*/ 72 h 77"/>
                <a:gd name="T56" fmla="*/ 21 w 35"/>
                <a:gd name="T57" fmla="*/ 77 h 77"/>
                <a:gd name="T58" fmla="*/ 21 w 35"/>
                <a:gd name="T59" fmla="*/ 75 h 77"/>
                <a:gd name="T60" fmla="*/ 16 w 35"/>
                <a:gd name="T61" fmla="*/ 70 h 77"/>
                <a:gd name="T62" fmla="*/ 14 w 35"/>
                <a:gd name="T63" fmla="*/ 70 h 77"/>
                <a:gd name="T64" fmla="*/ 14 w 35"/>
                <a:gd name="T65" fmla="*/ 70 h 77"/>
                <a:gd name="T66" fmla="*/ 9 w 35"/>
                <a:gd name="T67" fmla="*/ 68 h 77"/>
                <a:gd name="T68" fmla="*/ 7 w 35"/>
                <a:gd name="T69" fmla="*/ 68 h 77"/>
                <a:gd name="T70" fmla="*/ 2 w 35"/>
                <a:gd name="T71" fmla="*/ 63 h 77"/>
                <a:gd name="T72" fmla="*/ 0 w 35"/>
                <a:gd name="T73" fmla="*/ 61 h 77"/>
                <a:gd name="T74" fmla="*/ 2 w 35"/>
                <a:gd name="T75" fmla="*/ 56 h 77"/>
                <a:gd name="T76" fmla="*/ 5 w 35"/>
                <a:gd name="T77" fmla="*/ 51 h 77"/>
                <a:gd name="T78" fmla="*/ 7 w 35"/>
                <a:gd name="T79" fmla="*/ 49 h 77"/>
                <a:gd name="T80" fmla="*/ 9 w 35"/>
                <a:gd name="T81" fmla="*/ 47 h 77"/>
                <a:gd name="T82" fmla="*/ 12 w 35"/>
                <a:gd name="T83" fmla="*/ 42 h 77"/>
                <a:gd name="T84" fmla="*/ 16 w 35"/>
                <a:gd name="T85" fmla="*/ 40 h 77"/>
                <a:gd name="T86" fmla="*/ 12 w 35"/>
                <a:gd name="T87" fmla="*/ 35 h 77"/>
                <a:gd name="T88" fmla="*/ 5 w 35"/>
                <a:gd name="T89" fmla="*/ 28 h 77"/>
                <a:gd name="T90" fmla="*/ 2 w 35"/>
                <a:gd name="T91" fmla="*/ 26 h 77"/>
                <a:gd name="T92" fmla="*/ 0 w 35"/>
                <a:gd name="T93" fmla="*/ 24 h 77"/>
                <a:gd name="T94" fmla="*/ 2 w 35"/>
                <a:gd name="T95" fmla="*/ 21 h 77"/>
                <a:gd name="T96" fmla="*/ 2 w 35"/>
                <a:gd name="T97" fmla="*/ 17 h 77"/>
                <a:gd name="T98" fmla="*/ 0 w 35"/>
                <a:gd name="T99" fmla="*/ 17 h 77"/>
                <a:gd name="T100" fmla="*/ 2 w 35"/>
                <a:gd name="T101" fmla="*/ 14 h 77"/>
                <a:gd name="T102" fmla="*/ 2 w 35"/>
                <a:gd name="T103" fmla="*/ 10 h 77"/>
                <a:gd name="T104" fmla="*/ 5 w 35"/>
                <a:gd name="T105" fmla="*/ 5 h 77"/>
                <a:gd name="T106" fmla="*/ 7 w 35"/>
                <a:gd name="T107" fmla="*/ 3 h 77"/>
                <a:gd name="T108" fmla="*/ 19 w 35"/>
                <a:gd name="T109" fmla="*/ 5 h 77"/>
                <a:gd name="T110" fmla="*/ 30 w 35"/>
                <a:gd name="T111" fmla="*/ 1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 h="77">
                  <a:moveTo>
                    <a:pt x="30" y="58"/>
                  </a:moveTo>
                  <a:lnTo>
                    <a:pt x="30" y="61"/>
                  </a:lnTo>
                  <a:lnTo>
                    <a:pt x="30" y="61"/>
                  </a:lnTo>
                  <a:lnTo>
                    <a:pt x="28" y="58"/>
                  </a:lnTo>
                  <a:lnTo>
                    <a:pt x="30" y="58"/>
                  </a:lnTo>
                  <a:lnTo>
                    <a:pt x="30" y="58"/>
                  </a:lnTo>
                  <a:lnTo>
                    <a:pt x="30" y="61"/>
                  </a:lnTo>
                  <a:lnTo>
                    <a:pt x="30" y="61"/>
                  </a:lnTo>
                  <a:lnTo>
                    <a:pt x="30" y="61"/>
                  </a:lnTo>
                  <a:lnTo>
                    <a:pt x="30" y="58"/>
                  </a:lnTo>
                  <a:lnTo>
                    <a:pt x="30" y="58"/>
                  </a:lnTo>
                  <a:lnTo>
                    <a:pt x="30" y="58"/>
                  </a:lnTo>
                  <a:lnTo>
                    <a:pt x="30" y="58"/>
                  </a:lnTo>
                  <a:lnTo>
                    <a:pt x="33" y="58"/>
                  </a:lnTo>
                  <a:lnTo>
                    <a:pt x="33" y="58"/>
                  </a:lnTo>
                  <a:lnTo>
                    <a:pt x="33" y="58"/>
                  </a:lnTo>
                  <a:lnTo>
                    <a:pt x="33" y="58"/>
                  </a:lnTo>
                  <a:lnTo>
                    <a:pt x="33" y="58"/>
                  </a:lnTo>
                  <a:lnTo>
                    <a:pt x="30" y="58"/>
                  </a:lnTo>
                  <a:close/>
                  <a:moveTo>
                    <a:pt x="33" y="54"/>
                  </a:moveTo>
                  <a:lnTo>
                    <a:pt x="33" y="56"/>
                  </a:lnTo>
                  <a:lnTo>
                    <a:pt x="33" y="56"/>
                  </a:lnTo>
                  <a:lnTo>
                    <a:pt x="33" y="54"/>
                  </a:lnTo>
                  <a:lnTo>
                    <a:pt x="33" y="54"/>
                  </a:lnTo>
                  <a:lnTo>
                    <a:pt x="33" y="54"/>
                  </a:lnTo>
                  <a:lnTo>
                    <a:pt x="33" y="49"/>
                  </a:lnTo>
                  <a:lnTo>
                    <a:pt x="35" y="49"/>
                  </a:lnTo>
                  <a:lnTo>
                    <a:pt x="35" y="47"/>
                  </a:lnTo>
                  <a:lnTo>
                    <a:pt x="35" y="47"/>
                  </a:lnTo>
                  <a:lnTo>
                    <a:pt x="35" y="47"/>
                  </a:lnTo>
                  <a:lnTo>
                    <a:pt x="35" y="47"/>
                  </a:lnTo>
                  <a:lnTo>
                    <a:pt x="35" y="49"/>
                  </a:lnTo>
                  <a:lnTo>
                    <a:pt x="35" y="49"/>
                  </a:lnTo>
                  <a:lnTo>
                    <a:pt x="33" y="51"/>
                  </a:lnTo>
                  <a:lnTo>
                    <a:pt x="33" y="54"/>
                  </a:lnTo>
                  <a:close/>
                  <a:moveTo>
                    <a:pt x="28" y="14"/>
                  </a:moveTo>
                  <a:lnTo>
                    <a:pt x="28" y="14"/>
                  </a:lnTo>
                  <a:lnTo>
                    <a:pt x="28" y="17"/>
                  </a:lnTo>
                  <a:lnTo>
                    <a:pt x="28" y="17"/>
                  </a:lnTo>
                  <a:lnTo>
                    <a:pt x="28" y="17"/>
                  </a:lnTo>
                  <a:lnTo>
                    <a:pt x="28" y="17"/>
                  </a:lnTo>
                  <a:lnTo>
                    <a:pt x="28" y="17"/>
                  </a:lnTo>
                  <a:lnTo>
                    <a:pt x="28" y="17"/>
                  </a:lnTo>
                  <a:lnTo>
                    <a:pt x="28" y="19"/>
                  </a:lnTo>
                  <a:lnTo>
                    <a:pt x="28" y="19"/>
                  </a:lnTo>
                  <a:lnTo>
                    <a:pt x="28" y="19"/>
                  </a:lnTo>
                  <a:lnTo>
                    <a:pt x="28" y="19"/>
                  </a:lnTo>
                  <a:lnTo>
                    <a:pt x="26" y="19"/>
                  </a:lnTo>
                  <a:lnTo>
                    <a:pt x="26" y="19"/>
                  </a:lnTo>
                  <a:lnTo>
                    <a:pt x="26" y="19"/>
                  </a:lnTo>
                  <a:lnTo>
                    <a:pt x="28" y="19"/>
                  </a:lnTo>
                  <a:lnTo>
                    <a:pt x="26" y="17"/>
                  </a:lnTo>
                  <a:lnTo>
                    <a:pt x="26" y="19"/>
                  </a:lnTo>
                  <a:lnTo>
                    <a:pt x="26" y="19"/>
                  </a:lnTo>
                  <a:lnTo>
                    <a:pt x="26" y="19"/>
                  </a:lnTo>
                  <a:lnTo>
                    <a:pt x="26" y="19"/>
                  </a:lnTo>
                  <a:lnTo>
                    <a:pt x="26" y="19"/>
                  </a:lnTo>
                  <a:lnTo>
                    <a:pt x="26" y="19"/>
                  </a:lnTo>
                  <a:lnTo>
                    <a:pt x="26" y="21"/>
                  </a:lnTo>
                  <a:lnTo>
                    <a:pt x="26" y="21"/>
                  </a:lnTo>
                  <a:lnTo>
                    <a:pt x="26" y="21"/>
                  </a:lnTo>
                  <a:lnTo>
                    <a:pt x="26" y="24"/>
                  </a:lnTo>
                  <a:lnTo>
                    <a:pt x="26" y="24"/>
                  </a:lnTo>
                  <a:lnTo>
                    <a:pt x="26" y="24"/>
                  </a:lnTo>
                  <a:lnTo>
                    <a:pt x="23" y="24"/>
                  </a:lnTo>
                  <a:lnTo>
                    <a:pt x="26" y="24"/>
                  </a:lnTo>
                  <a:lnTo>
                    <a:pt x="26" y="24"/>
                  </a:lnTo>
                  <a:lnTo>
                    <a:pt x="26" y="26"/>
                  </a:lnTo>
                  <a:lnTo>
                    <a:pt x="23" y="26"/>
                  </a:lnTo>
                  <a:lnTo>
                    <a:pt x="26" y="26"/>
                  </a:lnTo>
                  <a:lnTo>
                    <a:pt x="26" y="26"/>
                  </a:lnTo>
                  <a:lnTo>
                    <a:pt x="26" y="26"/>
                  </a:lnTo>
                  <a:lnTo>
                    <a:pt x="26" y="26"/>
                  </a:lnTo>
                  <a:lnTo>
                    <a:pt x="26" y="26"/>
                  </a:lnTo>
                  <a:lnTo>
                    <a:pt x="28" y="26"/>
                  </a:lnTo>
                  <a:lnTo>
                    <a:pt x="28" y="26"/>
                  </a:lnTo>
                  <a:lnTo>
                    <a:pt x="30" y="26"/>
                  </a:lnTo>
                  <a:lnTo>
                    <a:pt x="33" y="26"/>
                  </a:lnTo>
                  <a:lnTo>
                    <a:pt x="33" y="26"/>
                  </a:lnTo>
                  <a:lnTo>
                    <a:pt x="33" y="26"/>
                  </a:lnTo>
                  <a:lnTo>
                    <a:pt x="33" y="26"/>
                  </a:lnTo>
                  <a:lnTo>
                    <a:pt x="30" y="24"/>
                  </a:lnTo>
                  <a:lnTo>
                    <a:pt x="30" y="24"/>
                  </a:lnTo>
                  <a:lnTo>
                    <a:pt x="33" y="26"/>
                  </a:lnTo>
                  <a:lnTo>
                    <a:pt x="33" y="26"/>
                  </a:lnTo>
                  <a:lnTo>
                    <a:pt x="33" y="26"/>
                  </a:lnTo>
                  <a:lnTo>
                    <a:pt x="33" y="28"/>
                  </a:lnTo>
                  <a:lnTo>
                    <a:pt x="33" y="31"/>
                  </a:lnTo>
                  <a:lnTo>
                    <a:pt x="33" y="33"/>
                  </a:lnTo>
                  <a:lnTo>
                    <a:pt x="33" y="33"/>
                  </a:lnTo>
                  <a:lnTo>
                    <a:pt x="33" y="35"/>
                  </a:lnTo>
                  <a:lnTo>
                    <a:pt x="33" y="35"/>
                  </a:lnTo>
                  <a:lnTo>
                    <a:pt x="33" y="37"/>
                  </a:lnTo>
                  <a:lnTo>
                    <a:pt x="33" y="37"/>
                  </a:lnTo>
                  <a:lnTo>
                    <a:pt x="33" y="37"/>
                  </a:lnTo>
                  <a:lnTo>
                    <a:pt x="35" y="40"/>
                  </a:lnTo>
                  <a:lnTo>
                    <a:pt x="35" y="40"/>
                  </a:lnTo>
                  <a:lnTo>
                    <a:pt x="35" y="42"/>
                  </a:lnTo>
                  <a:lnTo>
                    <a:pt x="35" y="42"/>
                  </a:lnTo>
                  <a:lnTo>
                    <a:pt x="35" y="42"/>
                  </a:lnTo>
                  <a:lnTo>
                    <a:pt x="35" y="47"/>
                  </a:lnTo>
                  <a:lnTo>
                    <a:pt x="35" y="47"/>
                  </a:lnTo>
                  <a:lnTo>
                    <a:pt x="33" y="42"/>
                  </a:lnTo>
                  <a:lnTo>
                    <a:pt x="33" y="40"/>
                  </a:lnTo>
                  <a:lnTo>
                    <a:pt x="33" y="40"/>
                  </a:lnTo>
                  <a:lnTo>
                    <a:pt x="33" y="40"/>
                  </a:lnTo>
                  <a:lnTo>
                    <a:pt x="33" y="37"/>
                  </a:lnTo>
                  <a:lnTo>
                    <a:pt x="33" y="37"/>
                  </a:lnTo>
                  <a:lnTo>
                    <a:pt x="33" y="37"/>
                  </a:lnTo>
                  <a:lnTo>
                    <a:pt x="33" y="37"/>
                  </a:lnTo>
                  <a:lnTo>
                    <a:pt x="33" y="37"/>
                  </a:lnTo>
                  <a:lnTo>
                    <a:pt x="33" y="37"/>
                  </a:lnTo>
                  <a:lnTo>
                    <a:pt x="33" y="37"/>
                  </a:lnTo>
                  <a:lnTo>
                    <a:pt x="33" y="37"/>
                  </a:lnTo>
                  <a:lnTo>
                    <a:pt x="33" y="40"/>
                  </a:lnTo>
                  <a:lnTo>
                    <a:pt x="33" y="40"/>
                  </a:lnTo>
                  <a:lnTo>
                    <a:pt x="33" y="40"/>
                  </a:lnTo>
                  <a:lnTo>
                    <a:pt x="33" y="40"/>
                  </a:lnTo>
                  <a:lnTo>
                    <a:pt x="33" y="40"/>
                  </a:lnTo>
                  <a:lnTo>
                    <a:pt x="33" y="40"/>
                  </a:lnTo>
                  <a:lnTo>
                    <a:pt x="33" y="40"/>
                  </a:lnTo>
                  <a:lnTo>
                    <a:pt x="33" y="42"/>
                  </a:lnTo>
                  <a:lnTo>
                    <a:pt x="33" y="42"/>
                  </a:lnTo>
                  <a:lnTo>
                    <a:pt x="33" y="42"/>
                  </a:lnTo>
                  <a:lnTo>
                    <a:pt x="33" y="42"/>
                  </a:lnTo>
                  <a:lnTo>
                    <a:pt x="33" y="42"/>
                  </a:lnTo>
                  <a:lnTo>
                    <a:pt x="33" y="42"/>
                  </a:lnTo>
                  <a:lnTo>
                    <a:pt x="33" y="44"/>
                  </a:lnTo>
                  <a:lnTo>
                    <a:pt x="33" y="44"/>
                  </a:lnTo>
                  <a:lnTo>
                    <a:pt x="33" y="44"/>
                  </a:lnTo>
                  <a:lnTo>
                    <a:pt x="33" y="44"/>
                  </a:lnTo>
                  <a:lnTo>
                    <a:pt x="33" y="47"/>
                  </a:lnTo>
                  <a:lnTo>
                    <a:pt x="33" y="47"/>
                  </a:lnTo>
                  <a:lnTo>
                    <a:pt x="33" y="49"/>
                  </a:lnTo>
                  <a:lnTo>
                    <a:pt x="33" y="49"/>
                  </a:lnTo>
                  <a:lnTo>
                    <a:pt x="33" y="49"/>
                  </a:lnTo>
                  <a:lnTo>
                    <a:pt x="33" y="49"/>
                  </a:lnTo>
                  <a:lnTo>
                    <a:pt x="33" y="49"/>
                  </a:lnTo>
                  <a:lnTo>
                    <a:pt x="33" y="49"/>
                  </a:lnTo>
                  <a:lnTo>
                    <a:pt x="33" y="49"/>
                  </a:lnTo>
                  <a:lnTo>
                    <a:pt x="33" y="51"/>
                  </a:lnTo>
                  <a:lnTo>
                    <a:pt x="33" y="51"/>
                  </a:lnTo>
                  <a:lnTo>
                    <a:pt x="33" y="51"/>
                  </a:lnTo>
                  <a:lnTo>
                    <a:pt x="33" y="51"/>
                  </a:lnTo>
                  <a:lnTo>
                    <a:pt x="33" y="51"/>
                  </a:lnTo>
                  <a:lnTo>
                    <a:pt x="30" y="54"/>
                  </a:lnTo>
                  <a:lnTo>
                    <a:pt x="30" y="54"/>
                  </a:lnTo>
                  <a:lnTo>
                    <a:pt x="30" y="54"/>
                  </a:lnTo>
                  <a:lnTo>
                    <a:pt x="30" y="54"/>
                  </a:lnTo>
                  <a:lnTo>
                    <a:pt x="30" y="54"/>
                  </a:lnTo>
                  <a:lnTo>
                    <a:pt x="30" y="54"/>
                  </a:lnTo>
                  <a:lnTo>
                    <a:pt x="33" y="56"/>
                  </a:lnTo>
                  <a:lnTo>
                    <a:pt x="33" y="56"/>
                  </a:lnTo>
                  <a:lnTo>
                    <a:pt x="30" y="56"/>
                  </a:lnTo>
                  <a:lnTo>
                    <a:pt x="30" y="56"/>
                  </a:lnTo>
                  <a:lnTo>
                    <a:pt x="30" y="56"/>
                  </a:lnTo>
                  <a:lnTo>
                    <a:pt x="30" y="56"/>
                  </a:lnTo>
                  <a:lnTo>
                    <a:pt x="30" y="56"/>
                  </a:lnTo>
                  <a:lnTo>
                    <a:pt x="30" y="56"/>
                  </a:lnTo>
                  <a:lnTo>
                    <a:pt x="30" y="56"/>
                  </a:lnTo>
                  <a:lnTo>
                    <a:pt x="28" y="56"/>
                  </a:lnTo>
                  <a:lnTo>
                    <a:pt x="28" y="56"/>
                  </a:lnTo>
                  <a:lnTo>
                    <a:pt x="28" y="56"/>
                  </a:lnTo>
                  <a:lnTo>
                    <a:pt x="30" y="56"/>
                  </a:lnTo>
                  <a:lnTo>
                    <a:pt x="30" y="56"/>
                  </a:lnTo>
                  <a:lnTo>
                    <a:pt x="30" y="56"/>
                  </a:lnTo>
                  <a:lnTo>
                    <a:pt x="30" y="58"/>
                  </a:lnTo>
                  <a:lnTo>
                    <a:pt x="30" y="58"/>
                  </a:lnTo>
                  <a:lnTo>
                    <a:pt x="30" y="58"/>
                  </a:lnTo>
                  <a:lnTo>
                    <a:pt x="30" y="58"/>
                  </a:lnTo>
                  <a:lnTo>
                    <a:pt x="28" y="58"/>
                  </a:lnTo>
                  <a:lnTo>
                    <a:pt x="28" y="58"/>
                  </a:lnTo>
                  <a:lnTo>
                    <a:pt x="28" y="58"/>
                  </a:lnTo>
                  <a:lnTo>
                    <a:pt x="28" y="58"/>
                  </a:lnTo>
                  <a:lnTo>
                    <a:pt x="28" y="61"/>
                  </a:lnTo>
                  <a:lnTo>
                    <a:pt x="28" y="61"/>
                  </a:lnTo>
                  <a:lnTo>
                    <a:pt x="28" y="61"/>
                  </a:lnTo>
                  <a:lnTo>
                    <a:pt x="30" y="61"/>
                  </a:lnTo>
                  <a:lnTo>
                    <a:pt x="30" y="61"/>
                  </a:lnTo>
                  <a:lnTo>
                    <a:pt x="30" y="61"/>
                  </a:lnTo>
                  <a:lnTo>
                    <a:pt x="30" y="61"/>
                  </a:lnTo>
                  <a:lnTo>
                    <a:pt x="28" y="63"/>
                  </a:lnTo>
                  <a:lnTo>
                    <a:pt x="28" y="63"/>
                  </a:lnTo>
                  <a:lnTo>
                    <a:pt x="28" y="63"/>
                  </a:lnTo>
                  <a:lnTo>
                    <a:pt x="28" y="63"/>
                  </a:lnTo>
                  <a:lnTo>
                    <a:pt x="28" y="63"/>
                  </a:lnTo>
                  <a:lnTo>
                    <a:pt x="28" y="61"/>
                  </a:lnTo>
                  <a:lnTo>
                    <a:pt x="28" y="61"/>
                  </a:lnTo>
                  <a:lnTo>
                    <a:pt x="28" y="63"/>
                  </a:lnTo>
                  <a:lnTo>
                    <a:pt x="28" y="63"/>
                  </a:lnTo>
                  <a:lnTo>
                    <a:pt x="28" y="63"/>
                  </a:lnTo>
                  <a:lnTo>
                    <a:pt x="28" y="63"/>
                  </a:lnTo>
                  <a:lnTo>
                    <a:pt x="26" y="63"/>
                  </a:lnTo>
                  <a:lnTo>
                    <a:pt x="26" y="63"/>
                  </a:lnTo>
                  <a:lnTo>
                    <a:pt x="26" y="65"/>
                  </a:lnTo>
                  <a:lnTo>
                    <a:pt x="26" y="65"/>
                  </a:lnTo>
                  <a:lnTo>
                    <a:pt x="26" y="65"/>
                  </a:lnTo>
                  <a:lnTo>
                    <a:pt x="26" y="65"/>
                  </a:lnTo>
                  <a:lnTo>
                    <a:pt x="26" y="65"/>
                  </a:lnTo>
                  <a:lnTo>
                    <a:pt x="28" y="63"/>
                  </a:lnTo>
                  <a:lnTo>
                    <a:pt x="28" y="65"/>
                  </a:lnTo>
                  <a:lnTo>
                    <a:pt x="28" y="65"/>
                  </a:lnTo>
                  <a:lnTo>
                    <a:pt x="26" y="68"/>
                  </a:lnTo>
                  <a:lnTo>
                    <a:pt x="26" y="68"/>
                  </a:lnTo>
                  <a:lnTo>
                    <a:pt x="26" y="68"/>
                  </a:lnTo>
                  <a:lnTo>
                    <a:pt x="26" y="70"/>
                  </a:lnTo>
                  <a:lnTo>
                    <a:pt x="26" y="70"/>
                  </a:lnTo>
                  <a:lnTo>
                    <a:pt x="23" y="70"/>
                  </a:lnTo>
                  <a:lnTo>
                    <a:pt x="23" y="70"/>
                  </a:lnTo>
                  <a:lnTo>
                    <a:pt x="23" y="70"/>
                  </a:lnTo>
                  <a:lnTo>
                    <a:pt x="23" y="70"/>
                  </a:lnTo>
                  <a:lnTo>
                    <a:pt x="23" y="70"/>
                  </a:lnTo>
                  <a:lnTo>
                    <a:pt x="23" y="70"/>
                  </a:lnTo>
                  <a:lnTo>
                    <a:pt x="23" y="70"/>
                  </a:lnTo>
                  <a:lnTo>
                    <a:pt x="26" y="70"/>
                  </a:lnTo>
                  <a:lnTo>
                    <a:pt x="26" y="70"/>
                  </a:lnTo>
                  <a:lnTo>
                    <a:pt x="26" y="70"/>
                  </a:lnTo>
                  <a:lnTo>
                    <a:pt x="26" y="70"/>
                  </a:lnTo>
                  <a:lnTo>
                    <a:pt x="26" y="72"/>
                  </a:lnTo>
                  <a:lnTo>
                    <a:pt x="26" y="72"/>
                  </a:lnTo>
                  <a:lnTo>
                    <a:pt x="26" y="72"/>
                  </a:lnTo>
                  <a:lnTo>
                    <a:pt x="23" y="72"/>
                  </a:lnTo>
                  <a:lnTo>
                    <a:pt x="23" y="72"/>
                  </a:lnTo>
                  <a:lnTo>
                    <a:pt x="23" y="72"/>
                  </a:lnTo>
                  <a:lnTo>
                    <a:pt x="23" y="75"/>
                  </a:lnTo>
                  <a:lnTo>
                    <a:pt x="23" y="75"/>
                  </a:lnTo>
                  <a:lnTo>
                    <a:pt x="23" y="75"/>
                  </a:lnTo>
                  <a:lnTo>
                    <a:pt x="23" y="75"/>
                  </a:lnTo>
                  <a:lnTo>
                    <a:pt x="23" y="77"/>
                  </a:lnTo>
                  <a:lnTo>
                    <a:pt x="23" y="77"/>
                  </a:lnTo>
                  <a:lnTo>
                    <a:pt x="21" y="77"/>
                  </a:lnTo>
                  <a:lnTo>
                    <a:pt x="21" y="77"/>
                  </a:lnTo>
                  <a:lnTo>
                    <a:pt x="21" y="77"/>
                  </a:lnTo>
                  <a:lnTo>
                    <a:pt x="21" y="77"/>
                  </a:lnTo>
                  <a:lnTo>
                    <a:pt x="21" y="77"/>
                  </a:lnTo>
                  <a:lnTo>
                    <a:pt x="21" y="77"/>
                  </a:lnTo>
                  <a:lnTo>
                    <a:pt x="21" y="77"/>
                  </a:lnTo>
                  <a:lnTo>
                    <a:pt x="21" y="77"/>
                  </a:lnTo>
                  <a:lnTo>
                    <a:pt x="21" y="75"/>
                  </a:lnTo>
                  <a:lnTo>
                    <a:pt x="21" y="75"/>
                  </a:lnTo>
                  <a:lnTo>
                    <a:pt x="21" y="72"/>
                  </a:lnTo>
                  <a:lnTo>
                    <a:pt x="21" y="70"/>
                  </a:lnTo>
                  <a:lnTo>
                    <a:pt x="19" y="70"/>
                  </a:lnTo>
                  <a:lnTo>
                    <a:pt x="19" y="70"/>
                  </a:lnTo>
                  <a:lnTo>
                    <a:pt x="19" y="70"/>
                  </a:lnTo>
                  <a:lnTo>
                    <a:pt x="19" y="70"/>
                  </a:lnTo>
                  <a:lnTo>
                    <a:pt x="19" y="70"/>
                  </a:lnTo>
                  <a:lnTo>
                    <a:pt x="16" y="70"/>
                  </a:lnTo>
                  <a:lnTo>
                    <a:pt x="16" y="70"/>
                  </a:lnTo>
                  <a:lnTo>
                    <a:pt x="16" y="70"/>
                  </a:lnTo>
                  <a:lnTo>
                    <a:pt x="16" y="70"/>
                  </a:lnTo>
                  <a:lnTo>
                    <a:pt x="16" y="70"/>
                  </a:lnTo>
                  <a:lnTo>
                    <a:pt x="16" y="70"/>
                  </a:lnTo>
                  <a:lnTo>
                    <a:pt x="16" y="70"/>
                  </a:lnTo>
                  <a:lnTo>
                    <a:pt x="16" y="70"/>
                  </a:lnTo>
                  <a:lnTo>
                    <a:pt x="14" y="70"/>
                  </a:lnTo>
                  <a:lnTo>
                    <a:pt x="14" y="70"/>
                  </a:lnTo>
                  <a:lnTo>
                    <a:pt x="14" y="70"/>
                  </a:lnTo>
                  <a:lnTo>
                    <a:pt x="14" y="70"/>
                  </a:lnTo>
                  <a:lnTo>
                    <a:pt x="14" y="70"/>
                  </a:lnTo>
                  <a:lnTo>
                    <a:pt x="14" y="70"/>
                  </a:lnTo>
                  <a:lnTo>
                    <a:pt x="14" y="70"/>
                  </a:lnTo>
                  <a:lnTo>
                    <a:pt x="14" y="70"/>
                  </a:lnTo>
                  <a:lnTo>
                    <a:pt x="14" y="70"/>
                  </a:lnTo>
                  <a:lnTo>
                    <a:pt x="14" y="70"/>
                  </a:lnTo>
                  <a:lnTo>
                    <a:pt x="14" y="70"/>
                  </a:lnTo>
                  <a:lnTo>
                    <a:pt x="12" y="70"/>
                  </a:lnTo>
                  <a:lnTo>
                    <a:pt x="12" y="70"/>
                  </a:lnTo>
                  <a:lnTo>
                    <a:pt x="12" y="68"/>
                  </a:lnTo>
                  <a:lnTo>
                    <a:pt x="12" y="68"/>
                  </a:lnTo>
                  <a:lnTo>
                    <a:pt x="12" y="68"/>
                  </a:lnTo>
                  <a:lnTo>
                    <a:pt x="9" y="68"/>
                  </a:lnTo>
                  <a:lnTo>
                    <a:pt x="9" y="68"/>
                  </a:lnTo>
                  <a:lnTo>
                    <a:pt x="9" y="68"/>
                  </a:lnTo>
                  <a:lnTo>
                    <a:pt x="9" y="68"/>
                  </a:lnTo>
                  <a:lnTo>
                    <a:pt x="9" y="68"/>
                  </a:lnTo>
                  <a:lnTo>
                    <a:pt x="7" y="68"/>
                  </a:lnTo>
                  <a:lnTo>
                    <a:pt x="7" y="68"/>
                  </a:lnTo>
                  <a:lnTo>
                    <a:pt x="7" y="68"/>
                  </a:lnTo>
                  <a:lnTo>
                    <a:pt x="7" y="68"/>
                  </a:lnTo>
                  <a:lnTo>
                    <a:pt x="7" y="68"/>
                  </a:lnTo>
                  <a:lnTo>
                    <a:pt x="7" y="68"/>
                  </a:lnTo>
                  <a:lnTo>
                    <a:pt x="7" y="68"/>
                  </a:lnTo>
                  <a:lnTo>
                    <a:pt x="7" y="68"/>
                  </a:lnTo>
                  <a:lnTo>
                    <a:pt x="5" y="65"/>
                  </a:lnTo>
                  <a:lnTo>
                    <a:pt x="2" y="65"/>
                  </a:lnTo>
                  <a:lnTo>
                    <a:pt x="2" y="63"/>
                  </a:lnTo>
                  <a:lnTo>
                    <a:pt x="2" y="63"/>
                  </a:lnTo>
                  <a:lnTo>
                    <a:pt x="2" y="63"/>
                  </a:lnTo>
                  <a:lnTo>
                    <a:pt x="2" y="63"/>
                  </a:lnTo>
                  <a:lnTo>
                    <a:pt x="2" y="63"/>
                  </a:lnTo>
                  <a:lnTo>
                    <a:pt x="2" y="63"/>
                  </a:lnTo>
                  <a:lnTo>
                    <a:pt x="2" y="61"/>
                  </a:lnTo>
                  <a:lnTo>
                    <a:pt x="2" y="61"/>
                  </a:lnTo>
                  <a:lnTo>
                    <a:pt x="0" y="61"/>
                  </a:lnTo>
                  <a:lnTo>
                    <a:pt x="0" y="61"/>
                  </a:lnTo>
                  <a:lnTo>
                    <a:pt x="0" y="61"/>
                  </a:lnTo>
                  <a:lnTo>
                    <a:pt x="0" y="58"/>
                  </a:lnTo>
                  <a:lnTo>
                    <a:pt x="2" y="58"/>
                  </a:lnTo>
                  <a:lnTo>
                    <a:pt x="2" y="58"/>
                  </a:lnTo>
                  <a:lnTo>
                    <a:pt x="2" y="58"/>
                  </a:lnTo>
                  <a:lnTo>
                    <a:pt x="2" y="58"/>
                  </a:lnTo>
                  <a:lnTo>
                    <a:pt x="2" y="58"/>
                  </a:lnTo>
                  <a:lnTo>
                    <a:pt x="2" y="56"/>
                  </a:lnTo>
                  <a:lnTo>
                    <a:pt x="2" y="56"/>
                  </a:lnTo>
                  <a:lnTo>
                    <a:pt x="2" y="56"/>
                  </a:lnTo>
                  <a:lnTo>
                    <a:pt x="2" y="56"/>
                  </a:lnTo>
                  <a:lnTo>
                    <a:pt x="2" y="56"/>
                  </a:lnTo>
                  <a:lnTo>
                    <a:pt x="2" y="56"/>
                  </a:lnTo>
                  <a:lnTo>
                    <a:pt x="2" y="54"/>
                  </a:lnTo>
                  <a:lnTo>
                    <a:pt x="2" y="54"/>
                  </a:lnTo>
                  <a:lnTo>
                    <a:pt x="5" y="51"/>
                  </a:lnTo>
                  <a:lnTo>
                    <a:pt x="5" y="51"/>
                  </a:lnTo>
                  <a:lnTo>
                    <a:pt x="7" y="51"/>
                  </a:lnTo>
                  <a:lnTo>
                    <a:pt x="7" y="51"/>
                  </a:lnTo>
                  <a:lnTo>
                    <a:pt x="7" y="51"/>
                  </a:lnTo>
                  <a:lnTo>
                    <a:pt x="7" y="49"/>
                  </a:lnTo>
                  <a:lnTo>
                    <a:pt x="7" y="49"/>
                  </a:lnTo>
                  <a:lnTo>
                    <a:pt x="7" y="49"/>
                  </a:lnTo>
                  <a:lnTo>
                    <a:pt x="7" y="49"/>
                  </a:lnTo>
                  <a:lnTo>
                    <a:pt x="9" y="49"/>
                  </a:lnTo>
                  <a:lnTo>
                    <a:pt x="9" y="49"/>
                  </a:lnTo>
                  <a:lnTo>
                    <a:pt x="9" y="49"/>
                  </a:lnTo>
                  <a:lnTo>
                    <a:pt x="9" y="49"/>
                  </a:lnTo>
                  <a:lnTo>
                    <a:pt x="9" y="49"/>
                  </a:lnTo>
                  <a:lnTo>
                    <a:pt x="9" y="49"/>
                  </a:lnTo>
                  <a:lnTo>
                    <a:pt x="9" y="47"/>
                  </a:lnTo>
                  <a:lnTo>
                    <a:pt x="9" y="47"/>
                  </a:lnTo>
                  <a:lnTo>
                    <a:pt x="9" y="47"/>
                  </a:lnTo>
                  <a:lnTo>
                    <a:pt x="9" y="47"/>
                  </a:lnTo>
                  <a:lnTo>
                    <a:pt x="9" y="47"/>
                  </a:lnTo>
                  <a:lnTo>
                    <a:pt x="9" y="44"/>
                  </a:lnTo>
                  <a:lnTo>
                    <a:pt x="9" y="44"/>
                  </a:lnTo>
                  <a:lnTo>
                    <a:pt x="12" y="44"/>
                  </a:lnTo>
                  <a:lnTo>
                    <a:pt x="12" y="44"/>
                  </a:lnTo>
                  <a:lnTo>
                    <a:pt x="12" y="42"/>
                  </a:lnTo>
                  <a:lnTo>
                    <a:pt x="12" y="42"/>
                  </a:lnTo>
                  <a:lnTo>
                    <a:pt x="14" y="42"/>
                  </a:lnTo>
                  <a:lnTo>
                    <a:pt x="14" y="42"/>
                  </a:lnTo>
                  <a:lnTo>
                    <a:pt x="14" y="40"/>
                  </a:lnTo>
                  <a:lnTo>
                    <a:pt x="14" y="40"/>
                  </a:lnTo>
                  <a:lnTo>
                    <a:pt x="14" y="40"/>
                  </a:lnTo>
                  <a:lnTo>
                    <a:pt x="16" y="40"/>
                  </a:lnTo>
                  <a:lnTo>
                    <a:pt x="16" y="40"/>
                  </a:lnTo>
                  <a:lnTo>
                    <a:pt x="16" y="37"/>
                  </a:lnTo>
                  <a:lnTo>
                    <a:pt x="16" y="37"/>
                  </a:lnTo>
                  <a:lnTo>
                    <a:pt x="16" y="37"/>
                  </a:lnTo>
                  <a:lnTo>
                    <a:pt x="14" y="37"/>
                  </a:lnTo>
                  <a:lnTo>
                    <a:pt x="12" y="35"/>
                  </a:lnTo>
                  <a:lnTo>
                    <a:pt x="12" y="35"/>
                  </a:lnTo>
                  <a:lnTo>
                    <a:pt x="12" y="35"/>
                  </a:lnTo>
                  <a:lnTo>
                    <a:pt x="12" y="35"/>
                  </a:lnTo>
                  <a:lnTo>
                    <a:pt x="9" y="33"/>
                  </a:lnTo>
                  <a:lnTo>
                    <a:pt x="9" y="33"/>
                  </a:lnTo>
                  <a:lnTo>
                    <a:pt x="9" y="33"/>
                  </a:lnTo>
                  <a:lnTo>
                    <a:pt x="7" y="33"/>
                  </a:lnTo>
                  <a:lnTo>
                    <a:pt x="7" y="33"/>
                  </a:lnTo>
                  <a:lnTo>
                    <a:pt x="7" y="33"/>
                  </a:lnTo>
                  <a:lnTo>
                    <a:pt x="7" y="31"/>
                  </a:lnTo>
                  <a:lnTo>
                    <a:pt x="5" y="28"/>
                  </a:lnTo>
                  <a:lnTo>
                    <a:pt x="5" y="28"/>
                  </a:lnTo>
                  <a:lnTo>
                    <a:pt x="5" y="28"/>
                  </a:lnTo>
                  <a:lnTo>
                    <a:pt x="2" y="28"/>
                  </a:lnTo>
                  <a:lnTo>
                    <a:pt x="2" y="28"/>
                  </a:lnTo>
                  <a:lnTo>
                    <a:pt x="2" y="28"/>
                  </a:lnTo>
                  <a:lnTo>
                    <a:pt x="2" y="28"/>
                  </a:lnTo>
                  <a:lnTo>
                    <a:pt x="2" y="26"/>
                  </a:lnTo>
                  <a:lnTo>
                    <a:pt x="2" y="26"/>
                  </a:lnTo>
                  <a:lnTo>
                    <a:pt x="2" y="26"/>
                  </a:lnTo>
                  <a:lnTo>
                    <a:pt x="2" y="26"/>
                  </a:lnTo>
                  <a:lnTo>
                    <a:pt x="2" y="26"/>
                  </a:lnTo>
                  <a:lnTo>
                    <a:pt x="2" y="26"/>
                  </a:lnTo>
                  <a:lnTo>
                    <a:pt x="0" y="24"/>
                  </a:lnTo>
                  <a:lnTo>
                    <a:pt x="0" y="24"/>
                  </a:lnTo>
                  <a:lnTo>
                    <a:pt x="2" y="24"/>
                  </a:lnTo>
                  <a:lnTo>
                    <a:pt x="0" y="24"/>
                  </a:lnTo>
                  <a:lnTo>
                    <a:pt x="0" y="24"/>
                  </a:lnTo>
                  <a:lnTo>
                    <a:pt x="0" y="24"/>
                  </a:lnTo>
                  <a:lnTo>
                    <a:pt x="0" y="24"/>
                  </a:lnTo>
                  <a:lnTo>
                    <a:pt x="0" y="21"/>
                  </a:lnTo>
                  <a:lnTo>
                    <a:pt x="2" y="21"/>
                  </a:lnTo>
                  <a:lnTo>
                    <a:pt x="2" y="21"/>
                  </a:lnTo>
                  <a:lnTo>
                    <a:pt x="2" y="21"/>
                  </a:lnTo>
                  <a:lnTo>
                    <a:pt x="2" y="21"/>
                  </a:lnTo>
                  <a:lnTo>
                    <a:pt x="2" y="21"/>
                  </a:lnTo>
                  <a:lnTo>
                    <a:pt x="2" y="21"/>
                  </a:lnTo>
                  <a:lnTo>
                    <a:pt x="2" y="19"/>
                  </a:lnTo>
                  <a:lnTo>
                    <a:pt x="2" y="19"/>
                  </a:lnTo>
                  <a:lnTo>
                    <a:pt x="2" y="19"/>
                  </a:lnTo>
                  <a:lnTo>
                    <a:pt x="2" y="19"/>
                  </a:lnTo>
                  <a:lnTo>
                    <a:pt x="2" y="17"/>
                  </a:lnTo>
                  <a:lnTo>
                    <a:pt x="2" y="17"/>
                  </a:lnTo>
                  <a:lnTo>
                    <a:pt x="2" y="17"/>
                  </a:lnTo>
                  <a:lnTo>
                    <a:pt x="2" y="17"/>
                  </a:lnTo>
                  <a:lnTo>
                    <a:pt x="2" y="17"/>
                  </a:lnTo>
                  <a:lnTo>
                    <a:pt x="2" y="17"/>
                  </a:lnTo>
                  <a:lnTo>
                    <a:pt x="2" y="17"/>
                  </a:lnTo>
                  <a:lnTo>
                    <a:pt x="2" y="17"/>
                  </a:lnTo>
                  <a:lnTo>
                    <a:pt x="0" y="17"/>
                  </a:lnTo>
                  <a:lnTo>
                    <a:pt x="0" y="17"/>
                  </a:lnTo>
                  <a:lnTo>
                    <a:pt x="0" y="17"/>
                  </a:lnTo>
                  <a:lnTo>
                    <a:pt x="0" y="17"/>
                  </a:lnTo>
                  <a:lnTo>
                    <a:pt x="0" y="17"/>
                  </a:lnTo>
                  <a:lnTo>
                    <a:pt x="0" y="17"/>
                  </a:lnTo>
                  <a:lnTo>
                    <a:pt x="0" y="14"/>
                  </a:lnTo>
                  <a:lnTo>
                    <a:pt x="0" y="14"/>
                  </a:lnTo>
                  <a:lnTo>
                    <a:pt x="0" y="14"/>
                  </a:lnTo>
                  <a:lnTo>
                    <a:pt x="2" y="14"/>
                  </a:lnTo>
                  <a:lnTo>
                    <a:pt x="2" y="14"/>
                  </a:lnTo>
                  <a:lnTo>
                    <a:pt x="2" y="14"/>
                  </a:lnTo>
                  <a:lnTo>
                    <a:pt x="2" y="12"/>
                  </a:lnTo>
                  <a:lnTo>
                    <a:pt x="2" y="12"/>
                  </a:lnTo>
                  <a:lnTo>
                    <a:pt x="2" y="12"/>
                  </a:lnTo>
                  <a:lnTo>
                    <a:pt x="2" y="12"/>
                  </a:lnTo>
                  <a:lnTo>
                    <a:pt x="2" y="10"/>
                  </a:lnTo>
                  <a:lnTo>
                    <a:pt x="2" y="10"/>
                  </a:lnTo>
                  <a:lnTo>
                    <a:pt x="2" y="10"/>
                  </a:lnTo>
                  <a:lnTo>
                    <a:pt x="5" y="10"/>
                  </a:lnTo>
                  <a:lnTo>
                    <a:pt x="5" y="10"/>
                  </a:lnTo>
                  <a:lnTo>
                    <a:pt x="5" y="10"/>
                  </a:lnTo>
                  <a:lnTo>
                    <a:pt x="5" y="7"/>
                  </a:lnTo>
                  <a:lnTo>
                    <a:pt x="5" y="7"/>
                  </a:lnTo>
                  <a:lnTo>
                    <a:pt x="5" y="5"/>
                  </a:lnTo>
                  <a:lnTo>
                    <a:pt x="5" y="5"/>
                  </a:lnTo>
                  <a:lnTo>
                    <a:pt x="5" y="5"/>
                  </a:lnTo>
                  <a:lnTo>
                    <a:pt x="7" y="3"/>
                  </a:lnTo>
                  <a:lnTo>
                    <a:pt x="7" y="3"/>
                  </a:lnTo>
                  <a:lnTo>
                    <a:pt x="7" y="3"/>
                  </a:lnTo>
                  <a:lnTo>
                    <a:pt x="7" y="3"/>
                  </a:lnTo>
                  <a:lnTo>
                    <a:pt x="7" y="3"/>
                  </a:lnTo>
                  <a:lnTo>
                    <a:pt x="7" y="3"/>
                  </a:lnTo>
                  <a:lnTo>
                    <a:pt x="7" y="3"/>
                  </a:lnTo>
                  <a:lnTo>
                    <a:pt x="7" y="3"/>
                  </a:lnTo>
                  <a:lnTo>
                    <a:pt x="7" y="3"/>
                  </a:lnTo>
                  <a:lnTo>
                    <a:pt x="7" y="0"/>
                  </a:lnTo>
                  <a:lnTo>
                    <a:pt x="7" y="0"/>
                  </a:lnTo>
                  <a:lnTo>
                    <a:pt x="12" y="3"/>
                  </a:lnTo>
                  <a:lnTo>
                    <a:pt x="14" y="3"/>
                  </a:lnTo>
                  <a:lnTo>
                    <a:pt x="16" y="3"/>
                  </a:lnTo>
                  <a:lnTo>
                    <a:pt x="19" y="5"/>
                  </a:lnTo>
                  <a:lnTo>
                    <a:pt x="21" y="5"/>
                  </a:lnTo>
                  <a:lnTo>
                    <a:pt x="23" y="7"/>
                  </a:lnTo>
                  <a:lnTo>
                    <a:pt x="26" y="7"/>
                  </a:lnTo>
                  <a:lnTo>
                    <a:pt x="30" y="7"/>
                  </a:lnTo>
                  <a:lnTo>
                    <a:pt x="30" y="7"/>
                  </a:lnTo>
                  <a:lnTo>
                    <a:pt x="30" y="7"/>
                  </a:lnTo>
                  <a:lnTo>
                    <a:pt x="30" y="10"/>
                  </a:lnTo>
                  <a:lnTo>
                    <a:pt x="30" y="12"/>
                  </a:lnTo>
                  <a:lnTo>
                    <a:pt x="28" y="1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814">
              <a:extLst>
                <a:ext uri="{FF2B5EF4-FFF2-40B4-BE49-F238E27FC236}">
                  <a16:creationId xmlns:a16="http://schemas.microsoft.com/office/drawing/2014/main" id="{A6275721-B395-4E8F-A94A-E29B14BDEA6A}"/>
                </a:ext>
              </a:extLst>
            </p:cNvPr>
            <p:cNvSpPr>
              <a:spLocks noEditPoints="1"/>
            </p:cNvSpPr>
            <p:nvPr/>
          </p:nvSpPr>
          <p:spPr bwMode="auto">
            <a:xfrm>
              <a:off x="7169944" y="4335463"/>
              <a:ext cx="306388" cy="228600"/>
            </a:xfrm>
            <a:custGeom>
              <a:avLst/>
              <a:gdLst>
                <a:gd name="T0" fmla="*/ 160 w 193"/>
                <a:gd name="T1" fmla="*/ 135 h 144"/>
                <a:gd name="T2" fmla="*/ 142 w 193"/>
                <a:gd name="T3" fmla="*/ 139 h 144"/>
                <a:gd name="T4" fmla="*/ 165 w 193"/>
                <a:gd name="T5" fmla="*/ 132 h 144"/>
                <a:gd name="T6" fmla="*/ 172 w 193"/>
                <a:gd name="T7" fmla="*/ 128 h 144"/>
                <a:gd name="T8" fmla="*/ 144 w 193"/>
                <a:gd name="T9" fmla="*/ 132 h 144"/>
                <a:gd name="T10" fmla="*/ 181 w 193"/>
                <a:gd name="T11" fmla="*/ 114 h 144"/>
                <a:gd name="T12" fmla="*/ 184 w 193"/>
                <a:gd name="T13" fmla="*/ 111 h 144"/>
                <a:gd name="T14" fmla="*/ 177 w 193"/>
                <a:gd name="T15" fmla="*/ 118 h 144"/>
                <a:gd name="T16" fmla="*/ 184 w 193"/>
                <a:gd name="T17" fmla="*/ 116 h 144"/>
                <a:gd name="T18" fmla="*/ 191 w 193"/>
                <a:gd name="T19" fmla="*/ 111 h 144"/>
                <a:gd name="T20" fmla="*/ 177 w 193"/>
                <a:gd name="T21" fmla="*/ 123 h 144"/>
                <a:gd name="T22" fmla="*/ 170 w 193"/>
                <a:gd name="T23" fmla="*/ 128 h 144"/>
                <a:gd name="T24" fmla="*/ 158 w 193"/>
                <a:gd name="T25" fmla="*/ 135 h 144"/>
                <a:gd name="T26" fmla="*/ 153 w 193"/>
                <a:gd name="T27" fmla="*/ 137 h 144"/>
                <a:gd name="T28" fmla="*/ 146 w 193"/>
                <a:gd name="T29" fmla="*/ 139 h 144"/>
                <a:gd name="T30" fmla="*/ 151 w 193"/>
                <a:gd name="T31" fmla="*/ 132 h 144"/>
                <a:gd name="T32" fmla="*/ 156 w 193"/>
                <a:gd name="T33" fmla="*/ 125 h 144"/>
                <a:gd name="T34" fmla="*/ 158 w 193"/>
                <a:gd name="T35" fmla="*/ 125 h 144"/>
                <a:gd name="T36" fmla="*/ 160 w 193"/>
                <a:gd name="T37" fmla="*/ 125 h 144"/>
                <a:gd name="T38" fmla="*/ 167 w 193"/>
                <a:gd name="T39" fmla="*/ 121 h 144"/>
                <a:gd name="T40" fmla="*/ 179 w 193"/>
                <a:gd name="T41" fmla="*/ 114 h 144"/>
                <a:gd name="T42" fmla="*/ 188 w 193"/>
                <a:gd name="T43" fmla="*/ 104 h 144"/>
                <a:gd name="T44" fmla="*/ 67 w 193"/>
                <a:gd name="T45" fmla="*/ 46 h 144"/>
                <a:gd name="T46" fmla="*/ 74 w 193"/>
                <a:gd name="T47" fmla="*/ 32 h 144"/>
                <a:gd name="T48" fmla="*/ 100 w 193"/>
                <a:gd name="T49" fmla="*/ 4 h 144"/>
                <a:gd name="T50" fmla="*/ 116 w 193"/>
                <a:gd name="T51" fmla="*/ 2 h 144"/>
                <a:gd name="T52" fmla="*/ 128 w 193"/>
                <a:gd name="T53" fmla="*/ 4 h 144"/>
                <a:gd name="T54" fmla="*/ 132 w 193"/>
                <a:gd name="T55" fmla="*/ 18 h 144"/>
                <a:gd name="T56" fmla="*/ 132 w 193"/>
                <a:gd name="T57" fmla="*/ 27 h 144"/>
                <a:gd name="T58" fmla="*/ 135 w 193"/>
                <a:gd name="T59" fmla="*/ 44 h 144"/>
                <a:gd name="T60" fmla="*/ 142 w 193"/>
                <a:gd name="T61" fmla="*/ 48 h 144"/>
                <a:gd name="T62" fmla="*/ 144 w 193"/>
                <a:gd name="T63" fmla="*/ 65 h 144"/>
                <a:gd name="T64" fmla="*/ 146 w 193"/>
                <a:gd name="T65" fmla="*/ 79 h 144"/>
                <a:gd name="T66" fmla="*/ 146 w 193"/>
                <a:gd name="T67" fmla="*/ 95 h 144"/>
                <a:gd name="T68" fmla="*/ 151 w 193"/>
                <a:gd name="T69" fmla="*/ 111 h 144"/>
                <a:gd name="T70" fmla="*/ 151 w 193"/>
                <a:gd name="T71" fmla="*/ 123 h 144"/>
                <a:gd name="T72" fmla="*/ 146 w 193"/>
                <a:gd name="T73" fmla="*/ 128 h 144"/>
                <a:gd name="T74" fmla="*/ 142 w 193"/>
                <a:gd name="T75" fmla="*/ 121 h 144"/>
                <a:gd name="T76" fmla="*/ 137 w 193"/>
                <a:gd name="T77" fmla="*/ 123 h 144"/>
                <a:gd name="T78" fmla="*/ 121 w 193"/>
                <a:gd name="T79" fmla="*/ 118 h 144"/>
                <a:gd name="T80" fmla="*/ 111 w 193"/>
                <a:gd name="T81" fmla="*/ 109 h 144"/>
                <a:gd name="T82" fmla="*/ 104 w 193"/>
                <a:gd name="T83" fmla="*/ 104 h 144"/>
                <a:gd name="T84" fmla="*/ 88 w 193"/>
                <a:gd name="T85" fmla="*/ 107 h 144"/>
                <a:gd name="T86" fmla="*/ 65 w 193"/>
                <a:gd name="T87" fmla="*/ 111 h 144"/>
                <a:gd name="T88" fmla="*/ 44 w 193"/>
                <a:gd name="T89" fmla="*/ 116 h 144"/>
                <a:gd name="T90" fmla="*/ 21 w 193"/>
                <a:gd name="T91" fmla="*/ 121 h 144"/>
                <a:gd name="T92" fmla="*/ 2 w 193"/>
                <a:gd name="T93" fmla="*/ 123 h 144"/>
                <a:gd name="T94" fmla="*/ 4 w 193"/>
                <a:gd name="T95" fmla="*/ 114 h 144"/>
                <a:gd name="T96" fmla="*/ 11 w 193"/>
                <a:gd name="T97" fmla="*/ 102 h 144"/>
                <a:gd name="T98" fmla="*/ 16 w 193"/>
                <a:gd name="T99" fmla="*/ 90 h 144"/>
                <a:gd name="T100" fmla="*/ 9 w 193"/>
                <a:gd name="T101" fmla="*/ 81 h 144"/>
                <a:gd name="T102" fmla="*/ 30 w 193"/>
                <a:gd name="T103" fmla="*/ 74 h 144"/>
                <a:gd name="T104" fmla="*/ 60 w 193"/>
                <a:gd name="T105" fmla="*/ 69 h 144"/>
                <a:gd name="T106" fmla="*/ 72 w 193"/>
                <a:gd name="T107" fmla="*/ 60 h 144"/>
                <a:gd name="T108" fmla="*/ 70 w 193"/>
                <a:gd name="T109" fmla="*/ 51 h 144"/>
                <a:gd name="T110" fmla="*/ 74 w 193"/>
                <a:gd name="T111" fmla="*/ 44 h 144"/>
                <a:gd name="T112" fmla="*/ 67 w 193"/>
                <a:gd name="T113" fmla="*/ 44 h 144"/>
                <a:gd name="T114" fmla="*/ 74 w 193"/>
                <a:gd name="T115" fmla="*/ 32 h 144"/>
                <a:gd name="T116" fmla="*/ 83 w 193"/>
                <a:gd name="T117" fmla="*/ 1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3" h="144">
                  <a:moveTo>
                    <a:pt x="160" y="135"/>
                  </a:moveTo>
                  <a:lnTo>
                    <a:pt x="156" y="137"/>
                  </a:lnTo>
                  <a:lnTo>
                    <a:pt x="158" y="135"/>
                  </a:lnTo>
                  <a:lnTo>
                    <a:pt x="160" y="135"/>
                  </a:lnTo>
                  <a:lnTo>
                    <a:pt x="160" y="132"/>
                  </a:lnTo>
                  <a:lnTo>
                    <a:pt x="163" y="132"/>
                  </a:lnTo>
                  <a:lnTo>
                    <a:pt x="160" y="135"/>
                  </a:lnTo>
                  <a:close/>
                  <a:moveTo>
                    <a:pt x="144" y="137"/>
                  </a:moveTo>
                  <a:lnTo>
                    <a:pt x="144" y="139"/>
                  </a:lnTo>
                  <a:lnTo>
                    <a:pt x="144" y="142"/>
                  </a:lnTo>
                  <a:lnTo>
                    <a:pt x="142" y="142"/>
                  </a:lnTo>
                  <a:lnTo>
                    <a:pt x="142" y="144"/>
                  </a:lnTo>
                  <a:lnTo>
                    <a:pt x="142" y="142"/>
                  </a:lnTo>
                  <a:lnTo>
                    <a:pt x="142" y="139"/>
                  </a:lnTo>
                  <a:lnTo>
                    <a:pt x="144" y="139"/>
                  </a:lnTo>
                  <a:lnTo>
                    <a:pt x="144" y="137"/>
                  </a:lnTo>
                  <a:close/>
                  <a:moveTo>
                    <a:pt x="165" y="132"/>
                  </a:moveTo>
                  <a:lnTo>
                    <a:pt x="163" y="132"/>
                  </a:lnTo>
                  <a:lnTo>
                    <a:pt x="163" y="135"/>
                  </a:lnTo>
                  <a:lnTo>
                    <a:pt x="163" y="132"/>
                  </a:lnTo>
                  <a:lnTo>
                    <a:pt x="165" y="132"/>
                  </a:lnTo>
                  <a:lnTo>
                    <a:pt x="167" y="130"/>
                  </a:lnTo>
                  <a:lnTo>
                    <a:pt x="170" y="130"/>
                  </a:lnTo>
                  <a:lnTo>
                    <a:pt x="170" y="128"/>
                  </a:lnTo>
                  <a:lnTo>
                    <a:pt x="172" y="128"/>
                  </a:lnTo>
                  <a:lnTo>
                    <a:pt x="174" y="125"/>
                  </a:lnTo>
                  <a:lnTo>
                    <a:pt x="172" y="125"/>
                  </a:lnTo>
                  <a:lnTo>
                    <a:pt x="172" y="128"/>
                  </a:lnTo>
                  <a:lnTo>
                    <a:pt x="170" y="128"/>
                  </a:lnTo>
                  <a:lnTo>
                    <a:pt x="170" y="130"/>
                  </a:lnTo>
                  <a:lnTo>
                    <a:pt x="167" y="130"/>
                  </a:lnTo>
                  <a:lnTo>
                    <a:pt x="165" y="132"/>
                  </a:lnTo>
                  <a:close/>
                  <a:moveTo>
                    <a:pt x="146" y="135"/>
                  </a:moveTo>
                  <a:lnTo>
                    <a:pt x="144" y="135"/>
                  </a:lnTo>
                  <a:lnTo>
                    <a:pt x="144" y="132"/>
                  </a:lnTo>
                  <a:lnTo>
                    <a:pt x="146" y="130"/>
                  </a:lnTo>
                  <a:lnTo>
                    <a:pt x="146" y="132"/>
                  </a:lnTo>
                  <a:lnTo>
                    <a:pt x="146" y="135"/>
                  </a:lnTo>
                  <a:close/>
                  <a:moveTo>
                    <a:pt x="184" y="114"/>
                  </a:moveTo>
                  <a:lnTo>
                    <a:pt x="181" y="114"/>
                  </a:lnTo>
                  <a:lnTo>
                    <a:pt x="181" y="111"/>
                  </a:lnTo>
                  <a:lnTo>
                    <a:pt x="181" y="114"/>
                  </a:lnTo>
                  <a:lnTo>
                    <a:pt x="184" y="114"/>
                  </a:lnTo>
                  <a:close/>
                  <a:moveTo>
                    <a:pt x="186" y="111"/>
                  </a:moveTo>
                  <a:lnTo>
                    <a:pt x="188" y="111"/>
                  </a:lnTo>
                  <a:lnTo>
                    <a:pt x="186" y="111"/>
                  </a:lnTo>
                  <a:lnTo>
                    <a:pt x="186" y="114"/>
                  </a:lnTo>
                  <a:lnTo>
                    <a:pt x="186" y="111"/>
                  </a:lnTo>
                  <a:close/>
                  <a:moveTo>
                    <a:pt x="184" y="111"/>
                  </a:moveTo>
                  <a:lnTo>
                    <a:pt x="181" y="111"/>
                  </a:lnTo>
                  <a:lnTo>
                    <a:pt x="179" y="114"/>
                  </a:lnTo>
                  <a:lnTo>
                    <a:pt x="181" y="114"/>
                  </a:lnTo>
                  <a:lnTo>
                    <a:pt x="181" y="116"/>
                  </a:lnTo>
                  <a:lnTo>
                    <a:pt x="179" y="116"/>
                  </a:lnTo>
                  <a:lnTo>
                    <a:pt x="179" y="118"/>
                  </a:lnTo>
                  <a:lnTo>
                    <a:pt x="177" y="118"/>
                  </a:lnTo>
                  <a:lnTo>
                    <a:pt x="177" y="121"/>
                  </a:lnTo>
                  <a:lnTo>
                    <a:pt x="179" y="121"/>
                  </a:lnTo>
                  <a:lnTo>
                    <a:pt x="179" y="118"/>
                  </a:lnTo>
                  <a:lnTo>
                    <a:pt x="181" y="118"/>
                  </a:lnTo>
                  <a:lnTo>
                    <a:pt x="181" y="116"/>
                  </a:lnTo>
                  <a:lnTo>
                    <a:pt x="181" y="114"/>
                  </a:lnTo>
                  <a:lnTo>
                    <a:pt x="184" y="116"/>
                  </a:lnTo>
                  <a:lnTo>
                    <a:pt x="184" y="114"/>
                  </a:lnTo>
                  <a:lnTo>
                    <a:pt x="186" y="114"/>
                  </a:lnTo>
                  <a:lnTo>
                    <a:pt x="188" y="114"/>
                  </a:lnTo>
                  <a:lnTo>
                    <a:pt x="188" y="111"/>
                  </a:lnTo>
                  <a:lnTo>
                    <a:pt x="191" y="111"/>
                  </a:lnTo>
                  <a:lnTo>
                    <a:pt x="193" y="111"/>
                  </a:lnTo>
                  <a:lnTo>
                    <a:pt x="191" y="111"/>
                  </a:lnTo>
                  <a:lnTo>
                    <a:pt x="188" y="114"/>
                  </a:lnTo>
                  <a:lnTo>
                    <a:pt x="186" y="116"/>
                  </a:lnTo>
                  <a:lnTo>
                    <a:pt x="184" y="118"/>
                  </a:lnTo>
                  <a:lnTo>
                    <a:pt x="181" y="121"/>
                  </a:lnTo>
                  <a:lnTo>
                    <a:pt x="179" y="121"/>
                  </a:lnTo>
                  <a:lnTo>
                    <a:pt x="179" y="123"/>
                  </a:lnTo>
                  <a:lnTo>
                    <a:pt x="177" y="123"/>
                  </a:lnTo>
                  <a:lnTo>
                    <a:pt x="174" y="125"/>
                  </a:lnTo>
                  <a:lnTo>
                    <a:pt x="177" y="125"/>
                  </a:lnTo>
                  <a:lnTo>
                    <a:pt x="177" y="123"/>
                  </a:lnTo>
                  <a:lnTo>
                    <a:pt x="174" y="125"/>
                  </a:lnTo>
                  <a:lnTo>
                    <a:pt x="172" y="125"/>
                  </a:lnTo>
                  <a:lnTo>
                    <a:pt x="172" y="128"/>
                  </a:lnTo>
                  <a:lnTo>
                    <a:pt x="170" y="128"/>
                  </a:lnTo>
                  <a:lnTo>
                    <a:pt x="167" y="128"/>
                  </a:lnTo>
                  <a:lnTo>
                    <a:pt x="167" y="130"/>
                  </a:lnTo>
                  <a:lnTo>
                    <a:pt x="165" y="130"/>
                  </a:lnTo>
                  <a:lnTo>
                    <a:pt x="163" y="130"/>
                  </a:lnTo>
                  <a:lnTo>
                    <a:pt x="163" y="132"/>
                  </a:lnTo>
                  <a:lnTo>
                    <a:pt x="160" y="132"/>
                  </a:lnTo>
                  <a:lnTo>
                    <a:pt x="158" y="135"/>
                  </a:lnTo>
                  <a:lnTo>
                    <a:pt x="156" y="135"/>
                  </a:lnTo>
                  <a:lnTo>
                    <a:pt x="156" y="137"/>
                  </a:lnTo>
                  <a:lnTo>
                    <a:pt x="153" y="137"/>
                  </a:lnTo>
                  <a:lnTo>
                    <a:pt x="153" y="135"/>
                  </a:lnTo>
                  <a:lnTo>
                    <a:pt x="153" y="137"/>
                  </a:lnTo>
                  <a:lnTo>
                    <a:pt x="156" y="137"/>
                  </a:lnTo>
                  <a:lnTo>
                    <a:pt x="153" y="137"/>
                  </a:lnTo>
                  <a:lnTo>
                    <a:pt x="151" y="137"/>
                  </a:lnTo>
                  <a:lnTo>
                    <a:pt x="149" y="139"/>
                  </a:lnTo>
                  <a:lnTo>
                    <a:pt x="151" y="139"/>
                  </a:lnTo>
                  <a:lnTo>
                    <a:pt x="151" y="137"/>
                  </a:lnTo>
                  <a:lnTo>
                    <a:pt x="149" y="137"/>
                  </a:lnTo>
                  <a:lnTo>
                    <a:pt x="149" y="139"/>
                  </a:lnTo>
                  <a:lnTo>
                    <a:pt x="146" y="139"/>
                  </a:lnTo>
                  <a:lnTo>
                    <a:pt x="144" y="139"/>
                  </a:lnTo>
                  <a:lnTo>
                    <a:pt x="144" y="137"/>
                  </a:lnTo>
                  <a:lnTo>
                    <a:pt x="146" y="137"/>
                  </a:lnTo>
                  <a:lnTo>
                    <a:pt x="146" y="135"/>
                  </a:lnTo>
                  <a:lnTo>
                    <a:pt x="146" y="132"/>
                  </a:lnTo>
                  <a:lnTo>
                    <a:pt x="149" y="132"/>
                  </a:lnTo>
                  <a:lnTo>
                    <a:pt x="151" y="132"/>
                  </a:lnTo>
                  <a:lnTo>
                    <a:pt x="151" y="130"/>
                  </a:lnTo>
                  <a:lnTo>
                    <a:pt x="151" y="128"/>
                  </a:lnTo>
                  <a:lnTo>
                    <a:pt x="151" y="130"/>
                  </a:lnTo>
                  <a:lnTo>
                    <a:pt x="153" y="130"/>
                  </a:lnTo>
                  <a:lnTo>
                    <a:pt x="153" y="128"/>
                  </a:lnTo>
                  <a:lnTo>
                    <a:pt x="153" y="125"/>
                  </a:lnTo>
                  <a:lnTo>
                    <a:pt x="156" y="125"/>
                  </a:lnTo>
                  <a:lnTo>
                    <a:pt x="156" y="128"/>
                  </a:lnTo>
                  <a:lnTo>
                    <a:pt x="153" y="128"/>
                  </a:lnTo>
                  <a:lnTo>
                    <a:pt x="156" y="128"/>
                  </a:lnTo>
                  <a:lnTo>
                    <a:pt x="156" y="125"/>
                  </a:lnTo>
                  <a:lnTo>
                    <a:pt x="156" y="128"/>
                  </a:lnTo>
                  <a:lnTo>
                    <a:pt x="156" y="125"/>
                  </a:lnTo>
                  <a:lnTo>
                    <a:pt x="158" y="125"/>
                  </a:lnTo>
                  <a:lnTo>
                    <a:pt x="156" y="125"/>
                  </a:lnTo>
                  <a:lnTo>
                    <a:pt x="158" y="125"/>
                  </a:lnTo>
                  <a:lnTo>
                    <a:pt x="158" y="123"/>
                  </a:lnTo>
                  <a:lnTo>
                    <a:pt x="158" y="125"/>
                  </a:lnTo>
                  <a:lnTo>
                    <a:pt x="160" y="125"/>
                  </a:lnTo>
                  <a:lnTo>
                    <a:pt x="160" y="123"/>
                  </a:lnTo>
                  <a:lnTo>
                    <a:pt x="160" y="125"/>
                  </a:lnTo>
                  <a:lnTo>
                    <a:pt x="163" y="125"/>
                  </a:lnTo>
                  <a:lnTo>
                    <a:pt x="163" y="123"/>
                  </a:lnTo>
                  <a:lnTo>
                    <a:pt x="163" y="121"/>
                  </a:lnTo>
                  <a:lnTo>
                    <a:pt x="165" y="121"/>
                  </a:lnTo>
                  <a:lnTo>
                    <a:pt x="165" y="123"/>
                  </a:lnTo>
                  <a:lnTo>
                    <a:pt x="165" y="121"/>
                  </a:lnTo>
                  <a:lnTo>
                    <a:pt x="167" y="121"/>
                  </a:lnTo>
                  <a:lnTo>
                    <a:pt x="170" y="121"/>
                  </a:lnTo>
                  <a:lnTo>
                    <a:pt x="172" y="121"/>
                  </a:lnTo>
                  <a:lnTo>
                    <a:pt x="174" y="118"/>
                  </a:lnTo>
                  <a:lnTo>
                    <a:pt x="177" y="118"/>
                  </a:lnTo>
                  <a:lnTo>
                    <a:pt x="177" y="116"/>
                  </a:lnTo>
                  <a:lnTo>
                    <a:pt x="179" y="116"/>
                  </a:lnTo>
                  <a:lnTo>
                    <a:pt x="179" y="114"/>
                  </a:lnTo>
                  <a:lnTo>
                    <a:pt x="181" y="111"/>
                  </a:lnTo>
                  <a:lnTo>
                    <a:pt x="184" y="111"/>
                  </a:lnTo>
                  <a:close/>
                  <a:moveTo>
                    <a:pt x="188" y="104"/>
                  </a:moveTo>
                  <a:lnTo>
                    <a:pt x="188" y="107"/>
                  </a:lnTo>
                  <a:lnTo>
                    <a:pt x="186" y="107"/>
                  </a:lnTo>
                  <a:lnTo>
                    <a:pt x="186" y="104"/>
                  </a:lnTo>
                  <a:lnTo>
                    <a:pt x="188" y="104"/>
                  </a:lnTo>
                  <a:close/>
                  <a:moveTo>
                    <a:pt x="14" y="88"/>
                  </a:moveTo>
                  <a:lnTo>
                    <a:pt x="14" y="90"/>
                  </a:lnTo>
                  <a:lnTo>
                    <a:pt x="11" y="90"/>
                  </a:lnTo>
                  <a:lnTo>
                    <a:pt x="11" y="88"/>
                  </a:lnTo>
                  <a:lnTo>
                    <a:pt x="14" y="88"/>
                  </a:lnTo>
                  <a:close/>
                  <a:moveTo>
                    <a:pt x="70" y="46"/>
                  </a:moveTo>
                  <a:lnTo>
                    <a:pt x="67" y="46"/>
                  </a:lnTo>
                  <a:lnTo>
                    <a:pt x="70" y="44"/>
                  </a:lnTo>
                  <a:lnTo>
                    <a:pt x="70" y="46"/>
                  </a:lnTo>
                  <a:close/>
                  <a:moveTo>
                    <a:pt x="70" y="34"/>
                  </a:moveTo>
                  <a:lnTo>
                    <a:pt x="72" y="34"/>
                  </a:lnTo>
                  <a:lnTo>
                    <a:pt x="70" y="37"/>
                  </a:lnTo>
                  <a:lnTo>
                    <a:pt x="70" y="34"/>
                  </a:lnTo>
                  <a:close/>
                  <a:moveTo>
                    <a:pt x="74" y="32"/>
                  </a:moveTo>
                  <a:lnTo>
                    <a:pt x="72" y="34"/>
                  </a:lnTo>
                  <a:lnTo>
                    <a:pt x="72" y="32"/>
                  </a:lnTo>
                  <a:lnTo>
                    <a:pt x="74" y="32"/>
                  </a:lnTo>
                  <a:close/>
                  <a:moveTo>
                    <a:pt x="93" y="7"/>
                  </a:moveTo>
                  <a:lnTo>
                    <a:pt x="95" y="7"/>
                  </a:lnTo>
                  <a:lnTo>
                    <a:pt x="97" y="7"/>
                  </a:lnTo>
                  <a:lnTo>
                    <a:pt x="100" y="4"/>
                  </a:lnTo>
                  <a:lnTo>
                    <a:pt x="102" y="4"/>
                  </a:lnTo>
                  <a:lnTo>
                    <a:pt x="104" y="4"/>
                  </a:lnTo>
                  <a:lnTo>
                    <a:pt x="107" y="4"/>
                  </a:lnTo>
                  <a:lnTo>
                    <a:pt x="109" y="4"/>
                  </a:lnTo>
                  <a:lnTo>
                    <a:pt x="111" y="2"/>
                  </a:lnTo>
                  <a:lnTo>
                    <a:pt x="114" y="2"/>
                  </a:lnTo>
                  <a:lnTo>
                    <a:pt x="116" y="2"/>
                  </a:lnTo>
                  <a:lnTo>
                    <a:pt x="118" y="2"/>
                  </a:lnTo>
                  <a:lnTo>
                    <a:pt x="121" y="0"/>
                  </a:lnTo>
                  <a:lnTo>
                    <a:pt x="123" y="0"/>
                  </a:lnTo>
                  <a:lnTo>
                    <a:pt x="125" y="0"/>
                  </a:lnTo>
                  <a:lnTo>
                    <a:pt x="125" y="2"/>
                  </a:lnTo>
                  <a:lnTo>
                    <a:pt x="125" y="4"/>
                  </a:lnTo>
                  <a:lnTo>
                    <a:pt x="128" y="4"/>
                  </a:lnTo>
                  <a:lnTo>
                    <a:pt x="128" y="7"/>
                  </a:lnTo>
                  <a:lnTo>
                    <a:pt x="128" y="9"/>
                  </a:lnTo>
                  <a:lnTo>
                    <a:pt x="128" y="11"/>
                  </a:lnTo>
                  <a:lnTo>
                    <a:pt x="130" y="13"/>
                  </a:lnTo>
                  <a:lnTo>
                    <a:pt x="130" y="16"/>
                  </a:lnTo>
                  <a:lnTo>
                    <a:pt x="132" y="16"/>
                  </a:lnTo>
                  <a:lnTo>
                    <a:pt x="132" y="18"/>
                  </a:lnTo>
                  <a:lnTo>
                    <a:pt x="130" y="18"/>
                  </a:lnTo>
                  <a:lnTo>
                    <a:pt x="132" y="20"/>
                  </a:lnTo>
                  <a:lnTo>
                    <a:pt x="132" y="23"/>
                  </a:lnTo>
                  <a:lnTo>
                    <a:pt x="132" y="25"/>
                  </a:lnTo>
                  <a:lnTo>
                    <a:pt x="132" y="27"/>
                  </a:lnTo>
                  <a:lnTo>
                    <a:pt x="130" y="27"/>
                  </a:lnTo>
                  <a:lnTo>
                    <a:pt x="132" y="27"/>
                  </a:lnTo>
                  <a:lnTo>
                    <a:pt x="132" y="30"/>
                  </a:lnTo>
                  <a:lnTo>
                    <a:pt x="132" y="32"/>
                  </a:lnTo>
                  <a:lnTo>
                    <a:pt x="135" y="32"/>
                  </a:lnTo>
                  <a:lnTo>
                    <a:pt x="135" y="34"/>
                  </a:lnTo>
                  <a:lnTo>
                    <a:pt x="135" y="37"/>
                  </a:lnTo>
                  <a:lnTo>
                    <a:pt x="135" y="41"/>
                  </a:lnTo>
                  <a:lnTo>
                    <a:pt x="135" y="44"/>
                  </a:lnTo>
                  <a:lnTo>
                    <a:pt x="137" y="44"/>
                  </a:lnTo>
                  <a:lnTo>
                    <a:pt x="137" y="41"/>
                  </a:lnTo>
                  <a:lnTo>
                    <a:pt x="139" y="41"/>
                  </a:lnTo>
                  <a:lnTo>
                    <a:pt x="139" y="44"/>
                  </a:lnTo>
                  <a:lnTo>
                    <a:pt x="139" y="46"/>
                  </a:lnTo>
                  <a:lnTo>
                    <a:pt x="142" y="46"/>
                  </a:lnTo>
                  <a:lnTo>
                    <a:pt x="142" y="48"/>
                  </a:lnTo>
                  <a:lnTo>
                    <a:pt x="142" y="51"/>
                  </a:lnTo>
                  <a:lnTo>
                    <a:pt x="142" y="53"/>
                  </a:lnTo>
                  <a:lnTo>
                    <a:pt x="142" y="55"/>
                  </a:lnTo>
                  <a:lnTo>
                    <a:pt x="144" y="58"/>
                  </a:lnTo>
                  <a:lnTo>
                    <a:pt x="144" y="60"/>
                  </a:lnTo>
                  <a:lnTo>
                    <a:pt x="144" y="62"/>
                  </a:lnTo>
                  <a:lnTo>
                    <a:pt x="144" y="65"/>
                  </a:lnTo>
                  <a:lnTo>
                    <a:pt x="144" y="67"/>
                  </a:lnTo>
                  <a:lnTo>
                    <a:pt x="146" y="67"/>
                  </a:lnTo>
                  <a:lnTo>
                    <a:pt x="146" y="69"/>
                  </a:lnTo>
                  <a:lnTo>
                    <a:pt x="146" y="72"/>
                  </a:lnTo>
                  <a:lnTo>
                    <a:pt x="146" y="74"/>
                  </a:lnTo>
                  <a:lnTo>
                    <a:pt x="146" y="76"/>
                  </a:lnTo>
                  <a:lnTo>
                    <a:pt x="146" y="79"/>
                  </a:lnTo>
                  <a:lnTo>
                    <a:pt x="146" y="81"/>
                  </a:lnTo>
                  <a:lnTo>
                    <a:pt x="146" y="83"/>
                  </a:lnTo>
                  <a:lnTo>
                    <a:pt x="146" y="86"/>
                  </a:lnTo>
                  <a:lnTo>
                    <a:pt x="146" y="88"/>
                  </a:lnTo>
                  <a:lnTo>
                    <a:pt x="146" y="90"/>
                  </a:lnTo>
                  <a:lnTo>
                    <a:pt x="146" y="93"/>
                  </a:lnTo>
                  <a:lnTo>
                    <a:pt x="146" y="95"/>
                  </a:lnTo>
                  <a:lnTo>
                    <a:pt x="149" y="97"/>
                  </a:lnTo>
                  <a:lnTo>
                    <a:pt x="149" y="100"/>
                  </a:lnTo>
                  <a:lnTo>
                    <a:pt x="149" y="102"/>
                  </a:lnTo>
                  <a:lnTo>
                    <a:pt x="149" y="104"/>
                  </a:lnTo>
                  <a:lnTo>
                    <a:pt x="149" y="107"/>
                  </a:lnTo>
                  <a:lnTo>
                    <a:pt x="151" y="109"/>
                  </a:lnTo>
                  <a:lnTo>
                    <a:pt x="151" y="111"/>
                  </a:lnTo>
                  <a:lnTo>
                    <a:pt x="151" y="114"/>
                  </a:lnTo>
                  <a:lnTo>
                    <a:pt x="151" y="116"/>
                  </a:lnTo>
                  <a:lnTo>
                    <a:pt x="153" y="116"/>
                  </a:lnTo>
                  <a:lnTo>
                    <a:pt x="151" y="118"/>
                  </a:lnTo>
                  <a:lnTo>
                    <a:pt x="149" y="121"/>
                  </a:lnTo>
                  <a:lnTo>
                    <a:pt x="149" y="123"/>
                  </a:lnTo>
                  <a:lnTo>
                    <a:pt x="151" y="123"/>
                  </a:lnTo>
                  <a:lnTo>
                    <a:pt x="151" y="125"/>
                  </a:lnTo>
                  <a:lnTo>
                    <a:pt x="149" y="128"/>
                  </a:lnTo>
                  <a:lnTo>
                    <a:pt x="149" y="130"/>
                  </a:lnTo>
                  <a:lnTo>
                    <a:pt x="149" y="132"/>
                  </a:lnTo>
                  <a:lnTo>
                    <a:pt x="146" y="132"/>
                  </a:lnTo>
                  <a:lnTo>
                    <a:pt x="146" y="130"/>
                  </a:lnTo>
                  <a:lnTo>
                    <a:pt x="146" y="128"/>
                  </a:lnTo>
                  <a:lnTo>
                    <a:pt x="146" y="125"/>
                  </a:lnTo>
                  <a:lnTo>
                    <a:pt x="144" y="121"/>
                  </a:lnTo>
                  <a:lnTo>
                    <a:pt x="144" y="118"/>
                  </a:lnTo>
                  <a:lnTo>
                    <a:pt x="142" y="118"/>
                  </a:lnTo>
                  <a:lnTo>
                    <a:pt x="142" y="116"/>
                  </a:lnTo>
                  <a:lnTo>
                    <a:pt x="142" y="118"/>
                  </a:lnTo>
                  <a:lnTo>
                    <a:pt x="142" y="121"/>
                  </a:lnTo>
                  <a:lnTo>
                    <a:pt x="144" y="121"/>
                  </a:lnTo>
                  <a:lnTo>
                    <a:pt x="144" y="123"/>
                  </a:lnTo>
                  <a:lnTo>
                    <a:pt x="144" y="125"/>
                  </a:lnTo>
                  <a:lnTo>
                    <a:pt x="146" y="125"/>
                  </a:lnTo>
                  <a:lnTo>
                    <a:pt x="142" y="125"/>
                  </a:lnTo>
                  <a:lnTo>
                    <a:pt x="139" y="125"/>
                  </a:lnTo>
                  <a:lnTo>
                    <a:pt x="137" y="123"/>
                  </a:lnTo>
                  <a:lnTo>
                    <a:pt x="135" y="123"/>
                  </a:lnTo>
                  <a:lnTo>
                    <a:pt x="132" y="121"/>
                  </a:lnTo>
                  <a:lnTo>
                    <a:pt x="130" y="121"/>
                  </a:lnTo>
                  <a:lnTo>
                    <a:pt x="128" y="121"/>
                  </a:lnTo>
                  <a:lnTo>
                    <a:pt x="123" y="118"/>
                  </a:lnTo>
                  <a:lnTo>
                    <a:pt x="123" y="116"/>
                  </a:lnTo>
                  <a:lnTo>
                    <a:pt x="121" y="118"/>
                  </a:lnTo>
                  <a:lnTo>
                    <a:pt x="121" y="116"/>
                  </a:lnTo>
                  <a:lnTo>
                    <a:pt x="118" y="118"/>
                  </a:lnTo>
                  <a:lnTo>
                    <a:pt x="118" y="116"/>
                  </a:lnTo>
                  <a:lnTo>
                    <a:pt x="116" y="116"/>
                  </a:lnTo>
                  <a:lnTo>
                    <a:pt x="114" y="114"/>
                  </a:lnTo>
                  <a:lnTo>
                    <a:pt x="114" y="111"/>
                  </a:lnTo>
                  <a:lnTo>
                    <a:pt x="111" y="109"/>
                  </a:lnTo>
                  <a:lnTo>
                    <a:pt x="114" y="109"/>
                  </a:lnTo>
                  <a:lnTo>
                    <a:pt x="111" y="109"/>
                  </a:lnTo>
                  <a:lnTo>
                    <a:pt x="111" y="107"/>
                  </a:lnTo>
                  <a:lnTo>
                    <a:pt x="109" y="107"/>
                  </a:lnTo>
                  <a:lnTo>
                    <a:pt x="107" y="107"/>
                  </a:lnTo>
                  <a:lnTo>
                    <a:pt x="107" y="104"/>
                  </a:lnTo>
                  <a:lnTo>
                    <a:pt x="104" y="104"/>
                  </a:lnTo>
                  <a:lnTo>
                    <a:pt x="104" y="102"/>
                  </a:lnTo>
                  <a:lnTo>
                    <a:pt x="104" y="104"/>
                  </a:lnTo>
                  <a:lnTo>
                    <a:pt x="100" y="104"/>
                  </a:lnTo>
                  <a:lnTo>
                    <a:pt x="97" y="104"/>
                  </a:lnTo>
                  <a:lnTo>
                    <a:pt x="93" y="104"/>
                  </a:lnTo>
                  <a:lnTo>
                    <a:pt x="90" y="107"/>
                  </a:lnTo>
                  <a:lnTo>
                    <a:pt x="88" y="107"/>
                  </a:lnTo>
                  <a:lnTo>
                    <a:pt x="83" y="107"/>
                  </a:lnTo>
                  <a:lnTo>
                    <a:pt x="81" y="109"/>
                  </a:lnTo>
                  <a:lnTo>
                    <a:pt x="79" y="109"/>
                  </a:lnTo>
                  <a:lnTo>
                    <a:pt x="74" y="109"/>
                  </a:lnTo>
                  <a:lnTo>
                    <a:pt x="72" y="111"/>
                  </a:lnTo>
                  <a:lnTo>
                    <a:pt x="70" y="111"/>
                  </a:lnTo>
                  <a:lnTo>
                    <a:pt x="65" y="111"/>
                  </a:lnTo>
                  <a:lnTo>
                    <a:pt x="63" y="114"/>
                  </a:lnTo>
                  <a:lnTo>
                    <a:pt x="60" y="114"/>
                  </a:lnTo>
                  <a:lnTo>
                    <a:pt x="56" y="114"/>
                  </a:lnTo>
                  <a:lnTo>
                    <a:pt x="53" y="114"/>
                  </a:lnTo>
                  <a:lnTo>
                    <a:pt x="51" y="116"/>
                  </a:lnTo>
                  <a:lnTo>
                    <a:pt x="46" y="116"/>
                  </a:lnTo>
                  <a:lnTo>
                    <a:pt x="44" y="116"/>
                  </a:lnTo>
                  <a:lnTo>
                    <a:pt x="39" y="118"/>
                  </a:lnTo>
                  <a:lnTo>
                    <a:pt x="37" y="118"/>
                  </a:lnTo>
                  <a:lnTo>
                    <a:pt x="35" y="118"/>
                  </a:lnTo>
                  <a:lnTo>
                    <a:pt x="30" y="118"/>
                  </a:lnTo>
                  <a:lnTo>
                    <a:pt x="28" y="121"/>
                  </a:lnTo>
                  <a:lnTo>
                    <a:pt x="25" y="121"/>
                  </a:lnTo>
                  <a:lnTo>
                    <a:pt x="21" y="121"/>
                  </a:lnTo>
                  <a:lnTo>
                    <a:pt x="18" y="123"/>
                  </a:lnTo>
                  <a:lnTo>
                    <a:pt x="16" y="123"/>
                  </a:lnTo>
                  <a:lnTo>
                    <a:pt x="11" y="123"/>
                  </a:lnTo>
                  <a:lnTo>
                    <a:pt x="9" y="123"/>
                  </a:lnTo>
                  <a:lnTo>
                    <a:pt x="4" y="125"/>
                  </a:lnTo>
                  <a:lnTo>
                    <a:pt x="2" y="125"/>
                  </a:lnTo>
                  <a:lnTo>
                    <a:pt x="2" y="123"/>
                  </a:lnTo>
                  <a:lnTo>
                    <a:pt x="0" y="123"/>
                  </a:lnTo>
                  <a:lnTo>
                    <a:pt x="0" y="121"/>
                  </a:lnTo>
                  <a:lnTo>
                    <a:pt x="0" y="118"/>
                  </a:lnTo>
                  <a:lnTo>
                    <a:pt x="0" y="116"/>
                  </a:lnTo>
                  <a:lnTo>
                    <a:pt x="2" y="116"/>
                  </a:lnTo>
                  <a:lnTo>
                    <a:pt x="2" y="114"/>
                  </a:lnTo>
                  <a:lnTo>
                    <a:pt x="4" y="114"/>
                  </a:lnTo>
                  <a:lnTo>
                    <a:pt x="4" y="111"/>
                  </a:lnTo>
                  <a:lnTo>
                    <a:pt x="7" y="111"/>
                  </a:lnTo>
                  <a:lnTo>
                    <a:pt x="7" y="109"/>
                  </a:lnTo>
                  <a:lnTo>
                    <a:pt x="7" y="107"/>
                  </a:lnTo>
                  <a:lnTo>
                    <a:pt x="9" y="107"/>
                  </a:lnTo>
                  <a:lnTo>
                    <a:pt x="11" y="104"/>
                  </a:lnTo>
                  <a:lnTo>
                    <a:pt x="11" y="102"/>
                  </a:lnTo>
                  <a:lnTo>
                    <a:pt x="14" y="102"/>
                  </a:lnTo>
                  <a:lnTo>
                    <a:pt x="14" y="100"/>
                  </a:lnTo>
                  <a:lnTo>
                    <a:pt x="16" y="97"/>
                  </a:lnTo>
                  <a:lnTo>
                    <a:pt x="18" y="95"/>
                  </a:lnTo>
                  <a:lnTo>
                    <a:pt x="16" y="95"/>
                  </a:lnTo>
                  <a:lnTo>
                    <a:pt x="16" y="93"/>
                  </a:lnTo>
                  <a:lnTo>
                    <a:pt x="16" y="90"/>
                  </a:lnTo>
                  <a:lnTo>
                    <a:pt x="14" y="90"/>
                  </a:lnTo>
                  <a:lnTo>
                    <a:pt x="16" y="88"/>
                  </a:lnTo>
                  <a:lnTo>
                    <a:pt x="14" y="88"/>
                  </a:lnTo>
                  <a:lnTo>
                    <a:pt x="11" y="88"/>
                  </a:lnTo>
                  <a:lnTo>
                    <a:pt x="11" y="86"/>
                  </a:lnTo>
                  <a:lnTo>
                    <a:pt x="9" y="83"/>
                  </a:lnTo>
                  <a:lnTo>
                    <a:pt x="9" y="81"/>
                  </a:lnTo>
                  <a:lnTo>
                    <a:pt x="11" y="81"/>
                  </a:lnTo>
                  <a:lnTo>
                    <a:pt x="14" y="79"/>
                  </a:lnTo>
                  <a:lnTo>
                    <a:pt x="16" y="79"/>
                  </a:lnTo>
                  <a:lnTo>
                    <a:pt x="18" y="79"/>
                  </a:lnTo>
                  <a:lnTo>
                    <a:pt x="25" y="74"/>
                  </a:lnTo>
                  <a:lnTo>
                    <a:pt x="28" y="74"/>
                  </a:lnTo>
                  <a:lnTo>
                    <a:pt x="30" y="74"/>
                  </a:lnTo>
                  <a:lnTo>
                    <a:pt x="39" y="74"/>
                  </a:lnTo>
                  <a:lnTo>
                    <a:pt x="42" y="74"/>
                  </a:lnTo>
                  <a:lnTo>
                    <a:pt x="42" y="76"/>
                  </a:lnTo>
                  <a:lnTo>
                    <a:pt x="44" y="76"/>
                  </a:lnTo>
                  <a:lnTo>
                    <a:pt x="49" y="74"/>
                  </a:lnTo>
                  <a:lnTo>
                    <a:pt x="58" y="72"/>
                  </a:lnTo>
                  <a:lnTo>
                    <a:pt x="60" y="69"/>
                  </a:lnTo>
                  <a:lnTo>
                    <a:pt x="63" y="69"/>
                  </a:lnTo>
                  <a:lnTo>
                    <a:pt x="63" y="67"/>
                  </a:lnTo>
                  <a:lnTo>
                    <a:pt x="65" y="65"/>
                  </a:lnTo>
                  <a:lnTo>
                    <a:pt x="67" y="62"/>
                  </a:lnTo>
                  <a:lnTo>
                    <a:pt x="67" y="60"/>
                  </a:lnTo>
                  <a:lnTo>
                    <a:pt x="70" y="60"/>
                  </a:lnTo>
                  <a:lnTo>
                    <a:pt x="72" y="60"/>
                  </a:lnTo>
                  <a:lnTo>
                    <a:pt x="72" y="58"/>
                  </a:lnTo>
                  <a:lnTo>
                    <a:pt x="74" y="58"/>
                  </a:lnTo>
                  <a:lnTo>
                    <a:pt x="72" y="58"/>
                  </a:lnTo>
                  <a:lnTo>
                    <a:pt x="72" y="55"/>
                  </a:lnTo>
                  <a:lnTo>
                    <a:pt x="72" y="53"/>
                  </a:lnTo>
                  <a:lnTo>
                    <a:pt x="70" y="53"/>
                  </a:lnTo>
                  <a:lnTo>
                    <a:pt x="70" y="51"/>
                  </a:lnTo>
                  <a:lnTo>
                    <a:pt x="70" y="48"/>
                  </a:lnTo>
                  <a:lnTo>
                    <a:pt x="70" y="51"/>
                  </a:lnTo>
                  <a:lnTo>
                    <a:pt x="70" y="48"/>
                  </a:lnTo>
                  <a:lnTo>
                    <a:pt x="72" y="48"/>
                  </a:lnTo>
                  <a:lnTo>
                    <a:pt x="72" y="46"/>
                  </a:lnTo>
                  <a:lnTo>
                    <a:pt x="74" y="46"/>
                  </a:lnTo>
                  <a:lnTo>
                    <a:pt x="74" y="44"/>
                  </a:lnTo>
                  <a:lnTo>
                    <a:pt x="72" y="44"/>
                  </a:lnTo>
                  <a:lnTo>
                    <a:pt x="72" y="46"/>
                  </a:lnTo>
                  <a:lnTo>
                    <a:pt x="70" y="46"/>
                  </a:lnTo>
                  <a:lnTo>
                    <a:pt x="70" y="44"/>
                  </a:lnTo>
                  <a:lnTo>
                    <a:pt x="72" y="44"/>
                  </a:lnTo>
                  <a:lnTo>
                    <a:pt x="70" y="44"/>
                  </a:lnTo>
                  <a:lnTo>
                    <a:pt x="67" y="44"/>
                  </a:lnTo>
                  <a:lnTo>
                    <a:pt x="67" y="46"/>
                  </a:lnTo>
                  <a:lnTo>
                    <a:pt x="67" y="44"/>
                  </a:lnTo>
                  <a:lnTo>
                    <a:pt x="65" y="44"/>
                  </a:lnTo>
                  <a:lnTo>
                    <a:pt x="65" y="41"/>
                  </a:lnTo>
                  <a:lnTo>
                    <a:pt x="70" y="39"/>
                  </a:lnTo>
                  <a:lnTo>
                    <a:pt x="72" y="37"/>
                  </a:lnTo>
                  <a:lnTo>
                    <a:pt x="74" y="32"/>
                  </a:lnTo>
                  <a:lnTo>
                    <a:pt x="76" y="30"/>
                  </a:lnTo>
                  <a:lnTo>
                    <a:pt x="76" y="27"/>
                  </a:lnTo>
                  <a:lnTo>
                    <a:pt x="76" y="25"/>
                  </a:lnTo>
                  <a:lnTo>
                    <a:pt x="79" y="23"/>
                  </a:lnTo>
                  <a:lnTo>
                    <a:pt x="81" y="18"/>
                  </a:lnTo>
                  <a:lnTo>
                    <a:pt x="83" y="16"/>
                  </a:lnTo>
                  <a:lnTo>
                    <a:pt x="83" y="13"/>
                  </a:lnTo>
                  <a:lnTo>
                    <a:pt x="86" y="11"/>
                  </a:lnTo>
                  <a:lnTo>
                    <a:pt x="88" y="11"/>
                  </a:lnTo>
                  <a:lnTo>
                    <a:pt x="88" y="9"/>
                  </a:lnTo>
                  <a:lnTo>
                    <a:pt x="90" y="9"/>
                  </a:lnTo>
                  <a:lnTo>
                    <a:pt x="90" y="7"/>
                  </a:lnTo>
                  <a:lnTo>
                    <a:pt x="93"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815">
              <a:extLst>
                <a:ext uri="{FF2B5EF4-FFF2-40B4-BE49-F238E27FC236}">
                  <a16:creationId xmlns:a16="http://schemas.microsoft.com/office/drawing/2014/main" id="{C7A5117F-F2AF-43BF-AAF8-4D2F29C63D34}"/>
                </a:ext>
              </a:extLst>
            </p:cNvPr>
            <p:cNvSpPr>
              <a:spLocks/>
            </p:cNvSpPr>
            <p:nvPr/>
          </p:nvSpPr>
          <p:spPr bwMode="auto">
            <a:xfrm>
              <a:off x="7142956" y="4497388"/>
              <a:ext cx="236538" cy="155575"/>
            </a:xfrm>
            <a:custGeom>
              <a:avLst/>
              <a:gdLst>
                <a:gd name="T0" fmla="*/ 140 w 149"/>
                <a:gd name="T1" fmla="*/ 19 h 98"/>
                <a:gd name="T2" fmla="*/ 138 w 149"/>
                <a:gd name="T3" fmla="*/ 21 h 98"/>
                <a:gd name="T4" fmla="*/ 138 w 149"/>
                <a:gd name="T5" fmla="*/ 26 h 98"/>
                <a:gd name="T6" fmla="*/ 135 w 149"/>
                <a:gd name="T7" fmla="*/ 28 h 98"/>
                <a:gd name="T8" fmla="*/ 133 w 149"/>
                <a:gd name="T9" fmla="*/ 30 h 98"/>
                <a:gd name="T10" fmla="*/ 133 w 149"/>
                <a:gd name="T11" fmla="*/ 33 h 98"/>
                <a:gd name="T12" fmla="*/ 135 w 149"/>
                <a:gd name="T13" fmla="*/ 33 h 98"/>
                <a:gd name="T14" fmla="*/ 135 w 149"/>
                <a:gd name="T15" fmla="*/ 35 h 98"/>
                <a:gd name="T16" fmla="*/ 135 w 149"/>
                <a:gd name="T17" fmla="*/ 37 h 98"/>
                <a:gd name="T18" fmla="*/ 133 w 149"/>
                <a:gd name="T19" fmla="*/ 40 h 98"/>
                <a:gd name="T20" fmla="*/ 135 w 149"/>
                <a:gd name="T21" fmla="*/ 42 h 98"/>
                <a:gd name="T22" fmla="*/ 135 w 149"/>
                <a:gd name="T23" fmla="*/ 44 h 98"/>
                <a:gd name="T24" fmla="*/ 140 w 149"/>
                <a:gd name="T25" fmla="*/ 47 h 98"/>
                <a:gd name="T26" fmla="*/ 142 w 149"/>
                <a:gd name="T27" fmla="*/ 49 h 98"/>
                <a:gd name="T28" fmla="*/ 149 w 149"/>
                <a:gd name="T29" fmla="*/ 53 h 98"/>
                <a:gd name="T30" fmla="*/ 147 w 149"/>
                <a:gd name="T31" fmla="*/ 56 h 98"/>
                <a:gd name="T32" fmla="*/ 145 w 149"/>
                <a:gd name="T33" fmla="*/ 60 h 98"/>
                <a:gd name="T34" fmla="*/ 142 w 149"/>
                <a:gd name="T35" fmla="*/ 63 h 98"/>
                <a:gd name="T36" fmla="*/ 140 w 149"/>
                <a:gd name="T37" fmla="*/ 67 h 98"/>
                <a:gd name="T38" fmla="*/ 135 w 149"/>
                <a:gd name="T39" fmla="*/ 70 h 98"/>
                <a:gd name="T40" fmla="*/ 133 w 149"/>
                <a:gd name="T41" fmla="*/ 70 h 98"/>
                <a:gd name="T42" fmla="*/ 128 w 149"/>
                <a:gd name="T43" fmla="*/ 72 h 98"/>
                <a:gd name="T44" fmla="*/ 128 w 149"/>
                <a:gd name="T45" fmla="*/ 74 h 98"/>
                <a:gd name="T46" fmla="*/ 110 w 149"/>
                <a:gd name="T47" fmla="*/ 77 h 98"/>
                <a:gd name="T48" fmla="*/ 93 w 149"/>
                <a:gd name="T49" fmla="*/ 81 h 98"/>
                <a:gd name="T50" fmla="*/ 77 w 149"/>
                <a:gd name="T51" fmla="*/ 86 h 98"/>
                <a:gd name="T52" fmla="*/ 61 w 149"/>
                <a:gd name="T53" fmla="*/ 88 h 98"/>
                <a:gd name="T54" fmla="*/ 45 w 149"/>
                <a:gd name="T55" fmla="*/ 93 h 98"/>
                <a:gd name="T56" fmla="*/ 26 w 149"/>
                <a:gd name="T57" fmla="*/ 95 h 98"/>
                <a:gd name="T58" fmla="*/ 12 w 149"/>
                <a:gd name="T59" fmla="*/ 93 h 98"/>
                <a:gd name="T60" fmla="*/ 10 w 149"/>
                <a:gd name="T61" fmla="*/ 79 h 98"/>
                <a:gd name="T62" fmla="*/ 7 w 149"/>
                <a:gd name="T63" fmla="*/ 70 h 98"/>
                <a:gd name="T64" fmla="*/ 7 w 149"/>
                <a:gd name="T65" fmla="*/ 70 h 98"/>
                <a:gd name="T66" fmla="*/ 5 w 149"/>
                <a:gd name="T67" fmla="*/ 49 h 98"/>
                <a:gd name="T68" fmla="*/ 0 w 149"/>
                <a:gd name="T69" fmla="*/ 30 h 98"/>
                <a:gd name="T70" fmla="*/ 7 w 149"/>
                <a:gd name="T71" fmla="*/ 21 h 98"/>
                <a:gd name="T72" fmla="*/ 10 w 149"/>
                <a:gd name="T73" fmla="*/ 19 h 98"/>
                <a:gd name="T74" fmla="*/ 10 w 149"/>
                <a:gd name="T75" fmla="*/ 21 h 98"/>
                <a:gd name="T76" fmla="*/ 12 w 149"/>
                <a:gd name="T77" fmla="*/ 19 h 98"/>
                <a:gd name="T78" fmla="*/ 17 w 149"/>
                <a:gd name="T79" fmla="*/ 16 h 98"/>
                <a:gd name="T80" fmla="*/ 19 w 149"/>
                <a:gd name="T81" fmla="*/ 21 h 98"/>
                <a:gd name="T82" fmla="*/ 28 w 149"/>
                <a:gd name="T83" fmla="*/ 21 h 98"/>
                <a:gd name="T84" fmla="*/ 47 w 149"/>
                <a:gd name="T85" fmla="*/ 16 h 98"/>
                <a:gd name="T86" fmla="*/ 68 w 149"/>
                <a:gd name="T87" fmla="*/ 14 h 98"/>
                <a:gd name="T88" fmla="*/ 87 w 149"/>
                <a:gd name="T89" fmla="*/ 9 h 98"/>
                <a:gd name="T90" fmla="*/ 105 w 149"/>
                <a:gd name="T91" fmla="*/ 5 h 98"/>
                <a:gd name="T92" fmla="*/ 121 w 149"/>
                <a:gd name="T93" fmla="*/ 0 h 98"/>
                <a:gd name="T94" fmla="*/ 124 w 149"/>
                <a:gd name="T95" fmla="*/ 2 h 98"/>
                <a:gd name="T96" fmla="*/ 126 w 149"/>
                <a:gd name="T97" fmla="*/ 5 h 98"/>
                <a:gd name="T98" fmla="*/ 128 w 149"/>
                <a:gd name="T99" fmla="*/ 7 h 98"/>
                <a:gd name="T100" fmla="*/ 128 w 149"/>
                <a:gd name="T101" fmla="*/ 7 h 98"/>
                <a:gd name="T102" fmla="*/ 131 w 149"/>
                <a:gd name="T103" fmla="*/ 12 h 98"/>
                <a:gd name="T104" fmla="*/ 135 w 149"/>
                <a:gd name="T105" fmla="*/ 16 h 98"/>
                <a:gd name="T106" fmla="*/ 138 w 149"/>
                <a:gd name="T107" fmla="*/ 16 h 98"/>
                <a:gd name="T108" fmla="*/ 140 w 149"/>
                <a:gd name="T109" fmla="*/ 1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98">
                  <a:moveTo>
                    <a:pt x="140" y="16"/>
                  </a:moveTo>
                  <a:lnTo>
                    <a:pt x="140" y="16"/>
                  </a:lnTo>
                  <a:lnTo>
                    <a:pt x="140" y="19"/>
                  </a:lnTo>
                  <a:lnTo>
                    <a:pt x="140" y="19"/>
                  </a:lnTo>
                  <a:lnTo>
                    <a:pt x="140" y="19"/>
                  </a:lnTo>
                  <a:lnTo>
                    <a:pt x="140" y="19"/>
                  </a:lnTo>
                  <a:lnTo>
                    <a:pt x="140" y="19"/>
                  </a:lnTo>
                  <a:lnTo>
                    <a:pt x="140" y="19"/>
                  </a:lnTo>
                  <a:lnTo>
                    <a:pt x="140" y="19"/>
                  </a:lnTo>
                  <a:lnTo>
                    <a:pt x="140" y="19"/>
                  </a:lnTo>
                  <a:lnTo>
                    <a:pt x="140" y="19"/>
                  </a:lnTo>
                  <a:lnTo>
                    <a:pt x="138" y="21"/>
                  </a:lnTo>
                  <a:lnTo>
                    <a:pt x="138" y="21"/>
                  </a:lnTo>
                  <a:lnTo>
                    <a:pt x="138" y="21"/>
                  </a:lnTo>
                  <a:lnTo>
                    <a:pt x="138" y="23"/>
                  </a:lnTo>
                  <a:lnTo>
                    <a:pt x="138" y="23"/>
                  </a:lnTo>
                  <a:lnTo>
                    <a:pt x="138" y="26"/>
                  </a:lnTo>
                  <a:lnTo>
                    <a:pt x="138" y="26"/>
                  </a:lnTo>
                  <a:lnTo>
                    <a:pt x="138" y="26"/>
                  </a:lnTo>
                  <a:lnTo>
                    <a:pt x="135" y="26"/>
                  </a:lnTo>
                  <a:lnTo>
                    <a:pt x="135" y="26"/>
                  </a:lnTo>
                  <a:lnTo>
                    <a:pt x="135" y="26"/>
                  </a:lnTo>
                  <a:lnTo>
                    <a:pt x="135" y="28"/>
                  </a:lnTo>
                  <a:lnTo>
                    <a:pt x="135" y="28"/>
                  </a:lnTo>
                  <a:lnTo>
                    <a:pt x="135" y="28"/>
                  </a:lnTo>
                  <a:lnTo>
                    <a:pt x="135" y="28"/>
                  </a:lnTo>
                  <a:lnTo>
                    <a:pt x="135" y="30"/>
                  </a:lnTo>
                  <a:lnTo>
                    <a:pt x="135" y="30"/>
                  </a:lnTo>
                  <a:lnTo>
                    <a:pt x="135" y="30"/>
                  </a:lnTo>
                  <a:lnTo>
                    <a:pt x="133" y="30"/>
                  </a:lnTo>
                  <a:lnTo>
                    <a:pt x="133" y="30"/>
                  </a:lnTo>
                  <a:lnTo>
                    <a:pt x="133" y="30"/>
                  </a:lnTo>
                  <a:lnTo>
                    <a:pt x="133" y="33"/>
                  </a:lnTo>
                  <a:lnTo>
                    <a:pt x="133" y="33"/>
                  </a:lnTo>
                  <a:lnTo>
                    <a:pt x="133" y="33"/>
                  </a:lnTo>
                  <a:lnTo>
                    <a:pt x="133" y="33"/>
                  </a:lnTo>
                  <a:lnTo>
                    <a:pt x="133" y="33"/>
                  </a:lnTo>
                  <a:lnTo>
                    <a:pt x="133" y="33"/>
                  </a:lnTo>
                  <a:lnTo>
                    <a:pt x="135" y="33"/>
                  </a:lnTo>
                  <a:lnTo>
                    <a:pt x="135" y="33"/>
                  </a:lnTo>
                  <a:lnTo>
                    <a:pt x="135" y="33"/>
                  </a:lnTo>
                  <a:lnTo>
                    <a:pt x="135" y="33"/>
                  </a:lnTo>
                  <a:lnTo>
                    <a:pt x="135" y="33"/>
                  </a:lnTo>
                  <a:lnTo>
                    <a:pt x="135" y="33"/>
                  </a:lnTo>
                  <a:lnTo>
                    <a:pt x="135" y="33"/>
                  </a:lnTo>
                  <a:lnTo>
                    <a:pt x="135" y="33"/>
                  </a:lnTo>
                  <a:lnTo>
                    <a:pt x="135" y="35"/>
                  </a:lnTo>
                  <a:lnTo>
                    <a:pt x="135" y="35"/>
                  </a:lnTo>
                  <a:lnTo>
                    <a:pt x="135" y="35"/>
                  </a:lnTo>
                  <a:lnTo>
                    <a:pt x="135" y="35"/>
                  </a:lnTo>
                  <a:lnTo>
                    <a:pt x="135" y="37"/>
                  </a:lnTo>
                  <a:lnTo>
                    <a:pt x="135" y="37"/>
                  </a:lnTo>
                  <a:lnTo>
                    <a:pt x="135" y="37"/>
                  </a:lnTo>
                  <a:lnTo>
                    <a:pt x="135" y="37"/>
                  </a:lnTo>
                  <a:lnTo>
                    <a:pt x="135" y="37"/>
                  </a:lnTo>
                  <a:lnTo>
                    <a:pt x="135" y="37"/>
                  </a:lnTo>
                  <a:lnTo>
                    <a:pt x="133" y="37"/>
                  </a:lnTo>
                  <a:lnTo>
                    <a:pt x="133" y="40"/>
                  </a:lnTo>
                  <a:lnTo>
                    <a:pt x="133" y="40"/>
                  </a:lnTo>
                  <a:lnTo>
                    <a:pt x="133" y="40"/>
                  </a:lnTo>
                  <a:lnTo>
                    <a:pt x="133" y="40"/>
                  </a:lnTo>
                  <a:lnTo>
                    <a:pt x="135" y="40"/>
                  </a:lnTo>
                  <a:lnTo>
                    <a:pt x="133" y="40"/>
                  </a:lnTo>
                  <a:lnTo>
                    <a:pt x="133" y="40"/>
                  </a:lnTo>
                  <a:lnTo>
                    <a:pt x="135" y="42"/>
                  </a:lnTo>
                  <a:lnTo>
                    <a:pt x="135" y="42"/>
                  </a:lnTo>
                  <a:lnTo>
                    <a:pt x="135" y="42"/>
                  </a:lnTo>
                  <a:lnTo>
                    <a:pt x="135" y="42"/>
                  </a:lnTo>
                  <a:lnTo>
                    <a:pt x="135" y="42"/>
                  </a:lnTo>
                  <a:lnTo>
                    <a:pt x="135" y="42"/>
                  </a:lnTo>
                  <a:lnTo>
                    <a:pt x="135" y="44"/>
                  </a:lnTo>
                  <a:lnTo>
                    <a:pt x="135" y="44"/>
                  </a:lnTo>
                  <a:lnTo>
                    <a:pt x="135" y="44"/>
                  </a:lnTo>
                  <a:lnTo>
                    <a:pt x="135" y="44"/>
                  </a:lnTo>
                  <a:lnTo>
                    <a:pt x="138" y="44"/>
                  </a:lnTo>
                  <a:lnTo>
                    <a:pt x="138" y="44"/>
                  </a:lnTo>
                  <a:lnTo>
                    <a:pt x="138" y="44"/>
                  </a:lnTo>
                  <a:lnTo>
                    <a:pt x="140" y="47"/>
                  </a:lnTo>
                  <a:lnTo>
                    <a:pt x="140" y="49"/>
                  </a:lnTo>
                  <a:lnTo>
                    <a:pt x="140" y="49"/>
                  </a:lnTo>
                  <a:lnTo>
                    <a:pt x="140" y="49"/>
                  </a:lnTo>
                  <a:lnTo>
                    <a:pt x="142" y="49"/>
                  </a:lnTo>
                  <a:lnTo>
                    <a:pt x="142" y="49"/>
                  </a:lnTo>
                  <a:lnTo>
                    <a:pt x="142" y="49"/>
                  </a:lnTo>
                  <a:lnTo>
                    <a:pt x="145" y="51"/>
                  </a:lnTo>
                  <a:lnTo>
                    <a:pt x="145" y="51"/>
                  </a:lnTo>
                  <a:lnTo>
                    <a:pt x="145" y="51"/>
                  </a:lnTo>
                  <a:lnTo>
                    <a:pt x="145" y="51"/>
                  </a:lnTo>
                  <a:lnTo>
                    <a:pt x="147" y="53"/>
                  </a:lnTo>
                  <a:lnTo>
                    <a:pt x="149" y="53"/>
                  </a:lnTo>
                  <a:lnTo>
                    <a:pt x="149" y="53"/>
                  </a:lnTo>
                  <a:lnTo>
                    <a:pt x="149" y="53"/>
                  </a:lnTo>
                  <a:lnTo>
                    <a:pt x="149" y="56"/>
                  </a:lnTo>
                  <a:lnTo>
                    <a:pt x="149" y="56"/>
                  </a:lnTo>
                  <a:lnTo>
                    <a:pt x="147" y="56"/>
                  </a:lnTo>
                  <a:lnTo>
                    <a:pt x="147" y="56"/>
                  </a:lnTo>
                  <a:lnTo>
                    <a:pt x="147" y="56"/>
                  </a:lnTo>
                  <a:lnTo>
                    <a:pt x="147" y="58"/>
                  </a:lnTo>
                  <a:lnTo>
                    <a:pt x="147" y="58"/>
                  </a:lnTo>
                  <a:lnTo>
                    <a:pt x="145" y="58"/>
                  </a:lnTo>
                  <a:lnTo>
                    <a:pt x="145" y="58"/>
                  </a:lnTo>
                  <a:lnTo>
                    <a:pt x="145" y="60"/>
                  </a:lnTo>
                  <a:lnTo>
                    <a:pt x="145" y="60"/>
                  </a:lnTo>
                  <a:lnTo>
                    <a:pt x="142" y="60"/>
                  </a:lnTo>
                  <a:lnTo>
                    <a:pt x="142" y="60"/>
                  </a:lnTo>
                  <a:lnTo>
                    <a:pt x="142" y="63"/>
                  </a:lnTo>
                  <a:lnTo>
                    <a:pt x="142" y="63"/>
                  </a:lnTo>
                  <a:lnTo>
                    <a:pt x="142" y="63"/>
                  </a:lnTo>
                  <a:lnTo>
                    <a:pt x="142" y="63"/>
                  </a:lnTo>
                  <a:lnTo>
                    <a:pt x="142" y="63"/>
                  </a:lnTo>
                  <a:lnTo>
                    <a:pt x="142" y="65"/>
                  </a:lnTo>
                  <a:lnTo>
                    <a:pt x="142" y="65"/>
                  </a:lnTo>
                  <a:lnTo>
                    <a:pt x="140" y="65"/>
                  </a:lnTo>
                  <a:lnTo>
                    <a:pt x="140" y="67"/>
                  </a:lnTo>
                  <a:lnTo>
                    <a:pt x="138" y="67"/>
                  </a:lnTo>
                  <a:lnTo>
                    <a:pt x="138" y="67"/>
                  </a:lnTo>
                  <a:lnTo>
                    <a:pt x="138" y="67"/>
                  </a:lnTo>
                  <a:lnTo>
                    <a:pt x="135" y="67"/>
                  </a:lnTo>
                  <a:lnTo>
                    <a:pt x="135" y="67"/>
                  </a:lnTo>
                  <a:lnTo>
                    <a:pt x="135" y="70"/>
                  </a:lnTo>
                  <a:lnTo>
                    <a:pt x="135" y="70"/>
                  </a:lnTo>
                  <a:lnTo>
                    <a:pt x="135" y="70"/>
                  </a:lnTo>
                  <a:lnTo>
                    <a:pt x="135" y="70"/>
                  </a:lnTo>
                  <a:lnTo>
                    <a:pt x="135" y="70"/>
                  </a:lnTo>
                  <a:lnTo>
                    <a:pt x="133" y="70"/>
                  </a:lnTo>
                  <a:lnTo>
                    <a:pt x="133" y="70"/>
                  </a:lnTo>
                  <a:lnTo>
                    <a:pt x="131" y="70"/>
                  </a:lnTo>
                  <a:lnTo>
                    <a:pt x="131" y="70"/>
                  </a:lnTo>
                  <a:lnTo>
                    <a:pt x="131" y="70"/>
                  </a:lnTo>
                  <a:lnTo>
                    <a:pt x="131" y="70"/>
                  </a:lnTo>
                  <a:lnTo>
                    <a:pt x="128" y="70"/>
                  </a:lnTo>
                  <a:lnTo>
                    <a:pt x="128" y="72"/>
                  </a:lnTo>
                  <a:lnTo>
                    <a:pt x="128" y="72"/>
                  </a:lnTo>
                  <a:lnTo>
                    <a:pt x="128" y="72"/>
                  </a:lnTo>
                  <a:lnTo>
                    <a:pt x="128" y="74"/>
                  </a:lnTo>
                  <a:lnTo>
                    <a:pt x="128" y="74"/>
                  </a:lnTo>
                  <a:lnTo>
                    <a:pt x="128" y="74"/>
                  </a:lnTo>
                  <a:lnTo>
                    <a:pt x="128" y="74"/>
                  </a:lnTo>
                  <a:lnTo>
                    <a:pt x="124" y="74"/>
                  </a:lnTo>
                  <a:lnTo>
                    <a:pt x="121" y="74"/>
                  </a:lnTo>
                  <a:lnTo>
                    <a:pt x="119" y="77"/>
                  </a:lnTo>
                  <a:lnTo>
                    <a:pt x="117" y="77"/>
                  </a:lnTo>
                  <a:lnTo>
                    <a:pt x="114" y="77"/>
                  </a:lnTo>
                  <a:lnTo>
                    <a:pt x="110" y="77"/>
                  </a:lnTo>
                  <a:lnTo>
                    <a:pt x="107" y="79"/>
                  </a:lnTo>
                  <a:lnTo>
                    <a:pt x="105" y="79"/>
                  </a:lnTo>
                  <a:lnTo>
                    <a:pt x="103" y="79"/>
                  </a:lnTo>
                  <a:lnTo>
                    <a:pt x="100" y="81"/>
                  </a:lnTo>
                  <a:lnTo>
                    <a:pt x="98" y="81"/>
                  </a:lnTo>
                  <a:lnTo>
                    <a:pt x="93" y="81"/>
                  </a:lnTo>
                  <a:lnTo>
                    <a:pt x="91" y="81"/>
                  </a:lnTo>
                  <a:lnTo>
                    <a:pt x="89" y="84"/>
                  </a:lnTo>
                  <a:lnTo>
                    <a:pt x="87" y="84"/>
                  </a:lnTo>
                  <a:lnTo>
                    <a:pt x="84" y="84"/>
                  </a:lnTo>
                  <a:lnTo>
                    <a:pt x="80" y="84"/>
                  </a:lnTo>
                  <a:lnTo>
                    <a:pt x="77" y="86"/>
                  </a:lnTo>
                  <a:lnTo>
                    <a:pt x="75" y="86"/>
                  </a:lnTo>
                  <a:lnTo>
                    <a:pt x="73" y="86"/>
                  </a:lnTo>
                  <a:lnTo>
                    <a:pt x="70" y="86"/>
                  </a:lnTo>
                  <a:lnTo>
                    <a:pt x="66" y="88"/>
                  </a:lnTo>
                  <a:lnTo>
                    <a:pt x="63" y="88"/>
                  </a:lnTo>
                  <a:lnTo>
                    <a:pt x="61" y="88"/>
                  </a:lnTo>
                  <a:lnTo>
                    <a:pt x="59" y="88"/>
                  </a:lnTo>
                  <a:lnTo>
                    <a:pt x="56" y="91"/>
                  </a:lnTo>
                  <a:lnTo>
                    <a:pt x="52" y="91"/>
                  </a:lnTo>
                  <a:lnTo>
                    <a:pt x="49" y="91"/>
                  </a:lnTo>
                  <a:lnTo>
                    <a:pt x="47" y="91"/>
                  </a:lnTo>
                  <a:lnTo>
                    <a:pt x="45" y="93"/>
                  </a:lnTo>
                  <a:lnTo>
                    <a:pt x="42" y="93"/>
                  </a:lnTo>
                  <a:lnTo>
                    <a:pt x="38" y="93"/>
                  </a:lnTo>
                  <a:lnTo>
                    <a:pt x="35" y="93"/>
                  </a:lnTo>
                  <a:lnTo>
                    <a:pt x="33" y="95"/>
                  </a:lnTo>
                  <a:lnTo>
                    <a:pt x="28" y="95"/>
                  </a:lnTo>
                  <a:lnTo>
                    <a:pt x="26" y="95"/>
                  </a:lnTo>
                  <a:lnTo>
                    <a:pt x="24" y="95"/>
                  </a:lnTo>
                  <a:lnTo>
                    <a:pt x="19" y="98"/>
                  </a:lnTo>
                  <a:lnTo>
                    <a:pt x="17" y="98"/>
                  </a:lnTo>
                  <a:lnTo>
                    <a:pt x="14" y="98"/>
                  </a:lnTo>
                  <a:lnTo>
                    <a:pt x="12" y="95"/>
                  </a:lnTo>
                  <a:lnTo>
                    <a:pt x="12" y="93"/>
                  </a:lnTo>
                  <a:lnTo>
                    <a:pt x="12" y="91"/>
                  </a:lnTo>
                  <a:lnTo>
                    <a:pt x="12" y="88"/>
                  </a:lnTo>
                  <a:lnTo>
                    <a:pt x="12" y="86"/>
                  </a:lnTo>
                  <a:lnTo>
                    <a:pt x="12" y="84"/>
                  </a:lnTo>
                  <a:lnTo>
                    <a:pt x="10" y="81"/>
                  </a:lnTo>
                  <a:lnTo>
                    <a:pt x="10" y="79"/>
                  </a:lnTo>
                  <a:lnTo>
                    <a:pt x="10" y="77"/>
                  </a:lnTo>
                  <a:lnTo>
                    <a:pt x="10" y="74"/>
                  </a:lnTo>
                  <a:lnTo>
                    <a:pt x="10" y="72"/>
                  </a:lnTo>
                  <a:lnTo>
                    <a:pt x="7" y="70"/>
                  </a:lnTo>
                  <a:lnTo>
                    <a:pt x="7" y="70"/>
                  </a:lnTo>
                  <a:lnTo>
                    <a:pt x="7" y="70"/>
                  </a:lnTo>
                  <a:lnTo>
                    <a:pt x="7" y="70"/>
                  </a:lnTo>
                  <a:lnTo>
                    <a:pt x="7" y="70"/>
                  </a:lnTo>
                  <a:lnTo>
                    <a:pt x="7" y="70"/>
                  </a:lnTo>
                  <a:lnTo>
                    <a:pt x="7" y="70"/>
                  </a:lnTo>
                  <a:lnTo>
                    <a:pt x="7" y="70"/>
                  </a:lnTo>
                  <a:lnTo>
                    <a:pt x="7" y="70"/>
                  </a:lnTo>
                  <a:lnTo>
                    <a:pt x="7" y="65"/>
                  </a:lnTo>
                  <a:lnTo>
                    <a:pt x="7" y="63"/>
                  </a:lnTo>
                  <a:lnTo>
                    <a:pt x="7" y="58"/>
                  </a:lnTo>
                  <a:lnTo>
                    <a:pt x="5" y="56"/>
                  </a:lnTo>
                  <a:lnTo>
                    <a:pt x="5" y="51"/>
                  </a:lnTo>
                  <a:lnTo>
                    <a:pt x="5" y="49"/>
                  </a:lnTo>
                  <a:lnTo>
                    <a:pt x="5" y="47"/>
                  </a:lnTo>
                  <a:lnTo>
                    <a:pt x="3" y="42"/>
                  </a:lnTo>
                  <a:lnTo>
                    <a:pt x="3" y="40"/>
                  </a:lnTo>
                  <a:lnTo>
                    <a:pt x="3" y="35"/>
                  </a:lnTo>
                  <a:lnTo>
                    <a:pt x="3" y="33"/>
                  </a:lnTo>
                  <a:lnTo>
                    <a:pt x="0" y="30"/>
                  </a:lnTo>
                  <a:lnTo>
                    <a:pt x="0" y="28"/>
                  </a:lnTo>
                  <a:lnTo>
                    <a:pt x="3" y="26"/>
                  </a:lnTo>
                  <a:lnTo>
                    <a:pt x="3" y="26"/>
                  </a:lnTo>
                  <a:lnTo>
                    <a:pt x="3" y="26"/>
                  </a:lnTo>
                  <a:lnTo>
                    <a:pt x="3" y="26"/>
                  </a:lnTo>
                  <a:lnTo>
                    <a:pt x="7" y="21"/>
                  </a:lnTo>
                  <a:lnTo>
                    <a:pt x="7" y="21"/>
                  </a:lnTo>
                  <a:lnTo>
                    <a:pt x="7" y="21"/>
                  </a:lnTo>
                  <a:lnTo>
                    <a:pt x="7" y="21"/>
                  </a:lnTo>
                  <a:lnTo>
                    <a:pt x="7" y="21"/>
                  </a:lnTo>
                  <a:lnTo>
                    <a:pt x="10" y="21"/>
                  </a:lnTo>
                  <a:lnTo>
                    <a:pt x="10" y="19"/>
                  </a:lnTo>
                  <a:lnTo>
                    <a:pt x="10" y="19"/>
                  </a:lnTo>
                  <a:lnTo>
                    <a:pt x="10" y="19"/>
                  </a:lnTo>
                  <a:lnTo>
                    <a:pt x="10" y="19"/>
                  </a:lnTo>
                  <a:lnTo>
                    <a:pt x="10" y="19"/>
                  </a:lnTo>
                  <a:lnTo>
                    <a:pt x="10" y="19"/>
                  </a:lnTo>
                  <a:lnTo>
                    <a:pt x="10" y="21"/>
                  </a:lnTo>
                  <a:lnTo>
                    <a:pt x="10" y="21"/>
                  </a:lnTo>
                  <a:lnTo>
                    <a:pt x="10" y="21"/>
                  </a:lnTo>
                  <a:lnTo>
                    <a:pt x="10" y="21"/>
                  </a:lnTo>
                  <a:lnTo>
                    <a:pt x="10" y="21"/>
                  </a:lnTo>
                  <a:lnTo>
                    <a:pt x="10" y="19"/>
                  </a:lnTo>
                  <a:lnTo>
                    <a:pt x="12" y="19"/>
                  </a:lnTo>
                  <a:lnTo>
                    <a:pt x="12" y="19"/>
                  </a:lnTo>
                  <a:lnTo>
                    <a:pt x="12" y="16"/>
                  </a:lnTo>
                  <a:lnTo>
                    <a:pt x="14" y="16"/>
                  </a:lnTo>
                  <a:lnTo>
                    <a:pt x="17" y="14"/>
                  </a:lnTo>
                  <a:lnTo>
                    <a:pt x="17" y="14"/>
                  </a:lnTo>
                  <a:lnTo>
                    <a:pt x="17" y="16"/>
                  </a:lnTo>
                  <a:lnTo>
                    <a:pt x="17" y="16"/>
                  </a:lnTo>
                  <a:lnTo>
                    <a:pt x="17" y="16"/>
                  </a:lnTo>
                  <a:lnTo>
                    <a:pt x="17" y="19"/>
                  </a:lnTo>
                  <a:lnTo>
                    <a:pt x="17" y="19"/>
                  </a:lnTo>
                  <a:lnTo>
                    <a:pt x="17" y="21"/>
                  </a:lnTo>
                  <a:lnTo>
                    <a:pt x="19" y="21"/>
                  </a:lnTo>
                  <a:lnTo>
                    <a:pt x="19" y="21"/>
                  </a:lnTo>
                  <a:lnTo>
                    <a:pt x="19" y="23"/>
                  </a:lnTo>
                  <a:lnTo>
                    <a:pt x="19" y="23"/>
                  </a:lnTo>
                  <a:lnTo>
                    <a:pt x="21" y="23"/>
                  </a:lnTo>
                  <a:lnTo>
                    <a:pt x="26" y="21"/>
                  </a:lnTo>
                  <a:lnTo>
                    <a:pt x="28" y="21"/>
                  </a:lnTo>
                  <a:lnTo>
                    <a:pt x="33" y="21"/>
                  </a:lnTo>
                  <a:lnTo>
                    <a:pt x="35" y="21"/>
                  </a:lnTo>
                  <a:lnTo>
                    <a:pt x="38" y="19"/>
                  </a:lnTo>
                  <a:lnTo>
                    <a:pt x="42" y="19"/>
                  </a:lnTo>
                  <a:lnTo>
                    <a:pt x="45" y="19"/>
                  </a:lnTo>
                  <a:lnTo>
                    <a:pt x="47" y="16"/>
                  </a:lnTo>
                  <a:lnTo>
                    <a:pt x="52" y="16"/>
                  </a:lnTo>
                  <a:lnTo>
                    <a:pt x="54" y="16"/>
                  </a:lnTo>
                  <a:lnTo>
                    <a:pt x="56" y="16"/>
                  </a:lnTo>
                  <a:lnTo>
                    <a:pt x="61" y="14"/>
                  </a:lnTo>
                  <a:lnTo>
                    <a:pt x="63" y="14"/>
                  </a:lnTo>
                  <a:lnTo>
                    <a:pt x="68" y="14"/>
                  </a:lnTo>
                  <a:lnTo>
                    <a:pt x="70" y="12"/>
                  </a:lnTo>
                  <a:lnTo>
                    <a:pt x="73" y="12"/>
                  </a:lnTo>
                  <a:lnTo>
                    <a:pt x="77" y="12"/>
                  </a:lnTo>
                  <a:lnTo>
                    <a:pt x="80" y="12"/>
                  </a:lnTo>
                  <a:lnTo>
                    <a:pt x="82" y="9"/>
                  </a:lnTo>
                  <a:lnTo>
                    <a:pt x="87" y="9"/>
                  </a:lnTo>
                  <a:lnTo>
                    <a:pt x="89" y="9"/>
                  </a:lnTo>
                  <a:lnTo>
                    <a:pt x="91" y="7"/>
                  </a:lnTo>
                  <a:lnTo>
                    <a:pt x="96" y="7"/>
                  </a:lnTo>
                  <a:lnTo>
                    <a:pt x="98" y="7"/>
                  </a:lnTo>
                  <a:lnTo>
                    <a:pt x="100" y="5"/>
                  </a:lnTo>
                  <a:lnTo>
                    <a:pt x="105" y="5"/>
                  </a:lnTo>
                  <a:lnTo>
                    <a:pt x="107" y="5"/>
                  </a:lnTo>
                  <a:lnTo>
                    <a:pt x="110" y="2"/>
                  </a:lnTo>
                  <a:lnTo>
                    <a:pt x="114" y="2"/>
                  </a:lnTo>
                  <a:lnTo>
                    <a:pt x="117" y="2"/>
                  </a:lnTo>
                  <a:lnTo>
                    <a:pt x="121" y="2"/>
                  </a:lnTo>
                  <a:lnTo>
                    <a:pt x="121" y="0"/>
                  </a:lnTo>
                  <a:lnTo>
                    <a:pt x="121" y="0"/>
                  </a:lnTo>
                  <a:lnTo>
                    <a:pt x="121" y="2"/>
                  </a:lnTo>
                  <a:lnTo>
                    <a:pt x="121" y="2"/>
                  </a:lnTo>
                  <a:lnTo>
                    <a:pt x="124" y="2"/>
                  </a:lnTo>
                  <a:lnTo>
                    <a:pt x="124" y="2"/>
                  </a:lnTo>
                  <a:lnTo>
                    <a:pt x="124" y="2"/>
                  </a:lnTo>
                  <a:lnTo>
                    <a:pt x="124" y="2"/>
                  </a:lnTo>
                  <a:lnTo>
                    <a:pt x="124" y="5"/>
                  </a:lnTo>
                  <a:lnTo>
                    <a:pt x="124" y="5"/>
                  </a:lnTo>
                  <a:lnTo>
                    <a:pt x="126" y="5"/>
                  </a:lnTo>
                  <a:lnTo>
                    <a:pt x="126" y="5"/>
                  </a:lnTo>
                  <a:lnTo>
                    <a:pt x="126" y="5"/>
                  </a:lnTo>
                  <a:lnTo>
                    <a:pt x="128" y="5"/>
                  </a:lnTo>
                  <a:lnTo>
                    <a:pt x="128" y="5"/>
                  </a:lnTo>
                  <a:lnTo>
                    <a:pt x="128" y="5"/>
                  </a:lnTo>
                  <a:lnTo>
                    <a:pt x="128" y="5"/>
                  </a:lnTo>
                  <a:lnTo>
                    <a:pt x="128" y="5"/>
                  </a:lnTo>
                  <a:lnTo>
                    <a:pt x="128" y="7"/>
                  </a:lnTo>
                  <a:lnTo>
                    <a:pt x="128" y="7"/>
                  </a:lnTo>
                  <a:lnTo>
                    <a:pt x="128" y="7"/>
                  </a:lnTo>
                  <a:lnTo>
                    <a:pt x="128" y="7"/>
                  </a:lnTo>
                  <a:lnTo>
                    <a:pt x="131" y="7"/>
                  </a:lnTo>
                  <a:lnTo>
                    <a:pt x="131" y="7"/>
                  </a:lnTo>
                  <a:lnTo>
                    <a:pt x="128" y="7"/>
                  </a:lnTo>
                  <a:lnTo>
                    <a:pt x="128" y="7"/>
                  </a:lnTo>
                  <a:lnTo>
                    <a:pt x="131" y="9"/>
                  </a:lnTo>
                  <a:lnTo>
                    <a:pt x="131" y="9"/>
                  </a:lnTo>
                  <a:lnTo>
                    <a:pt x="131" y="12"/>
                  </a:lnTo>
                  <a:lnTo>
                    <a:pt x="131" y="12"/>
                  </a:lnTo>
                  <a:lnTo>
                    <a:pt x="131" y="12"/>
                  </a:lnTo>
                  <a:lnTo>
                    <a:pt x="133" y="14"/>
                  </a:lnTo>
                  <a:lnTo>
                    <a:pt x="133" y="14"/>
                  </a:lnTo>
                  <a:lnTo>
                    <a:pt x="133" y="14"/>
                  </a:lnTo>
                  <a:lnTo>
                    <a:pt x="135" y="14"/>
                  </a:lnTo>
                  <a:lnTo>
                    <a:pt x="135" y="14"/>
                  </a:lnTo>
                  <a:lnTo>
                    <a:pt x="135" y="16"/>
                  </a:lnTo>
                  <a:lnTo>
                    <a:pt x="135" y="16"/>
                  </a:lnTo>
                  <a:lnTo>
                    <a:pt x="135" y="16"/>
                  </a:lnTo>
                  <a:lnTo>
                    <a:pt x="138" y="14"/>
                  </a:lnTo>
                  <a:lnTo>
                    <a:pt x="138" y="16"/>
                  </a:lnTo>
                  <a:lnTo>
                    <a:pt x="138" y="16"/>
                  </a:lnTo>
                  <a:lnTo>
                    <a:pt x="138" y="16"/>
                  </a:lnTo>
                  <a:lnTo>
                    <a:pt x="138" y="16"/>
                  </a:lnTo>
                  <a:lnTo>
                    <a:pt x="140" y="14"/>
                  </a:lnTo>
                  <a:lnTo>
                    <a:pt x="140" y="16"/>
                  </a:lnTo>
                  <a:lnTo>
                    <a:pt x="140" y="16"/>
                  </a:lnTo>
                  <a:lnTo>
                    <a:pt x="140" y="16"/>
                  </a:lnTo>
                  <a:lnTo>
                    <a:pt x="140" y="16"/>
                  </a:lnTo>
                  <a:lnTo>
                    <a:pt x="140" y="16"/>
                  </a:lnTo>
                  <a:lnTo>
                    <a:pt x="140" y="16"/>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16">
              <a:extLst>
                <a:ext uri="{FF2B5EF4-FFF2-40B4-BE49-F238E27FC236}">
                  <a16:creationId xmlns:a16="http://schemas.microsoft.com/office/drawing/2014/main" id="{D03A3C72-86F2-4ECD-99B3-9B6C11B75ED7}"/>
                </a:ext>
              </a:extLst>
            </p:cNvPr>
            <p:cNvSpPr>
              <a:spLocks noEditPoints="1"/>
            </p:cNvSpPr>
            <p:nvPr/>
          </p:nvSpPr>
          <p:spPr bwMode="auto">
            <a:xfrm>
              <a:off x="7442994" y="4168776"/>
              <a:ext cx="150813" cy="231775"/>
            </a:xfrm>
            <a:custGeom>
              <a:avLst/>
              <a:gdLst>
                <a:gd name="T0" fmla="*/ 44 w 95"/>
                <a:gd name="T1" fmla="*/ 114 h 146"/>
                <a:gd name="T2" fmla="*/ 65 w 95"/>
                <a:gd name="T3" fmla="*/ 100 h 146"/>
                <a:gd name="T4" fmla="*/ 63 w 95"/>
                <a:gd name="T5" fmla="*/ 102 h 146"/>
                <a:gd name="T6" fmla="*/ 67 w 95"/>
                <a:gd name="T7" fmla="*/ 98 h 146"/>
                <a:gd name="T8" fmla="*/ 63 w 95"/>
                <a:gd name="T9" fmla="*/ 98 h 146"/>
                <a:gd name="T10" fmla="*/ 56 w 95"/>
                <a:gd name="T11" fmla="*/ 95 h 146"/>
                <a:gd name="T12" fmla="*/ 56 w 95"/>
                <a:gd name="T13" fmla="*/ 93 h 146"/>
                <a:gd name="T14" fmla="*/ 67 w 95"/>
                <a:gd name="T15" fmla="*/ 95 h 146"/>
                <a:gd name="T16" fmla="*/ 84 w 95"/>
                <a:gd name="T17" fmla="*/ 84 h 146"/>
                <a:gd name="T18" fmla="*/ 91 w 95"/>
                <a:gd name="T19" fmla="*/ 63 h 146"/>
                <a:gd name="T20" fmla="*/ 95 w 95"/>
                <a:gd name="T21" fmla="*/ 63 h 146"/>
                <a:gd name="T22" fmla="*/ 91 w 95"/>
                <a:gd name="T23" fmla="*/ 60 h 146"/>
                <a:gd name="T24" fmla="*/ 33 w 95"/>
                <a:gd name="T25" fmla="*/ 4 h 146"/>
                <a:gd name="T26" fmla="*/ 39 w 95"/>
                <a:gd name="T27" fmla="*/ 0 h 146"/>
                <a:gd name="T28" fmla="*/ 53 w 95"/>
                <a:gd name="T29" fmla="*/ 7 h 146"/>
                <a:gd name="T30" fmla="*/ 63 w 95"/>
                <a:gd name="T31" fmla="*/ 35 h 146"/>
                <a:gd name="T32" fmla="*/ 70 w 95"/>
                <a:gd name="T33" fmla="*/ 49 h 146"/>
                <a:gd name="T34" fmla="*/ 77 w 95"/>
                <a:gd name="T35" fmla="*/ 51 h 146"/>
                <a:gd name="T36" fmla="*/ 84 w 95"/>
                <a:gd name="T37" fmla="*/ 58 h 146"/>
                <a:gd name="T38" fmla="*/ 91 w 95"/>
                <a:gd name="T39" fmla="*/ 63 h 146"/>
                <a:gd name="T40" fmla="*/ 88 w 95"/>
                <a:gd name="T41" fmla="*/ 67 h 146"/>
                <a:gd name="T42" fmla="*/ 93 w 95"/>
                <a:gd name="T43" fmla="*/ 67 h 146"/>
                <a:gd name="T44" fmla="*/ 88 w 95"/>
                <a:gd name="T45" fmla="*/ 74 h 146"/>
                <a:gd name="T46" fmla="*/ 84 w 95"/>
                <a:gd name="T47" fmla="*/ 77 h 146"/>
                <a:gd name="T48" fmla="*/ 81 w 95"/>
                <a:gd name="T49" fmla="*/ 81 h 146"/>
                <a:gd name="T50" fmla="*/ 77 w 95"/>
                <a:gd name="T51" fmla="*/ 84 h 146"/>
                <a:gd name="T52" fmla="*/ 74 w 95"/>
                <a:gd name="T53" fmla="*/ 86 h 146"/>
                <a:gd name="T54" fmla="*/ 72 w 95"/>
                <a:gd name="T55" fmla="*/ 86 h 146"/>
                <a:gd name="T56" fmla="*/ 65 w 95"/>
                <a:gd name="T57" fmla="*/ 91 h 146"/>
                <a:gd name="T58" fmla="*/ 63 w 95"/>
                <a:gd name="T59" fmla="*/ 95 h 146"/>
                <a:gd name="T60" fmla="*/ 60 w 95"/>
                <a:gd name="T61" fmla="*/ 91 h 146"/>
                <a:gd name="T62" fmla="*/ 58 w 95"/>
                <a:gd name="T63" fmla="*/ 91 h 146"/>
                <a:gd name="T64" fmla="*/ 56 w 95"/>
                <a:gd name="T65" fmla="*/ 100 h 146"/>
                <a:gd name="T66" fmla="*/ 53 w 95"/>
                <a:gd name="T67" fmla="*/ 112 h 146"/>
                <a:gd name="T68" fmla="*/ 51 w 95"/>
                <a:gd name="T69" fmla="*/ 109 h 146"/>
                <a:gd name="T70" fmla="*/ 49 w 95"/>
                <a:gd name="T71" fmla="*/ 114 h 146"/>
                <a:gd name="T72" fmla="*/ 46 w 95"/>
                <a:gd name="T73" fmla="*/ 114 h 146"/>
                <a:gd name="T74" fmla="*/ 42 w 95"/>
                <a:gd name="T75" fmla="*/ 114 h 146"/>
                <a:gd name="T76" fmla="*/ 39 w 95"/>
                <a:gd name="T77" fmla="*/ 114 h 146"/>
                <a:gd name="T78" fmla="*/ 42 w 95"/>
                <a:gd name="T79" fmla="*/ 121 h 146"/>
                <a:gd name="T80" fmla="*/ 37 w 95"/>
                <a:gd name="T81" fmla="*/ 118 h 146"/>
                <a:gd name="T82" fmla="*/ 35 w 95"/>
                <a:gd name="T83" fmla="*/ 123 h 146"/>
                <a:gd name="T84" fmla="*/ 35 w 95"/>
                <a:gd name="T85" fmla="*/ 130 h 146"/>
                <a:gd name="T86" fmla="*/ 30 w 95"/>
                <a:gd name="T87" fmla="*/ 137 h 146"/>
                <a:gd name="T88" fmla="*/ 28 w 95"/>
                <a:gd name="T89" fmla="*/ 146 h 146"/>
                <a:gd name="T90" fmla="*/ 19 w 95"/>
                <a:gd name="T91" fmla="*/ 132 h 146"/>
                <a:gd name="T92" fmla="*/ 14 w 95"/>
                <a:gd name="T93" fmla="*/ 121 h 146"/>
                <a:gd name="T94" fmla="*/ 9 w 95"/>
                <a:gd name="T95" fmla="*/ 105 h 146"/>
                <a:gd name="T96" fmla="*/ 5 w 95"/>
                <a:gd name="T97" fmla="*/ 91 h 146"/>
                <a:gd name="T98" fmla="*/ 5 w 95"/>
                <a:gd name="T99" fmla="*/ 81 h 146"/>
                <a:gd name="T100" fmla="*/ 7 w 95"/>
                <a:gd name="T101" fmla="*/ 74 h 146"/>
                <a:gd name="T102" fmla="*/ 9 w 95"/>
                <a:gd name="T103" fmla="*/ 60 h 146"/>
                <a:gd name="T104" fmla="*/ 9 w 95"/>
                <a:gd name="T105" fmla="*/ 49 h 146"/>
                <a:gd name="T106" fmla="*/ 9 w 95"/>
                <a:gd name="T107" fmla="*/ 32 h 146"/>
                <a:gd name="T108" fmla="*/ 16 w 95"/>
                <a:gd name="T109" fmla="*/ 14 h 146"/>
                <a:gd name="T110" fmla="*/ 23 w 95"/>
                <a:gd name="T111" fmla="*/ 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146">
                  <a:moveTo>
                    <a:pt x="46" y="118"/>
                  </a:moveTo>
                  <a:lnTo>
                    <a:pt x="44" y="118"/>
                  </a:lnTo>
                  <a:lnTo>
                    <a:pt x="44" y="116"/>
                  </a:lnTo>
                  <a:lnTo>
                    <a:pt x="46" y="118"/>
                  </a:lnTo>
                  <a:close/>
                  <a:moveTo>
                    <a:pt x="44" y="116"/>
                  </a:moveTo>
                  <a:lnTo>
                    <a:pt x="42" y="114"/>
                  </a:lnTo>
                  <a:lnTo>
                    <a:pt x="44" y="114"/>
                  </a:lnTo>
                  <a:lnTo>
                    <a:pt x="44" y="112"/>
                  </a:lnTo>
                  <a:lnTo>
                    <a:pt x="44" y="114"/>
                  </a:lnTo>
                  <a:lnTo>
                    <a:pt x="44" y="116"/>
                  </a:lnTo>
                  <a:close/>
                  <a:moveTo>
                    <a:pt x="65" y="102"/>
                  </a:moveTo>
                  <a:lnTo>
                    <a:pt x="65" y="105"/>
                  </a:lnTo>
                  <a:lnTo>
                    <a:pt x="65" y="102"/>
                  </a:lnTo>
                  <a:lnTo>
                    <a:pt x="65" y="100"/>
                  </a:lnTo>
                  <a:lnTo>
                    <a:pt x="65" y="102"/>
                  </a:lnTo>
                  <a:close/>
                  <a:moveTo>
                    <a:pt x="63" y="105"/>
                  </a:moveTo>
                  <a:lnTo>
                    <a:pt x="60" y="105"/>
                  </a:lnTo>
                  <a:lnTo>
                    <a:pt x="60" y="102"/>
                  </a:lnTo>
                  <a:lnTo>
                    <a:pt x="58" y="102"/>
                  </a:lnTo>
                  <a:lnTo>
                    <a:pt x="60" y="102"/>
                  </a:lnTo>
                  <a:lnTo>
                    <a:pt x="63" y="102"/>
                  </a:lnTo>
                  <a:lnTo>
                    <a:pt x="63" y="105"/>
                  </a:lnTo>
                  <a:close/>
                  <a:moveTo>
                    <a:pt x="60" y="102"/>
                  </a:moveTo>
                  <a:lnTo>
                    <a:pt x="58" y="102"/>
                  </a:lnTo>
                  <a:lnTo>
                    <a:pt x="58" y="100"/>
                  </a:lnTo>
                  <a:lnTo>
                    <a:pt x="60" y="100"/>
                  </a:lnTo>
                  <a:lnTo>
                    <a:pt x="60" y="102"/>
                  </a:lnTo>
                  <a:close/>
                  <a:moveTo>
                    <a:pt x="67" y="98"/>
                  </a:moveTo>
                  <a:lnTo>
                    <a:pt x="70" y="98"/>
                  </a:lnTo>
                  <a:lnTo>
                    <a:pt x="67" y="98"/>
                  </a:lnTo>
                  <a:close/>
                  <a:moveTo>
                    <a:pt x="65" y="98"/>
                  </a:moveTo>
                  <a:lnTo>
                    <a:pt x="63" y="98"/>
                  </a:lnTo>
                  <a:lnTo>
                    <a:pt x="65" y="98"/>
                  </a:lnTo>
                  <a:lnTo>
                    <a:pt x="63" y="100"/>
                  </a:lnTo>
                  <a:lnTo>
                    <a:pt x="63" y="98"/>
                  </a:lnTo>
                  <a:lnTo>
                    <a:pt x="63" y="95"/>
                  </a:lnTo>
                  <a:lnTo>
                    <a:pt x="63" y="98"/>
                  </a:lnTo>
                  <a:lnTo>
                    <a:pt x="65" y="98"/>
                  </a:lnTo>
                  <a:close/>
                  <a:moveTo>
                    <a:pt x="58" y="98"/>
                  </a:moveTo>
                  <a:lnTo>
                    <a:pt x="58" y="100"/>
                  </a:lnTo>
                  <a:lnTo>
                    <a:pt x="56" y="98"/>
                  </a:lnTo>
                  <a:lnTo>
                    <a:pt x="56" y="95"/>
                  </a:lnTo>
                  <a:lnTo>
                    <a:pt x="58" y="98"/>
                  </a:lnTo>
                  <a:close/>
                  <a:moveTo>
                    <a:pt x="65" y="93"/>
                  </a:moveTo>
                  <a:lnTo>
                    <a:pt x="65" y="91"/>
                  </a:lnTo>
                  <a:lnTo>
                    <a:pt x="65" y="93"/>
                  </a:lnTo>
                  <a:close/>
                  <a:moveTo>
                    <a:pt x="58" y="95"/>
                  </a:moveTo>
                  <a:lnTo>
                    <a:pt x="56" y="95"/>
                  </a:lnTo>
                  <a:lnTo>
                    <a:pt x="56" y="93"/>
                  </a:lnTo>
                  <a:lnTo>
                    <a:pt x="58" y="93"/>
                  </a:lnTo>
                  <a:lnTo>
                    <a:pt x="58" y="95"/>
                  </a:lnTo>
                  <a:close/>
                  <a:moveTo>
                    <a:pt x="72" y="91"/>
                  </a:moveTo>
                  <a:lnTo>
                    <a:pt x="72" y="93"/>
                  </a:lnTo>
                  <a:lnTo>
                    <a:pt x="70" y="93"/>
                  </a:lnTo>
                  <a:lnTo>
                    <a:pt x="70" y="95"/>
                  </a:lnTo>
                  <a:lnTo>
                    <a:pt x="67" y="95"/>
                  </a:lnTo>
                  <a:lnTo>
                    <a:pt x="67" y="93"/>
                  </a:lnTo>
                  <a:lnTo>
                    <a:pt x="67" y="91"/>
                  </a:lnTo>
                  <a:lnTo>
                    <a:pt x="67" y="88"/>
                  </a:lnTo>
                  <a:lnTo>
                    <a:pt x="70" y="88"/>
                  </a:lnTo>
                  <a:lnTo>
                    <a:pt x="72" y="91"/>
                  </a:lnTo>
                  <a:close/>
                  <a:moveTo>
                    <a:pt x="84" y="81"/>
                  </a:moveTo>
                  <a:lnTo>
                    <a:pt x="84" y="84"/>
                  </a:lnTo>
                  <a:lnTo>
                    <a:pt x="84" y="81"/>
                  </a:lnTo>
                  <a:close/>
                  <a:moveTo>
                    <a:pt x="88" y="77"/>
                  </a:moveTo>
                  <a:lnTo>
                    <a:pt x="88" y="74"/>
                  </a:lnTo>
                  <a:lnTo>
                    <a:pt x="88" y="77"/>
                  </a:lnTo>
                  <a:close/>
                  <a:moveTo>
                    <a:pt x="93" y="65"/>
                  </a:moveTo>
                  <a:lnTo>
                    <a:pt x="91" y="65"/>
                  </a:lnTo>
                  <a:lnTo>
                    <a:pt x="91" y="63"/>
                  </a:lnTo>
                  <a:lnTo>
                    <a:pt x="91" y="65"/>
                  </a:lnTo>
                  <a:lnTo>
                    <a:pt x="93" y="65"/>
                  </a:lnTo>
                  <a:close/>
                  <a:moveTo>
                    <a:pt x="95" y="65"/>
                  </a:moveTo>
                  <a:lnTo>
                    <a:pt x="93" y="67"/>
                  </a:lnTo>
                  <a:lnTo>
                    <a:pt x="93" y="65"/>
                  </a:lnTo>
                  <a:lnTo>
                    <a:pt x="93" y="63"/>
                  </a:lnTo>
                  <a:lnTo>
                    <a:pt x="95" y="63"/>
                  </a:lnTo>
                  <a:lnTo>
                    <a:pt x="95" y="65"/>
                  </a:lnTo>
                  <a:lnTo>
                    <a:pt x="93" y="65"/>
                  </a:lnTo>
                  <a:lnTo>
                    <a:pt x="95" y="65"/>
                  </a:lnTo>
                  <a:close/>
                  <a:moveTo>
                    <a:pt x="93" y="63"/>
                  </a:moveTo>
                  <a:lnTo>
                    <a:pt x="93" y="65"/>
                  </a:lnTo>
                  <a:lnTo>
                    <a:pt x="91" y="63"/>
                  </a:lnTo>
                  <a:lnTo>
                    <a:pt x="91" y="60"/>
                  </a:lnTo>
                  <a:lnTo>
                    <a:pt x="93" y="60"/>
                  </a:lnTo>
                  <a:lnTo>
                    <a:pt x="93" y="63"/>
                  </a:lnTo>
                  <a:close/>
                  <a:moveTo>
                    <a:pt x="26" y="7"/>
                  </a:moveTo>
                  <a:lnTo>
                    <a:pt x="28" y="9"/>
                  </a:lnTo>
                  <a:lnTo>
                    <a:pt x="30" y="7"/>
                  </a:lnTo>
                  <a:lnTo>
                    <a:pt x="33" y="7"/>
                  </a:lnTo>
                  <a:lnTo>
                    <a:pt x="33" y="4"/>
                  </a:lnTo>
                  <a:lnTo>
                    <a:pt x="35" y="4"/>
                  </a:lnTo>
                  <a:lnTo>
                    <a:pt x="35" y="2"/>
                  </a:lnTo>
                  <a:lnTo>
                    <a:pt x="37" y="2"/>
                  </a:lnTo>
                  <a:lnTo>
                    <a:pt x="39" y="2"/>
                  </a:lnTo>
                  <a:lnTo>
                    <a:pt x="37" y="2"/>
                  </a:lnTo>
                  <a:lnTo>
                    <a:pt x="37" y="0"/>
                  </a:lnTo>
                  <a:lnTo>
                    <a:pt x="39" y="0"/>
                  </a:lnTo>
                  <a:lnTo>
                    <a:pt x="42" y="0"/>
                  </a:lnTo>
                  <a:lnTo>
                    <a:pt x="44" y="0"/>
                  </a:lnTo>
                  <a:lnTo>
                    <a:pt x="46" y="2"/>
                  </a:lnTo>
                  <a:lnTo>
                    <a:pt x="49" y="2"/>
                  </a:lnTo>
                  <a:lnTo>
                    <a:pt x="51" y="4"/>
                  </a:lnTo>
                  <a:lnTo>
                    <a:pt x="53" y="4"/>
                  </a:lnTo>
                  <a:lnTo>
                    <a:pt x="53" y="7"/>
                  </a:lnTo>
                  <a:lnTo>
                    <a:pt x="53" y="9"/>
                  </a:lnTo>
                  <a:lnTo>
                    <a:pt x="56" y="14"/>
                  </a:lnTo>
                  <a:lnTo>
                    <a:pt x="58" y="18"/>
                  </a:lnTo>
                  <a:lnTo>
                    <a:pt x="58" y="23"/>
                  </a:lnTo>
                  <a:lnTo>
                    <a:pt x="60" y="25"/>
                  </a:lnTo>
                  <a:lnTo>
                    <a:pt x="63" y="30"/>
                  </a:lnTo>
                  <a:lnTo>
                    <a:pt x="63" y="35"/>
                  </a:lnTo>
                  <a:lnTo>
                    <a:pt x="65" y="39"/>
                  </a:lnTo>
                  <a:lnTo>
                    <a:pt x="65" y="42"/>
                  </a:lnTo>
                  <a:lnTo>
                    <a:pt x="65" y="44"/>
                  </a:lnTo>
                  <a:lnTo>
                    <a:pt x="65" y="46"/>
                  </a:lnTo>
                  <a:lnTo>
                    <a:pt x="67" y="46"/>
                  </a:lnTo>
                  <a:lnTo>
                    <a:pt x="70" y="46"/>
                  </a:lnTo>
                  <a:lnTo>
                    <a:pt x="70" y="49"/>
                  </a:lnTo>
                  <a:lnTo>
                    <a:pt x="72" y="49"/>
                  </a:lnTo>
                  <a:lnTo>
                    <a:pt x="74" y="49"/>
                  </a:lnTo>
                  <a:lnTo>
                    <a:pt x="74" y="46"/>
                  </a:lnTo>
                  <a:lnTo>
                    <a:pt x="77" y="46"/>
                  </a:lnTo>
                  <a:lnTo>
                    <a:pt x="77" y="49"/>
                  </a:lnTo>
                  <a:lnTo>
                    <a:pt x="74" y="51"/>
                  </a:lnTo>
                  <a:lnTo>
                    <a:pt x="77" y="51"/>
                  </a:lnTo>
                  <a:lnTo>
                    <a:pt x="79" y="53"/>
                  </a:lnTo>
                  <a:lnTo>
                    <a:pt x="79" y="56"/>
                  </a:lnTo>
                  <a:lnTo>
                    <a:pt x="79" y="58"/>
                  </a:lnTo>
                  <a:lnTo>
                    <a:pt x="81" y="58"/>
                  </a:lnTo>
                  <a:lnTo>
                    <a:pt x="81" y="60"/>
                  </a:lnTo>
                  <a:lnTo>
                    <a:pt x="84" y="60"/>
                  </a:lnTo>
                  <a:lnTo>
                    <a:pt x="84" y="58"/>
                  </a:lnTo>
                  <a:lnTo>
                    <a:pt x="86" y="58"/>
                  </a:lnTo>
                  <a:lnTo>
                    <a:pt x="84" y="58"/>
                  </a:lnTo>
                  <a:lnTo>
                    <a:pt x="86" y="58"/>
                  </a:lnTo>
                  <a:lnTo>
                    <a:pt x="86" y="60"/>
                  </a:lnTo>
                  <a:lnTo>
                    <a:pt x="88" y="60"/>
                  </a:lnTo>
                  <a:lnTo>
                    <a:pt x="88" y="63"/>
                  </a:lnTo>
                  <a:lnTo>
                    <a:pt x="91" y="63"/>
                  </a:lnTo>
                  <a:lnTo>
                    <a:pt x="91" y="65"/>
                  </a:lnTo>
                  <a:lnTo>
                    <a:pt x="88" y="65"/>
                  </a:lnTo>
                  <a:lnTo>
                    <a:pt x="91" y="65"/>
                  </a:lnTo>
                  <a:lnTo>
                    <a:pt x="88" y="65"/>
                  </a:lnTo>
                  <a:lnTo>
                    <a:pt x="88" y="67"/>
                  </a:lnTo>
                  <a:lnTo>
                    <a:pt x="91" y="67"/>
                  </a:lnTo>
                  <a:lnTo>
                    <a:pt x="88" y="67"/>
                  </a:lnTo>
                  <a:lnTo>
                    <a:pt x="91" y="67"/>
                  </a:lnTo>
                  <a:lnTo>
                    <a:pt x="91" y="65"/>
                  </a:lnTo>
                  <a:lnTo>
                    <a:pt x="91" y="67"/>
                  </a:lnTo>
                  <a:lnTo>
                    <a:pt x="93" y="67"/>
                  </a:lnTo>
                  <a:lnTo>
                    <a:pt x="91" y="67"/>
                  </a:lnTo>
                  <a:lnTo>
                    <a:pt x="91" y="65"/>
                  </a:lnTo>
                  <a:lnTo>
                    <a:pt x="93" y="67"/>
                  </a:lnTo>
                  <a:lnTo>
                    <a:pt x="93" y="65"/>
                  </a:lnTo>
                  <a:lnTo>
                    <a:pt x="93" y="67"/>
                  </a:lnTo>
                  <a:lnTo>
                    <a:pt x="93" y="70"/>
                  </a:lnTo>
                  <a:lnTo>
                    <a:pt x="91" y="70"/>
                  </a:lnTo>
                  <a:lnTo>
                    <a:pt x="91" y="72"/>
                  </a:lnTo>
                  <a:lnTo>
                    <a:pt x="91" y="74"/>
                  </a:lnTo>
                  <a:lnTo>
                    <a:pt x="88" y="74"/>
                  </a:lnTo>
                  <a:lnTo>
                    <a:pt x="86" y="72"/>
                  </a:lnTo>
                  <a:lnTo>
                    <a:pt x="86" y="74"/>
                  </a:lnTo>
                  <a:lnTo>
                    <a:pt x="86" y="77"/>
                  </a:lnTo>
                  <a:lnTo>
                    <a:pt x="86" y="74"/>
                  </a:lnTo>
                  <a:lnTo>
                    <a:pt x="84" y="74"/>
                  </a:lnTo>
                  <a:lnTo>
                    <a:pt x="86" y="77"/>
                  </a:lnTo>
                  <a:lnTo>
                    <a:pt x="84" y="77"/>
                  </a:lnTo>
                  <a:lnTo>
                    <a:pt x="81" y="77"/>
                  </a:lnTo>
                  <a:lnTo>
                    <a:pt x="84" y="77"/>
                  </a:lnTo>
                  <a:lnTo>
                    <a:pt x="84" y="79"/>
                  </a:lnTo>
                  <a:lnTo>
                    <a:pt x="84" y="81"/>
                  </a:lnTo>
                  <a:lnTo>
                    <a:pt x="81" y="81"/>
                  </a:lnTo>
                  <a:lnTo>
                    <a:pt x="81" y="79"/>
                  </a:lnTo>
                  <a:lnTo>
                    <a:pt x="81" y="81"/>
                  </a:lnTo>
                  <a:lnTo>
                    <a:pt x="79" y="81"/>
                  </a:lnTo>
                  <a:lnTo>
                    <a:pt x="79" y="79"/>
                  </a:lnTo>
                  <a:lnTo>
                    <a:pt x="79" y="81"/>
                  </a:lnTo>
                  <a:lnTo>
                    <a:pt x="79" y="79"/>
                  </a:lnTo>
                  <a:lnTo>
                    <a:pt x="79" y="81"/>
                  </a:lnTo>
                  <a:lnTo>
                    <a:pt x="77" y="81"/>
                  </a:lnTo>
                  <a:lnTo>
                    <a:pt x="77" y="84"/>
                  </a:lnTo>
                  <a:lnTo>
                    <a:pt x="79" y="84"/>
                  </a:lnTo>
                  <a:lnTo>
                    <a:pt x="77" y="84"/>
                  </a:lnTo>
                  <a:lnTo>
                    <a:pt x="77" y="86"/>
                  </a:lnTo>
                  <a:lnTo>
                    <a:pt x="77" y="84"/>
                  </a:lnTo>
                  <a:lnTo>
                    <a:pt x="77" y="86"/>
                  </a:lnTo>
                  <a:lnTo>
                    <a:pt x="74" y="84"/>
                  </a:lnTo>
                  <a:lnTo>
                    <a:pt x="74" y="86"/>
                  </a:lnTo>
                  <a:lnTo>
                    <a:pt x="77" y="86"/>
                  </a:lnTo>
                  <a:lnTo>
                    <a:pt x="77" y="88"/>
                  </a:lnTo>
                  <a:lnTo>
                    <a:pt x="74" y="88"/>
                  </a:lnTo>
                  <a:lnTo>
                    <a:pt x="74" y="91"/>
                  </a:lnTo>
                  <a:lnTo>
                    <a:pt x="74" y="88"/>
                  </a:lnTo>
                  <a:lnTo>
                    <a:pt x="72" y="88"/>
                  </a:lnTo>
                  <a:lnTo>
                    <a:pt x="72" y="86"/>
                  </a:lnTo>
                  <a:lnTo>
                    <a:pt x="70" y="86"/>
                  </a:lnTo>
                  <a:lnTo>
                    <a:pt x="67" y="86"/>
                  </a:lnTo>
                  <a:lnTo>
                    <a:pt x="70" y="86"/>
                  </a:lnTo>
                  <a:lnTo>
                    <a:pt x="70" y="88"/>
                  </a:lnTo>
                  <a:lnTo>
                    <a:pt x="67" y="88"/>
                  </a:lnTo>
                  <a:lnTo>
                    <a:pt x="67" y="91"/>
                  </a:lnTo>
                  <a:lnTo>
                    <a:pt x="65" y="91"/>
                  </a:lnTo>
                  <a:lnTo>
                    <a:pt x="65" y="88"/>
                  </a:lnTo>
                  <a:lnTo>
                    <a:pt x="65" y="91"/>
                  </a:lnTo>
                  <a:lnTo>
                    <a:pt x="63" y="91"/>
                  </a:lnTo>
                  <a:lnTo>
                    <a:pt x="63" y="93"/>
                  </a:lnTo>
                  <a:lnTo>
                    <a:pt x="65" y="93"/>
                  </a:lnTo>
                  <a:lnTo>
                    <a:pt x="65" y="95"/>
                  </a:lnTo>
                  <a:lnTo>
                    <a:pt x="63" y="95"/>
                  </a:lnTo>
                  <a:lnTo>
                    <a:pt x="60" y="95"/>
                  </a:lnTo>
                  <a:lnTo>
                    <a:pt x="58" y="95"/>
                  </a:lnTo>
                  <a:lnTo>
                    <a:pt x="58" y="93"/>
                  </a:lnTo>
                  <a:lnTo>
                    <a:pt x="60" y="93"/>
                  </a:lnTo>
                  <a:lnTo>
                    <a:pt x="58" y="93"/>
                  </a:lnTo>
                  <a:lnTo>
                    <a:pt x="60" y="93"/>
                  </a:lnTo>
                  <a:lnTo>
                    <a:pt x="60" y="91"/>
                  </a:lnTo>
                  <a:lnTo>
                    <a:pt x="58" y="91"/>
                  </a:lnTo>
                  <a:lnTo>
                    <a:pt x="58" y="93"/>
                  </a:lnTo>
                  <a:lnTo>
                    <a:pt x="58" y="91"/>
                  </a:lnTo>
                  <a:lnTo>
                    <a:pt x="58" y="88"/>
                  </a:lnTo>
                  <a:lnTo>
                    <a:pt x="56" y="88"/>
                  </a:lnTo>
                  <a:lnTo>
                    <a:pt x="56" y="91"/>
                  </a:lnTo>
                  <a:lnTo>
                    <a:pt x="58" y="91"/>
                  </a:lnTo>
                  <a:lnTo>
                    <a:pt x="56" y="91"/>
                  </a:lnTo>
                  <a:lnTo>
                    <a:pt x="56" y="93"/>
                  </a:lnTo>
                  <a:lnTo>
                    <a:pt x="53" y="93"/>
                  </a:lnTo>
                  <a:lnTo>
                    <a:pt x="53" y="95"/>
                  </a:lnTo>
                  <a:lnTo>
                    <a:pt x="56" y="95"/>
                  </a:lnTo>
                  <a:lnTo>
                    <a:pt x="56" y="98"/>
                  </a:lnTo>
                  <a:lnTo>
                    <a:pt x="56" y="100"/>
                  </a:lnTo>
                  <a:lnTo>
                    <a:pt x="56" y="102"/>
                  </a:lnTo>
                  <a:lnTo>
                    <a:pt x="53" y="102"/>
                  </a:lnTo>
                  <a:lnTo>
                    <a:pt x="56" y="105"/>
                  </a:lnTo>
                  <a:lnTo>
                    <a:pt x="56" y="107"/>
                  </a:lnTo>
                  <a:lnTo>
                    <a:pt x="53" y="107"/>
                  </a:lnTo>
                  <a:lnTo>
                    <a:pt x="53" y="109"/>
                  </a:lnTo>
                  <a:lnTo>
                    <a:pt x="53" y="112"/>
                  </a:lnTo>
                  <a:lnTo>
                    <a:pt x="53" y="109"/>
                  </a:lnTo>
                  <a:lnTo>
                    <a:pt x="53" y="107"/>
                  </a:lnTo>
                  <a:lnTo>
                    <a:pt x="51" y="109"/>
                  </a:lnTo>
                  <a:lnTo>
                    <a:pt x="51" y="112"/>
                  </a:lnTo>
                  <a:lnTo>
                    <a:pt x="51" y="109"/>
                  </a:lnTo>
                  <a:lnTo>
                    <a:pt x="49" y="109"/>
                  </a:lnTo>
                  <a:lnTo>
                    <a:pt x="51" y="109"/>
                  </a:lnTo>
                  <a:lnTo>
                    <a:pt x="49" y="109"/>
                  </a:lnTo>
                  <a:lnTo>
                    <a:pt x="49" y="107"/>
                  </a:lnTo>
                  <a:lnTo>
                    <a:pt x="49" y="109"/>
                  </a:lnTo>
                  <a:lnTo>
                    <a:pt x="49" y="112"/>
                  </a:lnTo>
                  <a:lnTo>
                    <a:pt x="49" y="114"/>
                  </a:lnTo>
                  <a:lnTo>
                    <a:pt x="49" y="116"/>
                  </a:lnTo>
                  <a:lnTo>
                    <a:pt x="49" y="114"/>
                  </a:lnTo>
                  <a:lnTo>
                    <a:pt x="46" y="114"/>
                  </a:lnTo>
                  <a:lnTo>
                    <a:pt x="46" y="116"/>
                  </a:lnTo>
                  <a:lnTo>
                    <a:pt x="46" y="114"/>
                  </a:lnTo>
                  <a:lnTo>
                    <a:pt x="46" y="112"/>
                  </a:lnTo>
                  <a:lnTo>
                    <a:pt x="46" y="109"/>
                  </a:lnTo>
                  <a:lnTo>
                    <a:pt x="46" y="112"/>
                  </a:lnTo>
                  <a:lnTo>
                    <a:pt x="46" y="114"/>
                  </a:lnTo>
                  <a:lnTo>
                    <a:pt x="46" y="116"/>
                  </a:lnTo>
                  <a:lnTo>
                    <a:pt x="44" y="116"/>
                  </a:lnTo>
                  <a:lnTo>
                    <a:pt x="44" y="114"/>
                  </a:lnTo>
                  <a:lnTo>
                    <a:pt x="44" y="112"/>
                  </a:lnTo>
                  <a:lnTo>
                    <a:pt x="44" y="109"/>
                  </a:lnTo>
                  <a:lnTo>
                    <a:pt x="44" y="112"/>
                  </a:lnTo>
                  <a:lnTo>
                    <a:pt x="42" y="114"/>
                  </a:lnTo>
                  <a:lnTo>
                    <a:pt x="42" y="116"/>
                  </a:lnTo>
                  <a:lnTo>
                    <a:pt x="44" y="116"/>
                  </a:lnTo>
                  <a:lnTo>
                    <a:pt x="44" y="118"/>
                  </a:lnTo>
                  <a:lnTo>
                    <a:pt x="42" y="118"/>
                  </a:lnTo>
                  <a:lnTo>
                    <a:pt x="42" y="116"/>
                  </a:lnTo>
                  <a:lnTo>
                    <a:pt x="42" y="114"/>
                  </a:lnTo>
                  <a:lnTo>
                    <a:pt x="39" y="114"/>
                  </a:lnTo>
                  <a:lnTo>
                    <a:pt x="39" y="112"/>
                  </a:lnTo>
                  <a:lnTo>
                    <a:pt x="39" y="109"/>
                  </a:lnTo>
                  <a:lnTo>
                    <a:pt x="39" y="112"/>
                  </a:lnTo>
                  <a:lnTo>
                    <a:pt x="39" y="114"/>
                  </a:lnTo>
                  <a:lnTo>
                    <a:pt x="42" y="116"/>
                  </a:lnTo>
                  <a:lnTo>
                    <a:pt x="42" y="118"/>
                  </a:lnTo>
                  <a:lnTo>
                    <a:pt x="42" y="121"/>
                  </a:lnTo>
                  <a:lnTo>
                    <a:pt x="42" y="118"/>
                  </a:lnTo>
                  <a:lnTo>
                    <a:pt x="39" y="118"/>
                  </a:lnTo>
                  <a:lnTo>
                    <a:pt x="39" y="116"/>
                  </a:lnTo>
                  <a:lnTo>
                    <a:pt x="39" y="118"/>
                  </a:lnTo>
                  <a:lnTo>
                    <a:pt x="39" y="121"/>
                  </a:lnTo>
                  <a:lnTo>
                    <a:pt x="39" y="118"/>
                  </a:lnTo>
                  <a:lnTo>
                    <a:pt x="37" y="118"/>
                  </a:lnTo>
                  <a:lnTo>
                    <a:pt x="37" y="121"/>
                  </a:lnTo>
                  <a:lnTo>
                    <a:pt x="39" y="121"/>
                  </a:lnTo>
                  <a:lnTo>
                    <a:pt x="37" y="121"/>
                  </a:lnTo>
                  <a:lnTo>
                    <a:pt x="37" y="118"/>
                  </a:lnTo>
                  <a:lnTo>
                    <a:pt x="35" y="118"/>
                  </a:lnTo>
                  <a:lnTo>
                    <a:pt x="35" y="121"/>
                  </a:lnTo>
                  <a:lnTo>
                    <a:pt x="35" y="123"/>
                  </a:lnTo>
                  <a:lnTo>
                    <a:pt x="33" y="123"/>
                  </a:lnTo>
                  <a:lnTo>
                    <a:pt x="33" y="125"/>
                  </a:lnTo>
                  <a:lnTo>
                    <a:pt x="35" y="125"/>
                  </a:lnTo>
                  <a:lnTo>
                    <a:pt x="33" y="125"/>
                  </a:lnTo>
                  <a:lnTo>
                    <a:pt x="35" y="125"/>
                  </a:lnTo>
                  <a:lnTo>
                    <a:pt x="35" y="128"/>
                  </a:lnTo>
                  <a:lnTo>
                    <a:pt x="35" y="130"/>
                  </a:lnTo>
                  <a:lnTo>
                    <a:pt x="33" y="130"/>
                  </a:lnTo>
                  <a:lnTo>
                    <a:pt x="33" y="132"/>
                  </a:lnTo>
                  <a:lnTo>
                    <a:pt x="35" y="132"/>
                  </a:lnTo>
                  <a:lnTo>
                    <a:pt x="33" y="132"/>
                  </a:lnTo>
                  <a:lnTo>
                    <a:pt x="33" y="135"/>
                  </a:lnTo>
                  <a:lnTo>
                    <a:pt x="33" y="137"/>
                  </a:lnTo>
                  <a:lnTo>
                    <a:pt x="30" y="137"/>
                  </a:lnTo>
                  <a:lnTo>
                    <a:pt x="30" y="139"/>
                  </a:lnTo>
                  <a:lnTo>
                    <a:pt x="30" y="142"/>
                  </a:lnTo>
                  <a:lnTo>
                    <a:pt x="30" y="144"/>
                  </a:lnTo>
                  <a:lnTo>
                    <a:pt x="30" y="146"/>
                  </a:lnTo>
                  <a:lnTo>
                    <a:pt x="28" y="146"/>
                  </a:lnTo>
                  <a:lnTo>
                    <a:pt x="28" y="144"/>
                  </a:lnTo>
                  <a:lnTo>
                    <a:pt x="28" y="146"/>
                  </a:lnTo>
                  <a:lnTo>
                    <a:pt x="26" y="144"/>
                  </a:lnTo>
                  <a:lnTo>
                    <a:pt x="26" y="142"/>
                  </a:lnTo>
                  <a:lnTo>
                    <a:pt x="23" y="142"/>
                  </a:lnTo>
                  <a:lnTo>
                    <a:pt x="21" y="139"/>
                  </a:lnTo>
                  <a:lnTo>
                    <a:pt x="19" y="137"/>
                  </a:lnTo>
                  <a:lnTo>
                    <a:pt x="19" y="135"/>
                  </a:lnTo>
                  <a:lnTo>
                    <a:pt x="19" y="132"/>
                  </a:lnTo>
                  <a:lnTo>
                    <a:pt x="19" y="130"/>
                  </a:lnTo>
                  <a:lnTo>
                    <a:pt x="16" y="130"/>
                  </a:lnTo>
                  <a:lnTo>
                    <a:pt x="16" y="128"/>
                  </a:lnTo>
                  <a:lnTo>
                    <a:pt x="16" y="125"/>
                  </a:lnTo>
                  <a:lnTo>
                    <a:pt x="16" y="123"/>
                  </a:lnTo>
                  <a:lnTo>
                    <a:pt x="14" y="123"/>
                  </a:lnTo>
                  <a:lnTo>
                    <a:pt x="14" y="121"/>
                  </a:lnTo>
                  <a:lnTo>
                    <a:pt x="14" y="118"/>
                  </a:lnTo>
                  <a:lnTo>
                    <a:pt x="12" y="116"/>
                  </a:lnTo>
                  <a:lnTo>
                    <a:pt x="12" y="114"/>
                  </a:lnTo>
                  <a:lnTo>
                    <a:pt x="12" y="112"/>
                  </a:lnTo>
                  <a:lnTo>
                    <a:pt x="9" y="109"/>
                  </a:lnTo>
                  <a:lnTo>
                    <a:pt x="9" y="107"/>
                  </a:lnTo>
                  <a:lnTo>
                    <a:pt x="9" y="105"/>
                  </a:lnTo>
                  <a:lnTo>
                    <a:pt x="9" y="102"/>
                  </a:lnTo>
                  <a:lnTo>
                    <a:pt x="7" y="102"/>
                  </a:lnTo>
                  <a:lnTo>
                    <a:pt x="7" y="100"/>
                  </a:lnTo>
                  <a:lnTo>
                    <a:pt x="7" y="98"/>
                  </a:lnTo>
                  <a:lnTo>
                    <a:pt x="5" y="95"/>
                  </a:lnTo>
                  <a:lnTo>
                    <a:pt x="5" y="93"/>
                  </a:lnTo>
                  <a:lnTo>
                    <a:pt x="5" y="91"/>
                  </a:lnTo>
                  <a:lnTo>
                    <a:pt x="2" y="88"/>
                  </a:lnTo>
                  <a:lnTo>
                    <a:pt x="2" y="86"/>
                  </a:lnTo>
                  <a:lnTo>
                    <a:pt x="2" y="84"/>
                  </a:lnTo>
                  <a:lnTo>
                    <a:pt x="0" y="81"/>
                  </a:lnTo>
                  <a:lnTo>
                    <a:pt x="0" y="79"/>
                  </a:lnTo>
                  <a:lnTo>
                    <a:pt x="2" y="79"/>
                  </a:lnTo>
                  <a:lnTo>
                    <a:pt x="5" y="81"/>
                  </a:lnTo>
                  <a:lnTo>
                    <a:pt x="5" y="79"/>
                  </a:lnTo>
                  <a:lnTo>
                    <a:pt x="5" y="77"/>
                  </a:lnTo>
                  <a:lnTo>
                    <a:pt x="5" y="74"/>
                  </a:lnTo>
                  <a:lnTo>
                    <a:pt x="7" y="74"/>
                  </a:lnTo>
                  <a:lnTo>
                    <a:pt x="7" y="77"/>
                  </a:lnTo>
                  <a:lnTo>
                    <a:pt x="9" y="74"/>
                  </a:lnTo>
                  <a:lnTo>
                    <a:pt x="7" y="74"/>
                  </a:lnTo>
                  <a:lnTo>
                    <a:pt x="7" y="72"/>
                  </a:lnTo>
                  <a:lnTo>
                    <a:pt x="7" y="70"/>
                  </a:lnTo>
                  <a:lnTo>
                    <a:pt x="7" y="67"/>
                  </a:lnTo>
                  <a:lnTo>
                    <a:pt x="9" y="65"/>
                  </a:lnTo>
                  <a:lnTo>
                    <a:pt x="12" y="63"/>
                  </a:lnTo>
                  <a:lnTo>
                    <a:pt x="9" y="63"/>
                  </a:lnTo>
                  <a:lnTo>
                    <a:pt x="9" y="60"/>
                  </a:lnTo>
                  <a:lnTo>
                    <a:pt x="12" y="58"/>
                  </a:lnTo>
                  <a:lnTo>
                    <a:pt x="12" y="56"/>
                  </a:lnTo>
                  <a:lnTo>
                    <a:pt x="9" y="53"/>
                  </a:lnTo>
                  <a:lnTo>
                    <a:pt x="9" y="51"/>
                  </a:lnTo>
                  <a:lnTo>
                    <a:pt x="12" y="51"/>
                  </a:lnTo>
                  <a:lnTo>
                    <a:pt x="12" y="49"/>
                  </a:lnTo>
                  <a:lnTo>
                    <a:pt x="9" y="49"/>
                  </a:lnTo>
                  <a:lnTo>
                    <a:pt x="9" y="46"/>
                  </a:lnTo>
                  <a:lnTo>
                    <a:pt x="9" y="44"/>
                  </a:lnTo>
                  <a:lnTo>
                    <a:pt x="9" y="42"/>
                  </a:lnTo>
                  <a:lnTo>
                    <a:pt x="12" y="39"/>
                  </a:lnTo>
                  <a:lnTo>
                    <a:pt x="12" y="37"/>
                  </a:lnTo>
                  <a:lnTo>
                    <a:pt x="12" y="35"/>
                  </a:lnTo>
                  <a:lnTo>
                    <a:pt x="9" y="32"/>
                  </a:lnTo>
                  <a:lnTo>
                    <a:pt x="9" y="30"/>
                  </a:lnTo>
                  <a:lnTo>
                    <a:pt x="12" y="30"/>
                  </a:lnTo>
                  <a:lnTo>
                    <a:pt x="12" y="28"/>
                  </a:lnTo>
                  <a:lnTo>
                    <a:pt x="12" y="23"/>
                  </a:lnTo>
                  <a:lnTo>
                    <a:pt x="14" y="21"/>
                  </a:lnTo>
                  <a:lnTo>
                    <a:pt x="14" y="16"/>
                  </a:lnTo>
                  <a:lnTo>
                    <a:pt x="16" y="14"/>
                  </a:lnTo>
                  <a:lnTo>
                    <a:pt x="16" y="9"/>
                  </a:lnTo>
                  <a:lnTo>
                    <a:pt x="19" y="7"/>
                  </a:lnTo>
                  <a:lnTo>
                    <a:pt x="19" y="4"/>
                  </a:lnTo>
                  <a:lnTo>
                    <a:pt x="19" y="2"/>
                  </a:lnTo>
                  <a:lnTo>
                    <a:pt x="23" y="2"/>
                  </a:lnTo>
                  <a:lnTo>
                    <a:pt x="23" y="4"/>
                  </a:lnTo>
                  <a:lnTo>
                    <a:pt x="23" y="7"/>
                  </a:lnTo>
                  <a:lnTo>
                    <a:pt x="26" y="7"/>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817">
              <a:extLst>
                <a:ext uri="{FF2B5EF4-FFF2-40B4-BE49-F238E27FC236}">
                  <a16:creationId xmlns:a16="http://schemas.microsoft.com/office/drawing/2014/main" id="{9DF1E597-D6DA-4195-9735-01E653F58F0B}"/>
                </a:ext>
              </a:extLst>
            </p:cNvPr>
            <p:cNvSpPr>
              <a:spLocks noEditPoints="1"/>
            </p:cNvSpPr>
            <p:nvPr/>
          </p:nvSpPr>
          <p:spPr bwMode="auto">
            <a:xfrm>
              <a:off x="6758781" y="4264026"/>
              <a:ext cx="307975" cy="322263"/>
            </a:xfrm>
            <a:custGeom>
              <a:avLst/>
              <a:gdLst>
                <a:gd name="T0" fmla="*/ 103 w 194"/>
                <a:gd name="T1" fmla="*/ 93 h 203"/>
                <a:gd name="T2" fmla="*/ 112 w 194"/>
                <a:gd name="T3" fmla="*/ 77 h 203"/>
                <a:gd name="T4" fmla="*/ 128 w 194"/>
                <a:gd name="T5" fmla="*/ 68 h 203"/>
                <a:gd name="T6" fmla="*/ 147 w 194"/>
                <a:gd name="T7" fmla="*/ 75 h 203"/>
                <a:gd name="T8" fmla="*/ 163 w 194"/>
                <a:gd name="T9" fmla="*/ 84 h 203"/>
                <a:gd name="T10" fmla="*/ 166 w 194"/>
                <a:gd name="T11" fmla="*/ 96 h 203"/>
                <a:gd name="T12" fmla="*/ 161 w 194"/>
                <a:gd name="T13" fmla="*/ 117 h 203"/>
                <a:gd name="T14" fmla="*/ 156 w 194"/>
                <a:gd name="T15" fmla="*/ 133 h 203"/>
                <a:gd name="T16" fmla="*/ 168 w 194"/>
                <a:gd name="T17" fmla="*/ 124 h 203"/>
                <a:gd name="T18" fmla="*/ 177 w 194"/>
                <a:gd name="T19" fmla="*/ 117 h 203"/>
                <a:gd name="T20" fmla="*/ 194 w 194"/>
                <a:gd name="T21" fmla="*/ 147 h 203"/>
                <a:gd name="T22" fmla="*/ 189 w 194"/>
                <a:gd name="T23" fmla="*/ 161 h 203"/>
                <a:gd name="T24" fmla="*/ 180 w 194"/>
                <a:gd name="T25" fmla="*/ 175 h 203"/>
                <a:gd name="T26" fmla="*/ 175 w 194"/>
                <a:gd name="T27" fmla="*/ 189 h 203"/>
                <a:gd name="T28" fmla="*/ 159 w 194"/>
                <a:gd name="T29" fmla="*/ 196 h 203"/>
                <a:gd name="T30" fmla="*/ 140 w 194"/>
                <a:gd name="T31" fmla="*/ 196 h 203"/>
                <a:gd name="T32" fmla="*/ 119 w 194"/>
                <a:gd name="T33" fmla="*/ 198 h 203"/>
                <a:gd name="T34" fmla="*/ 98 w 194"/>
                <a:gd name="T35" fmla="*/ 200 h 203"/>
                <a:gd name="T36" fmla="*/ 105 w 194"/>
                <a:gd name="T37" fmla="*/ 180 h 203"/>
                <a:gd name="T38" fmla="*/ 100 w 194"/>
                <a:gd name="T39" fmla="*/ 154 h 203"/>
                <a:gd name="T40" fmla="*/ 96 w 194"/>
                <a:gd name="T41" fmla="*/ 128 h 203"/>
                <a:gd name="T42" fmla="*/ 98 w 194"/>
                <a:gd name="T43" fmla="*/ 112 h 203"/>
                <a:gd name="T44" fmla="*/ 107 w 194"/>
                <a:gd name="T45" fmla="*/ 96 h 203"/>
                <a:gd name="T46" fmla="*/ 110 w 194"/>
                <a:gd name="T47" fmla="*/ 96 h 203"/>
                <a:gd name="T48" fmla="*/ 114 w 194"/>
                <a:gd name="T49" fmla="*/ 98 h 203"/>
                <a:gd name="T50" fmla="*/ 114 w 194"/>
                <a:gd name="T51" fmla="*/ 89 h 203"/>
                <a:gd name="T52" fmla="*/ 121 w 194"/>
                <a:gd name="T53" fmla="*/ 79 h 203"/>
                <a:gd name="T54" fmla="*/ 128 w 194"/>
                <a:gd name="T55" fmla="*/ 68 h 203"/>
                <a:gd name="T56" fmla="*/ 135 w 194"/>
                <a:gd name="T57" fmla="*/ 68 h 203"/>
                <a:gd name="T58" fmla="*/ 135 w 194"/>
                <a:gd name="T59" fmla="*/ 61 h 203"/>
                <a:gd name="T60" fmla="*/ 147 w 194"/>
                <a:gd name="T61" fmla="*/ 61 h 203"/>
                <a:gd name="T62" fmla="*/ 140 w 194"/>
                <a:gd name="T63" fmla="*/ 52 h 203"/>
                <a:gd name="T64" fmla="*/ 138 w 194"/>
                <a:gd name="T65" fmla="*/ 47 h 203"/>
                <a:gd name="T66" fmla="*/ 42 w 194"/>
                <a:gd name="T67" fmla="*/ 40 h 203"/>
                <a:gd name="T68" fmla="*/ 49 w 194"/>
                <a:gd name="T69" fmla="*/ 40 h 203"/>
                <a:gd name="T70" fmla="*/ 56 w 194"/>
                <a:gd name="T71" fmla="*/ 42 h 203"/>
                <a:gd name="T72" fmla="*/ 73 w 194"/>
                <a:gd name="T73" fmla="*/ 52 h 203"/>
                <a:gd name="T74" fmla="*/ 84 w 194"/>
                <a:gd name="T75" fmla="*/ 52 h 203"/>
                <a:gd name="T76" fmla="*/ 98 w 194"/>
                <a:gd name="T77" fmla="*/ 42 h 203"/>
                <a:gd name="T78" fmla="*/ 119 w 194"/>
                <a:gd name="T79" fmla="*/ 47 h 203"/>
                <a:gd name="T80" fmla="*/ 138 w 194"/>
                <a:gd name="T81" fmla="*/ 49 h 203"/>
                <a:gd name="T82" fmla="*/ 138 w 194"/>
                <a:gd name="T83" fmla="*/ 61 h 203"/>
                <a:gd name="T84" fmla="*/ 124 w 194"/>
                <a:gd name="T85" fmla="*/ 63 h 203"/>
                <a:gd name="T86" fmla="*/ 107 w 194"/>
                <a:gd name="T87" fmla="*/ 65 h 203"/>
                <a:gd name="T88" fmla="*/ 86 w 194"/>
                <a:gd name="T89" fmla="*/ 75 h 203"/>
                <a:gd name="T90" fmla="*/ 86 w 194"/>
                <a:gd name="T91" fmla="*/ 70 h 203"/>
                <a:gd name="T92" fmla="*/ 77 w 194"/>
                <a:gd name="T93" fmla="*/ 70 h 203"/>
                <a:gd name="T94" fmla="*/ 70 w 194"/>
                <a:gd name="T95" fmla="*/ 86 h 203"/>
                <a:gd name="T96" fmla="*/ 66 w 194"/>
                <a:gd name="T97" fmla="*/ 89 h 203"/>
                <a:gd name="T98" fmla="*/ 61 w 194"/>
                <a:gd name="T99" fmla="*/ 84 h 203"/>
                <a:gd name="T100" fmla="*/ 54 w 194"/>
                <a:gd name="T101" fmla="*/ 75 h 203"/>
                <a:gd name="T102" fmla="*/ 35 w 194"/>
                <a:gd name="T103" fmla="*/ 70 h 203"/>
                <a:gd name="T104" fmla="*/ 17 w 194"/>
                <a:gd name="T105" fmla="*/ 65 h 203"/>
                <a:gd name="T106" fmla="*/ 3 w 194"/>
                <a:gd name="T107" fmla="*/ 56 h 203"/>
                <a:gd name="T108" fmla="*/ 26 w 194"/>
                <a:gd name="T109" fmla="*/ 40 h 203"/>
                <a:gd name="T110" fmla="*/ 38 w 194"/>
                <a:gd name="T111" fmla="*/ 35 h 203"/>
                <a:gd name="T112" fmla="*/ 49 w 194"/>
                <a:gd name="T113" fmla="*/ 26 h 203"/>
                <a:gd name="T114" fmla="*/ 45 w 194"/>
                <a:gd name="T115" fmla="*/ 38 h 203"/>
                <a:gd name="T116" fmla="*/ 40 w 194"/>
                <a:gd name="T117" fmla="*/ 35 h 203"/>
                <a:gd name="T118" fmla="*/ 45 w 194"/>
                <a:gd name="T119" fmla="*/ 24 h 203"/>
                <a:gd name="T120" fmla="*/ 35 w 194"/>
                <a:gd name="T121" fmla="*/ 5 h 203"/>
                <a:gd name="T122" fmla="*/ 26 w 194"/>
                <a:gd name="T123" fmla="*/ 10 h 203"/>
                <a:gd name="T124" fmla="*/ 38 w 194"/>
                <a:gd name="T1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203">
                  <a:moveTo>
                    <a:pt x="180" y="180"/>
                  </a:moveTo>
                  <a:lnTo>
                    <a:pt x="180" y="177"/>
                  </a:lnTo>
                  <a:lnTo>
                    <a:pt x="180" y="180"/>
                  </a:lnTo>
                  <a:close/>
                  <a:moveTo>
                    <a:pt x="100" y="98"/>
                  </a:moveTo>
                  <a:lnTo>
                    <a:pt x="100" y="96"/>
                  </a:lnTo>
                  <a:lnTo>
                    <a:pt x="100" y="98"/>
                  </a:lnTo>
                  <a:close/>
                  <a:moveTo>
                    <a:pt x="103" y="93"/>
                  </a:moveTo>
                  <a:lnTo>
                    <a:pt x="103" y="96"/>
                  </a:lnTo>
                  <a:lnTo>
                    <a:pt x="103" y="93"/>
                  </a:lnTo>
                  <a:lnTo>
                    <a:pt x="100" y="93"/>
                  </a:lnTo>
                  <a:lnTo>
                    <a:pt x="100" y="91"/>
                  </a:lnTo>
                  <a:lnTo>
                    <a:pt x="103" y="91"/>
                  </a:lnTo>
                  <a:lnTo>
                    <a:pt x="103" y="93"/>
                  </a:lnTo>
                  <a:close/>
                  <a:moveTo>
                    <a:pt x="105" y="84"/>
                  </a:moveTo>
                  <a:lnTo>
                    <a:pt x="103" y="82"/>
                  </a:lnTo>
                  <a:lnTo>
                    <a:pt x="105" y="82"/>
                  </a:lnTo>
                  <a:lnTo>
                    <a:pt x="105" y="84"/>
                  </a:lnTo>
                  <a:close/>
                  <a:moveTo>
                    <a:pt x="112" y="77"/>
                  </a:moveTo>
                  <a:lnTo>
                    <a:pt x="110" y="77"/>
                  </a:lnTo>
                  <a:lnTo>
                    <a:pt x="110" y="75"/>
                  </a:lnTo>
                  <a:lnTo>
                    <a:pt x="110" y="72"/>
                  </a:lnTo>
                  <a:lnTo>
                    <a:pt x="110" y="70"/>
                  </a:lnTo>
                  <a:lnTo>
                    <a:pt x="110" y="72"/>
                  </a:lnTo>
                  <a:lnTo>
                    <a:pt x="112" y="72"/>
                  </a:lnTo>
                  <a:lnTo>
                    <a:pt x="112" y="75"/>
                  </a:lnTo>
                  <a:lnTo>
                    <a:pt x="112" y="77"/>
                  </a:lnTo>
                  <a:close/>
                  <a:moveTo>
                    <a:pt x="128" y="68"/>
                  </a:moveTo>
                  <a:lnTo>
                    <a:pt x="131" y="70"/>
                  </a:lnTo>
                  <a:lnTo>
                    <a:pt x="133" y="72"/>
                  </a:lnTo>
                  <a:lnTo>
                    <a:pt x="135" y="72"/>
                  </a:lnTo>
                  <a:lnTo>
                    <a:pt x="138" y="70"/>
                  </a:lnTo>
                  <a:lnTo>
                    <a:pt x="140" y="70"/>
                  </a:lnTo>
                  <a:lnTo>
                    <a:pt x="140" y="72"/>
                  </a:lnTo>
                  <a:lnTo>
                    <a:pt x="142" y="72"/>
                  </a:lnTo>
                  <a:lnTo>
                    <a:pt x="142" y="75"/>
                  </a:lnTo>
                  <a:lnTo>
                    <a:pt x="147" y="75"/>
                  </a:lnTo>
                  <a:lnTo>
                    <a:pt x="149" y="77"/>
                  </a:lnTo>
                  <a:lnTo>
                    <a:pt x="152" y="77"/>
                  </a:lnTo>
                  <a:lnTo>
                    <a:pt x="154" y="77"/>
                  </a:lnTo>
                  <a:lnTo>
                    <a:pt x="154" y="79"/>
                  </a:lnTo>
                  <a:lnTo>
                    <a:pt x="156" y="79"/>
                  </a:lnTo>
                  <a:lnTo>
                    <a:pt x="159" y="79"/>
                  </a:lnTo>
                  <a:lnTo>
                    <a:pt x="161" y="82"/>
                  </a:lnTo>
                  <a:lnTo>
                    <a:pt x="161" y="84"/>
                  </a:lnTo>
                  <a:lnTo>
                    <a:pt x="163" y="84"/>
                  </a:lnTo>
                  <a:lnTo>
                    <a:pt x="163" y="86"/>
                  </a:lnTo>
                  <a:lnTo>
                    <a:pt x="163" y="89"/>
                  </a:lnTo>
                  <a:lnTo>
                    <a:pt x="161" y="86"/>
                  </a:lnTo>
                  <a:lnTo>
                    <a:pt x="161" y="89"/>
                  </a:lnTo>
                  <a:lnTo>
                    <a:pt x="161" y="91"/>
                  </a:lnTo>
                  <a:lnTo>
                    <a:pt x="163" y="91"/>
                  </a:lnTo>
                  <a:lnTo>
                    <a:pt x="163" y="93"/>
                  </a:lnTo>
                  <a:lnTo>
                    <a:pt x="163" y="96"/>
                  </a:lnTo>
                  <a:lnTo>
                    <a:pt x="166" y="96"/>
                  </a:lnTo>
                  <a:lnTo>
                    <a:pt x="166" y="98"/>
                  </a:lnTo>
                  <a:lnTo>
                    <a:pt x="166" y="100"/>
                  </a:lnTo>
                  <a:lnTo>
                    <a:pt x="166" y="107"/>
                  </a:lnTo>
                  <a:lnTo>
                    <a:pt x="166" y="110"/>
                  </a:lnTo>
                  <a:lnTo>
                    <a:pt x="166" y="112"/>
                  </a:lnTo>
                  <a:lnTo>
                    <a:pt x="163" y="112"/>
                  </a:lnTo>
                  <a:lnTo>
                    <a:pt x="161" y="112"/>
                  </a:lnTo>
                  <a:lnTo>
                    <a:pt x="161" y="114"/>
                  </a:lnTo>
                  <a:lnTo>
                    <a:pt x="161" y="117"/>
                  </a:lnTo>
                  <a:lnTo>
                    <a:pt x="161" y="119"/>
                  </a:lnTo>
                  <a:lnTo>
                    <a:pt x="159" y="121"/>
                  </a:lnTo>
                  <a:lnTo>
                    <a:pt x="156" y="121"/>
                  </a:lnTo>
                  <a:lnTo>
                    <a:pt x="156" y="124"/>
                  </a:lnTo>
                  <a:lnTo>
                    <a:pt x="154" y="124"/>
                  </a:lnTo>
                  <a:lnTo>
                    <a:pt x="154" y="126"/>
                  </a:lnTo>
                  <a:lnTo>
                    <a:pt x="154" y="128"/>
                  </a:lnTo>
                  <a:lnTo>
                    <a:pt x="154" y="131"/>
                  </a:lnTo>
                  <a:lnTo>
                    <a:pt x="156" y="133"/>
                  </a:lnTo>
                  <a:lnTo>
                    <a:pt x="159" y="133"/>
                  </a:lnTo>
                  <a:lnTo>
                    <a:pt x="161" y="135"/>
                  </a:lnTo>
                  <a:lnTo>
                    <a:pt x="163" y="133"/>
                  </a:lnTo>
                  <a:lnTo>
                    <a:pt x="163" y="131"/>
                  </a:lnTo>
                  <a:lnTo>
                    <a:pt x="166" y="131"/>
                  </a:lnTo>
                  <a:lnTo>
                    <a:pt x="166" y="128"/>
                  </a:lnTo>
                  <a:lnTo>
                    <a:pt x="166" y="126"/>
                  </a:lnTo>
                  <a:lnTo>
                    <a:pt x="168" y="126"/>
                  </a:lnTo>
                  <a:lnTo>
                    <a:pt x="168" y="124"/>
                  </a:lnTo>
                  <a:lnTo>
                    <a:pt x="166" y="124"/>
                  </a:lnTo>
                  <a:lnTo>
                    <a:pt x="168" y="124"/>
                  </a:lnTo>
                  <a:lnTo>
                    <a:pt x="168" y="121"/>
                  </a:lnTo>
                  <a:lnTo>
                    <a:pt x="170" y="121"/>
                  </a:lnTo>
                  <a:lnTo>
                    <a:pt x="173" y="121"/>
                  </a:lnTo>
                  <a:lnTo>
                    <a:pt x="173" y="119"/>
                  </a:lnTo>
                  <a:lnTo>
                    <a:pt x="175" y="119"/>
                  </a:lnTo>
                  <a:lnTo>
                    <a:pt x="175" y="117"/>
                  </a:lnTo>
                  <a:lnTo>
                    <a:pt x="177" y="117"/>
                  </a:lnTo>
                  <a:lnTo>
                    <a:pt x="180" y="119"/>
                  </a:lnTo>
                  <a:lnTo>
                    <a:pt x="182" y="119"/>
                  </a:lnTo>
                  <a:lnTo>
                    <a:pt x="182" y="121"/>
                  </a:lnTo>
                  <a:lnTo>
                    <a:pt x="184" y="124"/>
                  </a:lnTo>
                  <a:lnTo>
                    <a:pt x="187" y="133"/>
                  </a:lnTo>
                  <a:lnTo>
                    <a:pt x="189" y="135"/>
                  </a:lnTo>
                  <a:lnTo>
                    <a:pt x="189" y="140"/>
                  </a:lnTo>
                  <a:lnTo>
                    <a:pt x="191" y="147"/>
                  </a:lnTo>
                  <a:lnTo>
                    <a:pt x="194" y="147"/>
                  </a:lnTo>
                  <a:lnTo>
                    <a:pt x="194" y="149"/>
                  </a:lnTo>
                  <a:lnTo>
                    <a:pt x="194" y="152"/>
                  </a:lnTo>
                  <a:lnTo>
                    <a:pt x="194" y="154"/>
                  </a:lnTo>
                  <a:lnTo>
                    <a:pt x="194" y="156"/>
                  </a:lnTo>
                  <a:lnTo>
                    <a:pt x="194" y="159"/>
                  </a:lnTo>
                  <a:lnTo>
                    <a:pt x="194" y="161"/>
                  </a:lnTo>
                  <a:lnTo>
                    <a:pt x="191" y="163"/>
                  </a:lnTo>
                  <a:lnTo>
                    <a:pt x="191" y="161"/>
                  </a:lnTo>
                  <a:lnTo>
                    <a:pt x="189" y="161"/>
                  </a:lnTo>
                  <a:lnTo>
                    <a:pt x="189" y="159"/>
                  </a:lnTo>
                  <a:lnTo>
                    <a:pt x="187" y="161"/>
                  </a:lnTo>
                  <a:lnTo>
                    <a:pt x="187" y="163"/>
                  </a:lnTo>
                  <a:lnTo>
                    <a:pt x="184" y="166"/>
                  </a:lnTo>
                  <a:lnTo>
                    <a:pt x="184" y="168"/>
                  </a:lnTo>
                  <a:lnTo>
                    <a:pt x="184" y="170"/>
                  </a:lnTo>
                  <a:lnTo>
                    <a:pt x="184" y="173"/>
                  </a:lnTo>
                  <a:lnTo>
                    <a:pt x="182" y="173"/>
                  </a:lnTo>
                  <a:lnTo>
                    <a:pt x="180" y="175"/>
                  </a:lnTo>
                  <a:lnTo>
                    <a:pt x="180" y="180"/>
                  </a:lnTo>
                  <a:lnTo>
                    <a:pt x="180" y="182"/>
                  </a:lnTo>
                  <a:lnTo>
                    <a:pt x="180" y="184"/>
                  </a:lnTo>
                  <a:lnTo>
                    <a:pt x="177" y="184"/>
                  </a:lnTo>
                  <a:lnTo>
                    <a:pt x="180" y="184"/>
                  </a:lnTo>
                  <a:lnTo>
                    <a:pt x="180" y="187"/>
                  </a:lnTo>
                  <a:lnTo>
                    <a:pt x="177" y="187"/>
                  </a:lnTo>
                  <a:lnTo>
                    <a:pt x="177" y="189"/>
                  </a:lnTo>
                  <a:lnTo>
                    <a:pt x="175" y="189"/>
                  </a:lnTo>
                  <a:lnTo>
                    <a:pt x="175" y="191"/>
                  </a:lnTo>
                  <a:lnTo>
                    <a:pt x="175" y="194"/>
                  </a:lnTo>
                  <a:lnTo>
                    <a:pt x="173" y="194"/>
                  </a:lnTo>
                  <a:lnTo>
                    <a:pt x="170" y="194"/>
                  </a:lnTo>
                  <a:lnTo>
                    <a:pt x="168" y="194"/>
                  </a:lnTo>
                  <a:lnTo>
                    <a:pt x="166" y="196"/>
                  </a:lnTo>
                  <a:lnTo>
                    <a:pt x="163" y="196"/>
                  </a:lnTo>
                  <a:lnTo>
                    <a:pt x="161" y="196"/>
                  </a:lnTo>
                  <a:lnTo>
                    <a:pt x="159" y="196"/>
                  </a:lnTo>
                  <a:lnTo>
                    <a:pt x="156" y="196"/>
                  </a:lnTo>
                  <a:lnTo>
                    <a:pt x="154" y="196"/>
                  </a:lnTo>
                  <a:lnTo>
                    <a:pt x="152" y="198"/>
                  </a:lnTo>
                  <a:lnTo>
                    <a:pt x="149" y="198"/>
                  </a:lnTo>
                  <a:lnTo>
                    <a:pt x="147" y="198"/>
                  </a:lnTo>
                  <a:lnTo>
                    <a:pt x="145" y="198"/>
                  </a:lnTo>
                  <a:lnTo>
                    <a:pt x="142" y="198"/>
                  </a:lnTo>
                  <a:lnTo>
                    <a:pt x="142" y="196"/>
                  </a:lnTo>
                  <a:lnTo>
                    <a:pt x="140" y="196"/>
                  </a:lnTo>
                  <a:lnTo>
                    <a:pt x="138" y="198"/>
                  </a:lnTo>
                  <a:lnTo>
                    <a:pt x="135" y="198"/>
                  </a:lnTo>
                  <a:lnTo>
                    <a:pt x="133" y="198"/>
                  </a:lnTo>
                  <a:lnTo>
                    <a:pt x="131" y="198"/>
                  </a:lnTo>
                  <a:lnTo>
                    <a:pt x="128" y="198"/>
                  </a:lnTo>
                  <a:lnTo>
                    <a:pt x="126" y="198"/>
                  </a:lnTo>
                  <a:lnTo>
                    <a:pt x="124" y="198"/>
                  </a:lnTo>
                  <a:lnTo>
                    <a:pt x="121" y="198"/>
                  </a:lnTo>
                  <a:lnTo>
                    <a:pt x="119" y="198"/>
                  </a:lnTo>
                  <a:lnTo>
                    <a:pt x="117" y="200"/>
                  </a:lnTo>
                  <a:lnTo>
                    <a:pt x="114" y="200"/>
                  </a:lnTo>
                  <a:lnTo>
                    <a:pt x="112" y="200"/>
                  </a:lnTo>
                  <a:lnTo>
                    <a:pt x="110" y="200"/>
                  </a:lnTo>
                  <a:lnTo>
                    <a:pt x="107" y="200"/>
                  </a:lnTo>
                  <a:lnTo>
                    <a:pt x="105" y="200"/>
                  </a:lnTo>
                  <a:lnTo>
                    <a:pt x="103" y="200"/>
                  </a:lnTo>
                  <a:lnTo>
                    <a:pt x="100" y="200"/>
                  </a:lnTo>
                  <a:lnTo>
                    <a:pt x="98" y="200"/>
                  </a:lnTo>
                  <a:lnTo>
                    <a:pt x="98" y="203"/>
                  </a:lnTo>
                  <a:lnTo>
                    <a:pt x="96" y="203"/>
                  </a:lnTo>
                  <a:lnTo>
                    <a:pt x="96" y="200"/>
                  </a:lnTo>
                  <a:lnTo>
                    <a:pt x="98" y="200"/>
                  </a:lnTo>
                  <a:lnTo>
                    <a:pt x="98" y="198"/>
                  </a:lnTo>
                  <a:lnTo>
                    <a:pt x="100" y="196"/>
                  </a:lnTo>
                  <a:lnTo>
                    <a:pt x="103" y="189"/>
                  </a:lnTo>
                  <a:lnTo>
                    <a:pt x="105" y="184"/>
                  </a:lnTo>
                  <a:lnTo>
                    <a:pt x="105" y="180"/>
                  </a:lnTo>
                  <a:lnTo>
                    <a:pt x="105" y="177"/>
                  </a:lnTo>
                  <a:lnTo>
                    <a:pt x="105" y="170"/>
                  </a:lnTo>
                  <a:lnTo>
                    <a:pt x="105" y="163"/>
                  </a:lnTo>
                  <a:lnTo>
                    <a:pt x="105" y="161"/>
                  </a:lnTo>
                  <a:lnTo>
                    <a:pt x="103" y="159"/>
                  </a:lnTo>
                  <a:lnTo>
                    <a:pt x="103" y="154"/>
                  </a:lnTo>
                  <a:lnTo>
                    <a:pt x="103" y="152"/>
                  </a:lnTo>
                  <a:lnTo>
                    <a:pt x="103" y="154"/>
                  </a:lnTo>
                  <a:lnTo>
                    <a:pt x="100" y="154"/>
                  </a:lnTo>
                  <a:lnTo>
                    <a:pt x="96" y="145"/>
                  </a:lnTo>
                  <a:lnTo>
                    <a:pt x="96" y="142"/>
                  </a:lnTo>
                  <a:lnTo>
                    <a:pt x="96" y="140"/>
                  </a:lnTo>
                  <a:lnTo>
                    <a:pt x="96" y="138"/>
                  </a:lnTo>
                  <a:lnTo>
                    <a:pt x="98" y="138"/>
                  </a:lnTo>
                  <a:lnTo>
                    <a:pt x="98" y="135"/>
                  </a:lnTo>
                  <a:lnTo>
                    <a:pt x="96" y="133"/>
                  </a:lnTo>
                  <a:lnTo>
                    <a:pt x="96" y="131"/>
                  </a:lnTo>
                  <a:lnTo>
                    <a:pt x="96" y="128"/>
                  </a:lnTo>
                  <a:lnTo>
                    <a:pt x="93" y="128"/>
                  </a:lnTo>
                  <a:lnTo>
                    <a:pt x="96" y="126"/>
                  </a:lnTo>
                  <a:lnTo>
                    <a:pt x="96" y="124"/>
                  </a:lnTo>
                  <a:lnTo>
                    <a:pt x="98" y="124"/>
                  </a:lnTo>
                  <a:lnTo>
                    <a:pt x="98" y="121"/>
                  </a:lnTo>
                  <a:lnTo>
                    <a:pt x="98" y="119"/>
                  </a:lnTo>
                  <a:lnTo>
                    <a:pt x="98" y="117"/>
                  </a:lnTo>
                  <a:lnTo>
                    <a:pt x="98" y="114"/>
                  </a:lnTo>
                  <a:lnTo>
                    <a:pt x="98" y="112"/>
                  </a:lnTo>
                  <a:lnTo>
                    <a:pt x="98" y="110"/>
                  </a:lnTo>
                  <a:lnTo>
                    <a:pt x="98" y="107"/>
                  </a:lnTo>
                  <a:lnTo>
                    <a:pt x="100" y="105"/>
                  </a:lnTo>
                  <a:lnTo>
                    <a:pt x="103" y="105"/>
                  </a:lnTo>
                  <a:lnTo>
                    <a:pt x="100" y="100"/>
                  </a:lnTo>
                  <a:lnTo>
                    <a:pt x="103" y="100"/>
                  </a:lnTo>
                  <a:lnTo>
                    <a:pt x="105" y="98"/>
                  </a:lnTo>
                  <a:lnTo>
                    <a:pt x="107" y="98"/>
                  </a:lnTo>
                  <a:lnTo>
                    <a:pt x="107" y="96"/>
                  </a:lnTo>
                  <a:lnTo>
                    <a:pt x="107" y="93"/>
                  </a:lnTo>
                  <a:lnTo>
                    <a:pt x="110" y="93"/>
                  </a:lnTo>
                  <a:lnTo>
                    <a:pt x="110" y="91"/>
                  </a:lnTo>
                  <a:lnTo>
                    <a:pt x="110" y="89"/>
                  </a:lnTo>
                  <a:lnTo>
                    <a:pt x="112" y="89"/>
                  </a:lnTo>
                  <a:lnTo>
                    <a:pt x="112" y="91"/>
                  </a:lnTo>
                  <a:lnTo>
                    <a:pt x="112" y="93"/>
                  </a:lnTo>
                  <a:lnTo>
                    <a:pt x="112" y="96"/>
                  </a:lnTo>
                  <a:lnTo>
                    <a:pt x="110" y="96"/>
                  </a:lnTo>
                  <a:lnTo>
                    <a:pt x="112" y="96"/>
                  </a:lnTo>
                  <a:lnTo>
                    <a:pt x="112" y="98"/>
                  </a:lnTo>
                  <a:lnTo>
                    <a:pt x="112" y="100"/>
                  </a:lnTo>
                  <a:lnTo>
                    <a:pt x="112" y="103"/>
                  </a:lnTo>
                  <a:lnTo>
                    <a:pt x="112" y="100"/>
                  </a:lnTo>
                  <a:lnTo>
                    <a:pt x="114" y="100"/>
                  </a:lnTo>
                  <a:lnTo>
                    <a:pt x="114" y="98"/>
                  </a:lnTo>
                  <a:lnTo>
                    <a:pt x="112" y="98"/>
                  </a:lnTo>
                  <a:lnTo>
                    <a:pt x="114" y="98"/>
                  </a:lnTo>
                  <a:lnTo>
                    <a:pt x="114" y="96"/>
                  </a:lnTo>
                  <a:lnTo>
                    <a:pt x="114" y="98"/>
                  </a:lnTo>
                  <a:lnTo>
                    <a:pt x="114" y="100"/>
                  </a:lnTo>
                  <a:lnTo>
                    <a:pt x="114" y="103"/>
                  </a:lnTo>
                  <a:lnTo>
                    <a:pt x="114" y="100"/>
                  </a:lnTo>
                  <a:lnTo>
                    <a:pt x="117" y="98"/>
                  </a:lnTo>
                  <a:lnTo>
                    <a:pt x="117" y="96"/>
                  </a:lnTo>
                  <a:lnTo>
                    <a:pt x="117" y="91"/>
                  </a:lnTo>
                  <a:lnTo>
                    <a:pt x="114" y="89"/>
                  </a:lnTo>
                  <a:lnTo>
                    <a:pt x="114" y="86"/>
                  </a:lnTo>
                  <a:lnTo>
                    <a:pt x="117" y="86"/>
                  </a:lnTo>
                  <a:lnTo>
                    <a:pt x="119" y="82"/>
                  </a:lnTo>
                  <a:lnTo>
                    <a:pt x="121" y="82"/>
                  </a:lnTo>
                  <a:lnTo>
                    <a:pt x="124" y="82"/>
                  </a:lnTo>
                  <a:lnTo>
                    <a:pt x="126" y="82"/>
                  </a:lnTo>
                  <a:lnTo>
                    <a:pt x="126" y="79"/>
                  </a:lnTo>
                  <a:lnTo>
                    <a:pt x="124" y="79"/>
                  </a:lnTo>
                  <a:lnTo>
                    <a:pt x="121" y="79"/>
                  </a:lnTo>
                  <a:lnTo>
                    <a:pt x="121" y="77"/>
                  </a:lnTo>
                  <a:lnTo>
                    <a:pt x="121" y="75"/>
                  </a:lnTo>
                  <a:lnTo>
                    <a:pt x="124" y="72"/>
                  </a:lnTo>
                  <a:lnTo>
                    <a:pt x="124" y="70"/>
                  </a:lnTo>
                  <a:lnTo>
                    <a:pt x="121" y="70"/>
                  </a:lnTo>
                  <a:lnTo>
                    <a:pt x="124" y="70"/>
                  </a:lnTo>
                  <a:lnTo>
                    <a:pt x="126" y="70"/>
                  </a:lnTo>
                  <a:lnTo>
                    <a:pt x="126" y="68"/>
                  </a:lnTo>
                  <a:lnTo>
                    <a:pt x="128" y="68"/>
                  </a:lnTo>
                  <a:close/>
                  <a:moveTo>
                    <a:pt x="135" y="68"/>
                  </a:moveTo>
                  <a:lnTo>
                    <a:pt x="135" y="70"/>
                  </a:lnTo>
                  <a:lnTo>
                    <a:pt x="133" y="70"/>
                  </a:lnTo>
                  <a:lnTo>
                    <a:pt x="133" y="68"/>
                  </a:lnTo>
                  <a:lnTo>
                    <a:pt x="131" y="68"/>
                  </a:lnTo>
                  <a:lnTo>
                    <a:pt x="133" y="68"/>
                  </a:lnTo>
                  <a:lnTo>
                    <a:pt x="135" y="68"/>
                  </a:lnTo>
                  <a:lnTo>
                    <a:pt x="135" y="65"/>
                  </a:lnTo>
                  <a:lnTo>
                    <a:pt x="135" y="68"/>
                  </a:lnTo>
                  <a:close/>
                  <a:moveTo>
                    <a:pt x="112" y="70"/>
                  </a:moveTo>
                  <a:lnTo>
                    <a:pt x="110" y="70"/>
                  </a:lnTo>
                  <a:lnTo>
                    <a:pt x="112" y="70"/>
                  </a:lnTo>
                  <a:close/>
                  <a:moveTo>
                    <a:pt x="135" y="61"/>
                  </a:moveTo>
                  <a:lnTo>
                    <a:pt x="135" y="63"/>
                  </a:lnTo>
                  <a:lnTo>
                    <a:pt x="133" y="61"/>
                  </a:lnTo>
                  <a:lnTo>
                    <a:pt x="135" y="61"/>
                  </a:lnTo>
                  <a:lnTo>
                    <a:pt x="133" y="61"/>
                  </a:lnTo>
                  <a:lnTo>
                    <a:pt x="135" y="61"/>
                  </a:lnTo>
                  <a:close/>
                  <a:moveTo>
                    <a:pt x="152" y="56"/>
                  </a:moveTo>
                  <a:lnTo>
                    <a:pt x="154" y="56"/>
                  </a:lnTo>
                  <a:lnTo>
                    <a:pt x="154" y="58"/>
                  </a:lnTo>
                  <a:lnTo>
                    <a:pt x="154" y="61"/>
                  </a:lnTo>
                  <a:lnTo>
                    <a:pt x="152" y="61"/>
                  </a:lnTo>
                  <a:lnTo>
                    <a:pt x="149" y="61"/>
                  </a:lnTo>
                  <a:lnTo>
                    <a:pt x="147" y="61"/>
                  </a:lnTo>
                  <a:lnTo>
                    <a:pt x="147" y="58"/>
                  </a:lnTo>
                  <a:lnTo>
                    <a:pt x="147" y="61"/>
                  </a:lnTo>
                  <a:lnTo>
                    <a:pt x="147" y="58"/>
                  </a:lnTo>
                  <a:lnTo>
                    <a:pt x="149" y="58"/>
                  </a:lnTo>
                  <a:lnTo>
                    <a:pt x="149" y="56"/>
                  </a:lnTo>
                  <a:lnTo>
                    <a:pt x="152" y="56"/>
                  </a:lnTo>
                  <a:close/>
                  <a:moveTo>
                    <a:pt x="140" y="52"/>
                  </a:moveTo>
                  <a:lnTo>
                    <a:pt x="138" y="52"/>
                  </a:lnTo>
                  <a:lnTo>
                    <a:pt x="138" y="49"/>
                  </a:lnTo>
                  <a:lnTo>
                    <a:pt x="140" y="49"/>
                  </a:lnTo>
                  <a:lnTo>
                    <a:pt x="140" y="52"/>
                  </a:lnTo>
                  <a:close/>
                  <a:moveTo>
                    <a:pt x="140" y="49"/>
                  </a:moveTo>
                  <a:lnTo>
                    <a:pt x="138" y="49"/>
                  </a:lnTo>
                  <a:lnTo>
                    <a:pt x="138" y="47"/>
                  </a:lnTo>
                  <a:lnTo>
                    <a:pt x="135" y="47"/>
                  </a:lnTo>
                  <a:lnTo>
                    <a:pt x="135" y="45"/>
                  </a:lnTo>
                  <a:lnTo>
                    <a:pt x="135" y="42"/>
                  </a:lnTo>
                  <a:lnTo>
                    <a:pt x="138" y="42"/>
                  </a:lnTo>
                  <a:lnTo>
                    <a:pt x="138" y="45"/>
                  </a:lnTo>
                  <a:lnTo>
                    <a:pt x="138" y="47"/>
                  </a:lnTo>
                  <a:lnTo>
                    <a:pt x="140" y="49"/>
                  </a:lnTo>
                  <a:close/>
                  <a:moveTo>
                    <a:pt x="84" y="52"/>
                  </a:moveTo>
                  <a:lnTo>
                    <a:pt x="82" y="52"/>
                  </a:lnTo>
                  <a:lnTo>
                    <a:pt x="82" y="49"/>
                  </a:lnTo>
                  <a:lnTo>
                    <a:pt x="84" y="49"/>
                  </a:lnTo>
                  <a:lnTo>
                    <a:pt x="84" y="52"/>
                  </a:lnTo>
                  <a:close/>
                  <a:moveTo>
                    <a:pt x="40" y="38"/>
                  </a:moveTo>
                  <a:lnTo>
                    <a:pt x="42" y="38"/>
                  </a:lnTo>
                  <a:lnTo>
                    <a:pt x="42" y="40"/>
                  </a:lnTo>
                  <a:lnTo>
                    <a:pt x="42" y="42"/>
                  </a:lnTo>
                  <a:lnTo>
                    <a:pt x="42" y="45"/>
                  </a:lnTo>
                  <a:lnTo>
                    <a:pt x="42" y="47"/>
                  </a:lnTo>
                  <a:lnTo>
                    <a:pt x="42" y="45"/>
                  </a:lnTo>
                  <a:lnTo>
                    <a:pt x="45" y="45"/>
                  </a:lnTo>
                  <a:lnTo>
                    <a:pt x="45" y="42"/>
                  </a:lnTo>
                  <a:lnTo>
                    <a:pt x="47" y="42"/>
                  </a:lnTo>
                  <a:lnTo>
                    <a:pt x="47" y="40"/>
                  </a:lnTo>
                  <a:lnTo>
                    <a:pt x="49" y="40"/>
                  </a:lnTo>
                  <a:lnTo>
                    <a:pt x="47" y="40"/>
                  </a:lnTo>
                  <a:lnTo>
                    <a:pt x="47" y="42"/>
                  </a:lnTo>
                  <a:lnTo>
                    <a:pt x="47" y="45"/>
                  </a:lnTo>
                  <a:lnTo>
                    <a:pt x="47" y="42"/>
                  </a:lnTo>
                  <a:lnTo>
                    <a:pt x="49" y="40"/>
                  </a:lnTo>
                  <a:lnTo>
                    <a:pt x="52" y="40"/>
                  </a:lnTo>
                  <a:lnTo>
                    <a:pt x="54" y="40"/>
                  </a:lnTo>
                  <a:lnTo>
                    <a:pt x="56" y="40"/>
                  </a:lnTo>
                  <a:lnTo>
                    <a:pt x="56" y="42"/>
                  </a:lnTo>
                  <a:lnTo>
                    <a:pt x="59" y="42"/>
                  </a:lnTo>
                  <a:lnTo>
                    <a:pt x="61" y="42"/>
                  </a:lnTo>
                  <a:lnTo>
                    <a:pt x="61" y="45"/>
                  </a:lnTo>
                  <a:lnTo>
                    <a:pt x="63" y="47"/>
                  </a:lnTo>
                  <a:lnTo>
                    <a:pt x="66" y="49"/>
                  </a:lnTo>
                  <a:lnTo>
                    <a:pt x="66" y="52"/>
                  </a:lnTo>
                  <a:lnTo>
                    <a:pt x="68" y="52"/>
                  </a:lnTo>
                  <a:lnTo>
                    <a:pt x="70" y="52"/>
                  </a:lnTo>
                  <a:lnTo>
                    <a:pt x="73" y="52"/>
                  </a:lnTo>
                  <a:lnTo>
                    <a:pt x="75" y="52"/>
                  </a:lnTo>
                  <a:lnTo>
                    <a:pt x="75" y="49"/>
                  </a:lnTo>
                  <a:lnTo>
                    <a:pt x="75" y="52"/>
                  </a:lnTo>
                  <a:lnTo>
                    <a:pt x="77" y="52"/>
                  </a:lnTo>
                  <a:lnTo>
                    <a:pt x="77" y="54"/>
                  </a:lnTo>
                  <a:lnTo>
                    <a:pt x="79" y="54"/>
                  </a:lnTo>
                  <a:lnTo>
                    <a:pt x="79" y="52"/>
                  </a:lnTo>
                  <a:lnTo>
                    <a:pt x="82" y="52"/>
                  </a:lnTo>
                  <a:lnTo>
                    <a:pt x="84" y="52"/>
                  </a:lnTo>
                  <a:lnTo>
                    <a:pt x="84" y="54"/>
                  </a:lnTo>
                  <a:lnTo>
                    <a:pt x="84" y="52"/>
                  </a:lnTo>
                  <a:lnTo>
                    <a:pt x="84" y="49"/>
                  </a:lnTo>
                  <a:lnTo>
                    <a:pt x="86" y="49"/>
                  </a:lnTo>
                  <a:lnTo>
                    <a:pt x="89" y="47"/>
                  </a:lnTo>
                  <a:lnTo>
                    <a:pt x="91" y="47"/>
                  </a:lnTo>
                  <a:lnTo>
                    <a:pt x="93" y="45"/>
                  </a:lnTo>
                  <a:lnTo>
                    <a:pt x="96" y="45"/>
                  </a:lnTo>
                  <a:lnTo>
                    <a:pt x="98" y="42"/>
                  </a:lnTo>
                  <a:lnTo>
                    <a:pt x="100" y="42"/>
                  </a:lnTo>
                  <a:lnTo>
                    <a:pt x="107" y="42"/>
                  </a:lnTo>
                  <a:lnTo>
                    <a:pt x="112" y="40"/>
                  </a:lnTo>
                  <a:lnTo>
                    <a:pt x="114" y="38"/>
                  </a:lnTo>
                  <a:lnTo>
                    <a:pt x="117" y="38"/>
                  </a:lnTo>
                  <a:lnTo>
                    <a:pt x="119" y="38"/>
                  </a:lnTo>
                  <a:lnTo>
                    <a:pt x="119" y="40"/>
                  </a:lnTo>
                  <a:lnTo>
                    <a:pt x="119" y="45"/>
                  </a:lnTo>
                  <a:lnTo>
                    <a:pt x="119" y="47"/>
                  </a:lnTo>
                  <a:lnTo>
                    <a:pt x="121" y="47"/>
                  </a:lnTo>
                  <a:lnTo>
                    <a:pt x="124" y="47"/>
                  </a:lnTo>
                  <a:lnTo>
                    <a:pt x="126" y="47"/>
                  </a:lnTo>
                  <a:lnTo>
                    <a:pt x="128" y="47"/>
                  </a:lnTo>
                  <a:lnTo>
                    <a:pt x="131" y="47"/>
                  </a:lnTo>
                  <a:lnTo>
                    <a:pt x="133" y="45"/>
                  </a:lnTo>
                  <a:lnTo>
                    <a:pt x="135" y="45"/>
                  </a:lnTo>
                  <a:lnTo>
                    <a:pt x="135" y="47"/>
                  </a:lnTo>
                  <a:lnTo>
                    <a:pt x="138" y="49"/>
                  </a:lnTo>
                  <a:lnTo>
                    <a:pt x="138" y="52"/>
                  </a:lnTo>
                  <a:lnTo>
                    <a:pt x="138" y="54"/>
                  </a:lnTo>
                  <a:lnTo>
                    <a:pt x="140" y="54"/>
                  </a:lnTo>
                  <a:lnTo>
                    <a:pt x="142" y="56"/>
                  </a:lnTo>
                  <a:lnTo>
                    <a:pt x="142" y="58"/>
                  </a:lnTo>
                  <a:lnTo>
                    <a:pt x="145" y="58"/>
                  </a:lnTo>
                  <a:lnTo>
                    <a:pt x="145" y="61"/>
                  </a:lnTo>
                  <a:lnTo>
                    <a:pt x="142" y="61"/>
                  </a:lnTo>
                  <a:lnTo>
                    <a:pt x="138" y="61"/>
                  </a:lnTo>
                  <a:lnTo>
                    <a:pt x="135" y="61"/>
                  </a:lnTo>
                  <a:lnTo>
                    <a:pt x="133" y="61"/>
                  </a:lnTo>
                  <a:lnTo>
                    <a:pt x="131" y="61"/>
                  </a:lnTo>
                  <a:lnTo>
                    <a:pt x="128" y="61"/>
                  </a:lnTo>
                  <a:lnTo>
                    <a:pt x="128" y="63"/>
                  </a:lnTo>
                  <a:lnTo>
                    <a:pt x="128" y="65"/>
                  </a:lnTo>
                  <a:lnTo>
                    <a:pt x="126" y="65"/>
                  </a:lnTo>
                  <a:lnTo>
                    <a:pt x="124" y="65"/>
                  </a:lnTo>
                  <a:lnTo>
                    <a:pt x="124" y="63"/>
                  </a:lnTo>
                  <a:lnTo>
                    <a:pt x="121" y="63"/>
                  </a:lnTo>
                  <a:lnTo>
                    <a:pt x="121" y="61"/>
                  </a:lnTo>
                  <a:lnTo>
                    <a:pt x="119" y="61"/>
                  </a:lnTo>
                  <a:lnTo>
                    <a:pt x="117" y="61"/>
                  </a:lnTo>
                  <a:lnTo>
                    <a:pt x="114" y="61"/>
                  </a:lnTo>
                  <a:lnTo>
                    <a:pt x="112" y="61"/>
                  </a:lnTo>
                  <a:lnTo>
                    <a:pt x="110" y="61"/>
                  </a:lnTo>
                  <a:lnTo>
                    <a:pt x="107" y="63"/>
                  </a:lnTo>
                  <a:lnTo>
                    <a:pt x="107" y="65"/>
                  </a:lnTo>
                  <a:lnTo>
                    <a:pt x="103" y="65"/>
                  </a:lnTo>
                  <a:lnTo>
                    <a:pt x="100" y="65"/>
                  </a:lnTo>
                  <a:lnTo>
                    <a:pt x="100" y="68"/>
                  </a:lnTo>
                  <a:lnTo>
                    <a:pt x="98" y="65"/>
                  </a:lnTo>
                  <a:lnTo>
                    <a:pt x="93" y="68"/>
                  </a:lnTo>
                  <a:lnTo>
                    <a:pt x="91" y="70"/>
                  </a:lnTo>
                  <a:lnTo>
                    <a:pt x="91" y="72"/>
                  </a:lnTo>
                  <a:lnTo>
                    <a:pt x="89" y="75"/>
                  </a:lnTo>
                  <a:lnTo>
                    <a:pt x="86" y="75"/>
                  </a:lnTo>
                  <a:lnTo>
                    <a:pt x="86" y="77"/>
                  </a:lnTo>
                  <a:lnTo>
                    <a:pt x="86" y="79"/>
                  </a:lnTo>
                  <a:lnTo>
                    <a:pt x="84" y="79"/>
                  </a:lnTo>
                  <a:lnTo>
                    <a:pt x="84" y="77"/>
                  </a:lnTo>
                  <a:lnTo>
                    <a:pt x="86" y="77"/>
                  </a:lnTo>
                  <a:lnTo>
                    <a:pt x="86" y="75"/>
                  </a:lnTo>
                  <a:lnTo>
                    <a:pt x="86" y="72"/>
                  </a:lnTo>
                  <a:lnTo>
                    <a:pt x="89" y="70"/>
                  </a:lnTo>
                  <a:lnTo>
                    <a:pt x="86" y="70"/>
                  </a:lnTo>
                  <a:lnTo>
                    <a:pt x="84" y="72"/>
                  </a:lnTo>
                  <a:lnTo>
                    <a:pt x="82" y="72"/>
                  </a:lnTo>
                  <a:lnTo>
                    <a:pt x="82" y="75"/>
                  </a:lnTo>
                  <a:lnTo>
                    <a:pt x="82" y="77"/>
                  </a:lnTo>
                  <a:lnTo>
                    <a:pt x="79" y="77"/>
                  </a:lnTo>
                  <a:lnTo>
                    <a:pt x="77" y="77"/>
                  </a:lnTo>
                  <a:lnTo>
                    <a:pt x="77" y="75"/>
                  </a:lnTo>
                  <a:lnTo>
                    <a:pt x="77" y="72"/>
                  </a:lnTo>
                  <a:lnTo>
                    <a:pt x="77" y="70"/>
                  </a:lnTo>
                  <a:lnTo>
                    <a:pt x="77" y="72"/>
                  </a:lnTo>
                  <a:lnTo>
                    <a:pt x="77" y="75"/>
                  </a:lnTo>
                  <a:lnTo>
                    <a:pt x="77" y="77"/>
                  </a:lnTo>
                  <a:lnTo>
                    <a:pt x="75" y="77"/>
                  </a:lnTo>
                  <a:lnTo>
                    <a:pt x="75" y="79"/>
                  </a:lnTo>
                  <a:lnTo>
                    <a:pt x="73" y="82"/>
                  </a:lnTo>
                  <a:lnTo>
                    <a:pt x="73" y="84"/>
                  </a:lnTo>
                  <a:lnTo>
                    <a:pt x="73" y="86"/>
                  </a:lnTo>
                  <a:lnTo>
                    <a:pt x="70" y="86"/>
                  </a:lnTo>
                  <a:lnTo>
                    <a:pt x="68" y="96"/>
                  </a:lnTo>
                  <a:lnTo>
                    <a:pt x="66" y="96"/>
                  </a:lnTo>
                  <a:lnTo>
                    <a:pt x="66" y="98"/>
                  </a:lnTo>
                  <a:lnTo>
                    <a:pt x="66" y="96"/>
                  </a:lnTo>
                  <a:lnTo>
                    <a:pt x="63" y="96"/>
                  </a:lnTo>
                  <a:lnTo>
                    <a:pt x="63" y="93"/>
                  </a:lnTo>
                  <a:lnTo>
                    <a:pt x="63" y="91"/>
                  </a:lnTo>
                  <a:lnTo>
                    <a:pt x="66" y="91"/>
                  </a:lnTo>
                  <a:lnTo>
                    <a:pt x="66" y="89"/>
                  </a:lnTo>
                  <a:lnTo>
                    <a:pt x="63" y="89"/>
                  </a:lnTo>
                  <a:lnTo>
                    <a:pt x="61" y="89"/>
                  </a:lnTo>
                  <a:lnTo>
                    <a:pt x="61" y="91"/>
                  </a:lnTo>
                  <a:lnTo>
                    <a:pt x="61" y="89"/>
                  </a:lnTo>
                  <a:lnTo>
                    <a:pt x="61" y="91"/>
                  </a:lnTo>
                  <a:lnTo>
                    <a:pt x="59" y="89"/>
                  </a:lnTo>
                  <a:lnTo>
                    <a:pt x="59" y="86"/>
                  </a:lnTo>
                  <a:lnTo>
                    <a:pt x="61" y="86"/>
                  </a:lnTo>
                  <a:lnTo>
                    <a:pt x="61" y="84"/>
                  </a:lnTo>
                  <a:lnTo>
                    <a:pt x="61" y="82"/>
                  </a:lnTo>
                  <a:lnTo>
                    <a:pt x="61" y="79"/>
                  </a:lnTo>
                  <a:lnTo>
                    <a:pt x="59" y="79"/>
                  </a:lnTo>
                  <a:lnTo>
                    <a:pt x="59" y="77"/>
                  </a:lnTo>
                  <a:lnTo>
                    <a:pt x="56" y="77"/>
                  </a:lnTo>
                  <a:lnTo>
                    <a:pt x="54" y="77"/>
                  </a:lnTo>
                  <a:lnTo>
                    <a:pt x="52" y="77"/>
                  </a:lnTo>
                  <a:lnTo>
                    <a:pt x="52" y="75"/>
                  </a:lnTo>
                  <a:lnTo>
                    <a:pt x="54" y="75"/>
                  </a:lnTo>
                  <a:lnTo>
                    <a:pt x="52" y="72"/>
                  </a:lnTo>
                  <a:lnTo>
                    <a:pt x="49" y="72"/>
                  </a:lnTo>
                  <a:lnTo>
                    <a:pt x="47" y="72"/>
                  </a:lnTo>
                  <a:lnTo>
                    <a:pt x="47" y="70"/>
                  </a:lnTo>
                  <a:lnTo>
                    <a:pt x="45" y="70"/>
                  </a:lnTo>
                  <a:lnTo>
                    <a:pt x="42" y="70"/>
                  </a:lnTo>
                  <a:lnTo>
                    <a:pt x="40" y="70"/>
                  </a:lnTo>
                  <a:lnTo>
                    <a:pt x="38" y="70"/>
                  </a:lnTo>
                  <a:lnTo>
                    <a:pt x="35" y="70"/>
                  </a:lnTo>
                  <a:lnTo>
                    <a:pt x="33" y="68"/>
                  </a:lnTo>
                  <a:lnTo>
                    <a:pt x="31" y="68"/>
                  </a:lnTo>
                  <a:lnTo>
                    <a:pt x="28" y="68"/>
                  </a:lnTo>
                  <a:lnTo>
                    <a:pt x="26" y="68"/>
                  </a:lnTo>
                  <a:lnTo>
                    <a:pt x="26" y="65"/>
                  </a:lnTo>
                  <a:lnTo>
                    <a:pt x="24" y="65"/>
                  </a:lnTo>
                  <a:lnTo>
                    <a:pt x="21" y="65"/>
                  </a:lnTo>
                  <a:lnTo>
                    <a:pt x="19" y="65"/>
                  </a:lnTo>
                  <a:lnTo>
                    <a:pt x="17" y="65"/>
                  </a:lnTo>
                  <a:lnTo>
                    <a:pt x="14" y="63"/>
                  </a:lnTo>
                  <a:lnTo>
                    <a:pt x="12" y="63"/>
                  </a:lnTo>
                  <a:lnTo>
                    <a:pt x="10" y="63"/>
                  </a:lnTo>
                  <a:lnTo>
                    <a:pt x="7" y="63"/>
                  </a:lnTo>
                  <a:lnTo>
                    <a:pt x="7" y="61"/>
                  </a:lnTo>
                  <a:lnTo>
                    <a:pt x="5" y="61"/>
                  </a:lnTo>
                  <a:lnTo>
                    <a:pt x="5" y="58"/>
                  </a:lnTo>
                  <a:lnTo>
                    <a:pt x="3" y="58"/>
                  </a:lnTo>
                  <a:lnTo>
                    <a:pt x="3" y="56"/>
                  </a:lnTo>
                  <a:lnTo>
                    <a:pt x="0" y="56"/>
                  </a:lnTo>
                  <a:lnTo>
                    <a:pt x="0" y="54"/>
                  </a:lnTo>
                  <a:lnTo>
                    <a:pt x="3" y="54"/>
                  </a:lnTo>
                  <a:lnTo>
                    <a:pt x="7" y="52"/>
                  </a:lnTo>
                  <a:lnTo>
                    <a:pt x="12" y="47"/>
                  </a:lnTo>
                  <a:lnTo>
                    <a:pt x="21" y="45"/>
                  </a:lnTo>
                  <a:lnTo>
                    <a:pt x="24" y="45"/>
                  </a:lnTo>
                  <a:lnTo>
                    <a:pt x="26" y="42"/>
                  </a:lnTo>
                  <a:lnTo>
                    <a:pt x="26" y="40"/>
                  </a:lnTo>
                  <a:lnTo>
                    <a:pt x="28" y="40"/>
                  </a:lnTo>
                  <a:lnTo>
                    <a:pt x="31" y="40"/>
                  </a:lnTo>
                  <a:lnTo>
                    <a:pt x="31" y="38"/>
                  </a:lnTo>
                  <a:lnTo>
                    <a:pt x="33" y="38"/>
                  </a:lnTo>
                  <a:lnTo>
                    <a:pt x="33" y="35"/>
                  </a:lnTo>
                  <a:lnTo>
                    <a:pt x="35" y="33"/>
                  </a:lnTo>
                  <a:lnTo>
                    <a:pt x="38" y="31"/>
                  </a:lnTo>
                  <a:lnTo>
                    <a:pt x="38" y="33"/>
                  </a:lnTo>
                  <a:lnTo>
                    <a:pt x="38" y="35"/>
                  </a:lnTo>
                  <a:lnTo>
                    <a:pt x="40" y="35"/>
                  </a:lnTo>
                  <a:lnTo>
                    <a:pt x="40" y="38"/>
                  </a:lnTo>
                  <a:close/>
                  <a:moveTo>
                    <a:pt x="56" y="24"/>
                  </a:moveTo>
                  <a:lnTo>
                    <a:pt x="56" y="26"/>
                  </a:lnTo>
                  <a:lnTo>
                    <a:pt x="54" y="26"/>
                  </a:lnTo>
                  <a:lnTo>
                    <a:pt x="54" y="24"/>
                  </a:lnTo>
                  <a:lnTo>
                    <a:pt x="54" y="26"/>
                  </a:lnTo>
                  <a:lnTo>
                    <a:pt x="52" y="26"/>
                  </a:lnTo>
                  <a:lnTo>
                    <a:pt x="49" y="26"/>
                  </a:lnTo>
                  <a:lnTo>
                    <a:pt x="52" y="26"/>
                  </a:lnTo>
                  <a:lnTo>
                    <a:pt x="52" y="28"/>
                  </a:lnTo>
                  <a:lnTo>
                    <a:pt x="49" y="28"/>
                  </a:lnTo>
                  <a:lnTo>
                    <a:pt x="49" y="31"/>
                  </a:lnTo>
                  <a:lnTo>
                    <a:pt x="47" y="31"/>
                  </a:lnTo>
                  <a:lnTo>
                    <a:pt x="47" y="33"/>
                  </a:lnTo>
                  <a:lnTo>
                    <a:pt x="45" y="33"/>
                  </a:lnTo>
                  <a:lnTo>
                    <a:pt x="45" y="35"/>
                  </a:lnTo>
                  <a:lnTo>
                    <a:pt x="45" y="38"/>
                  </a:lnTo>
                  <a:lnTo>
                    <a:pt x="42" y="38"/>
                  </a:lnTo>
                  <a:lnTo>
                    <a:pt x="42" y="40"/>
                  </a:lnTo>
                  <a:lnTo>
                    <a:pt x="42" y="38"/>
                  </a:lnTo>
                  <a:lnTo>
                    <a:pt x="42" y="35"/>
                  </a:lnTo>
                  <a:lnTo>
                    <a:pt x="42" y="33"/>
                  </a:lnTo>
                  <a:lnTo>
                    <a:pt x="42" y="35"/>
                  </a:lnTo>
                  <a:lnTo>
                    <a:pt x="42" y="33"/>
                  </a:lnTo>
                  <a:lnTo>
                    <a:pt x="42" y="35"/>
                  </a:lnTo>
                  <a:lnTo>
                    <a:pt x="40" y="35"/>
                  </a:lnTo>
                  <a:lnTo>
                    <a:pt x="38" y="35"/>
                  </a:lnTo>
                  <a:lnTo>
                    <a:pt x="38" y="33"/>
                  </a:lnTo>
                  <a:lnTo>
                    <a:pt x="38" y="31"/>
                  </a:lnTo>
                  <a:lnTo>
                    <a:pt x="40" y="31"/>
                  </a:lnTo>
                  <a:lnTo>
                    <a:pt x="42" y="26"/>
                  </a:lnTo>
                  <a:lnTo>
                    <a:pt x="45" y="26"/>
                  </a:lnTo>
                  <a:lnTo>
                    <a:pt x="45" y="24"/>
                  </a:lnTo>
                  <a:lnTo>
                    <a:pt x="45" y="26"/>
                  </a:lnTo>
                  <a:lnTo>
                    <a:pt x="45" y="24"/>
                  </a:lnTo>
                  <a:lnTo>
                    <a:pt x="47" y="24"/>
                  </a:lnTo>
                  <a:lnTo>
                    <a:pt x="49" y="24"/>
                  </a:lnTo>
                  <a:lnTo>
                    <a:pt x="54" y="21"/>
                  </a:lnTo>
                  <a:lnTo>
                    <a:pt x="56" y="24"/>
                  </a:lnTo>
                  <a:close/>
                  <a:moveTo>
                    <a:pt x="38" y="3"/>
                  </a:moveTo>
                  <a:lnTo>
                    <a:pt x="38" y="0"/>
                  </a:lnTo>
                  <a:lnTo>
                    <a:pt x="38" y="3"/>
                  </a:lnTo>
                  <a:lnTo>
                    <a:pt x="35" y="3"/>
                  </a:lnTo>
                  <a:lnTo>
                    <a:pt x="35" y="5"/>
                  </a:lnTo>
                  <a:lnTo>
                    <a:pt x="35" y="7"/>
                  </a:lnTo>
                  <a:lnTo>
                    <a:pt x="28" y="10"/>
                  </a:lnTo>
                  <a:lnTo>
                    <a:pt x="28" y="12"/>
                  </a:lnTo>
                  <a:lnTo>
                    <a:pt x="31" y="12"/>
                  </a:lnTo>
                  <a:lnTo>
                    <a:pt x="28" y="12"/>
                  </a:lnTo>
                  <a:lnTo>
                    <a:pt x="26" y="14"/>
                  </a:lnTo>
                  <a:lnTo>
                    <a:pt x="24" y="14"/>
                  </a:lnTo>
                  <a:lnTo>
                    <a:pt x="24" y="12"/>
                  </a:lnTo>
                  <a:lnTo>
                    <a:pt x="26" y="10"/>
                  </a:lnTo>
                  <a:lnTo>
                    <a:pt x="28" y="7"/>
                  </a:lnTo>
                  <a:lnTo>
                    <a:pt x="31" y="7"/>
                  </a:lnTo>
                  <a:lnTo>
                    <a:pt x="31" y="5"/>
                  </a:lnTo>
                  <a:lnTo>
                    <a:pt x="33" y="5"/>
                  </a:lnTo>
                  <a:lnTo>
                    <a:pt x="33" y="3"/>
                  </a:lnTo>
                  <a:lnTo>
                    <a:pt x="33" y="5"/>
                  </a:lnTo>
                  <a:lnTo>
                    <a:pt x="35" y="3"/>
                  </a:lnTo>
                  <a:lnTo>
                    <a:pt x="38" y="3"/>
                  </a:lnTo>
                  <a:lnTo>
                    <a:pt x="38" y="0"/>
                  </a:lnTo>
                  <a:lnTo>
                    <a:pt x="38" y="3"/>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818">
              <a:extLst>
                <a:ext uri="{FF2B5EF4-FFF2-40B4-BE49-F238E27FC236}">
                  <a16:creationId xmlns:a16="http://schemas.microsoft.com/office/drawing/2014/main" id="{7E384256-F47E-45EE-994F-0C17BDAC8FEB}"/>
                </a:ext>
              </a:extLst>
            </p:cNvPr>
            <p:cNvSpPr>
              <a:spLocks noEditPoints="1"/>
            </p:cNvSpPr>
            <p:nvPr/>
          </p:nvSpPr>
          <p:spPr bwMode="auto">
            <a:xfrm>
              <a:off x="4573588" y="5194233"/>
              <a:ext cx="1485900" cy="1146175"/>
            </a:xfrm>
            <a:custGeom>
              <a:avLst/>
              <a:gdLst>
                <a:gd name="T0" fmla="*/ 93 w 936"/>
                <a:gd name="T1" fmla="*/ 252 h 722"/>
                <a:gd name="T2" fmla="*/ 124 w 936"/>
                <a:gd name="T3" fmla="*/ 270 h 722"/>
                <a:gd name="T4" fmla="*/ 228 w 936"/>
                <a:gd name="T5" fmla="*/ 347 h 722"/>
                <a:gd name="T6" fmla="*/ 263 w 936"/>
                <a:gd name="T7" fmla="*/ 361 h 722"/>
                <a:gd name="T8" fmla="*/ 298 w 936"/>
                <a:gd name="T9" fmla="*/ 361 h 722"/>
                <a:gd name="T10" fmla="*/ 317 w 936"/>
                <a:gd name="T11" fmla="*/ 373 h 722"/>
                <a:gd name="T12" fmla="*/ 817 w 936"/>
                <a:gd name="T13" fmla="*/ 701 h 722"/>
                <a:gd name="T14" fmla="*/ 387 w 936"/>
                <a:gd name="T15" fmla="*/ 408 h 722"/>
                <a:gd name="T16" fmla="*/ 426 w 936"/>
                <a:gd name="T17" fmla="*/ 410 h 722"/>
                <a:gd name="T18" fmla="*/ 852 w 936"/>
                <a:gd name="T19" fmla="*/ 685 h 722"/>
                <a:gd name="T20" fmla="*/ 833 w 936"/>
                <a:gd name="T21" fmla="*/ 664 h 722"/>
                <a:gd name="T22" fmla="*/ 826 w 936"/>
                <a:gd name="T23" fmla="*/ 699 h 722"/>
                <a:gd name="T24" fmla="*/ 847 w 936"/>
                <a:gd name="T25" fmla="*/ 664 h 722"/>
                <a:gd name="T26" fmla="*/ 819 w 936"/>
                <a:gd name="T27" fmla="*/ 652 h 722"/>
                <a:gd name="T28" fmla="*/ 838 w 936"/>
                <a:gd name="T29" fmla="*/ 648 h 722"/>
                <a:gd name="T30" fmla="*/ 817 w 936"/>
                <a:gd name="T31" fmla="*/ 608 h 722"/>
                <a:gd name="T32" fmla="*/ 545 w 936"/>
                <a:gd name="T33" fmla="*/ 424 h 722"/>
                <a:gd name="T34" fmla="*/ 526 w 936"/>
                <a:gd name="T35" fmla="*/ 443 h 722"/>
                <a:gd name="T36" fmla="*/ 533 w 936"/>
                <a:gd name="T37" fmla="*/ 424 h 722"/>
                <a:gd name="T38" fmla="*/ 815 w 936"/>
                <a:gd name="T39" fmla="*/ 585 h 722"/>
                <a:gd name="T40" fmla="*/ 805 w 936"/>
                <a:gd name="T41" fmla="*/ 580 h 722"/>
                <a:gd name="T42" fmla="*/ 838 w 936"/>
                <a:gd name="T43" fmla="*/ 610 h 722"/>
                <a:gd name="T44" fmla="*/ 573 w 936"/>
                <a:gd name="T45" fmla="*/ 426 h 722"/>
                <a:gd name="T46" fmla="*/ 582 w 936"/>
                <a:gd name="T47" fmla="*/ 403 h 722"/>
                <a:gd name="T48" fmla="*/ 684 w 936"/>
                <a:gd name="T49" fmla="*/ 419 h 722"/>
                <a:gd name="T50" fmla="*/ 426 w 936"/>
                <a:gd name="T51" fmla="*/ 208 h 722"/>
                <a:gd name="T52" fmla="*/ 705 w 936"/>
                <a:gd name="T53" fmla="*/ 424 h 722"/>
                <a:gd name="T54" fmla="*/ 554 w 936"/>
                <a:gd name="T55" fmla="*/ 175 h 722"/>
                <a:gd name="T56" fmla="*/ 463 w 936"/>
                <a:gd name="T57" fmla="*/ 66 h 722"/>
                <a:gd name="T58" fmla="*/ 733 w 936"/>
                <a:gd name="T59" fmla="*/ 3 h 722"/>
                <a:gd name="T60" fmla="*/ 833 w 936"/>
                <a:gd name="T61" fmla="*/ 68 h 722"/>
                <a:gd name="T62" fmla="*/ 926 w 936"/>
                <a:gd name="T63" fmla="*/ 170 h 722"/>
                <a:gd name="T64" fmla="*/ 796 w 936"/>
                <a:gd name="T65" fmla="*/ 487 h 722"/>
                <a:gd name="T66" fmla="*/ 861 w 936"/>
                <a:gd name="T67" fmla="*/ 631 h 722"/>
                <a:gd name="T68" fmla="*/ 859 w 936"/>
                <a:gd name="T69" fmla="*/ 703 h 722"/>
                <a:gd name="T70" fmla="*/ 843 w 936"/>
                <a:gd name="T71" fmla="*/ 634 h 722"/>
                <a:gd name="T72" fmla="*/ 843 w 936"/>
                <a:gd name="T73" fmla="*/ 592 h 722"/>
                <a:gd name="T74" fmla="*/ 824 w 936"/>
                <a:gd name="T75" fmla="*/ 552 h 722"/>
                <a:gd name="T76" fmla="*/ 798 w 936"/>
                <a:gd name="T77" fmla="*/ 552 h 722"/>
                <a:gd name="T78" fmla="*/ 761 w 936"/>
                <a:gd name="T79" fmla="*/ 478 h 722"/>
                <a:gd name="T80" fmla="*/ 703 w 936"/>
                <a:gd name="T81" fmla="*/ 415 h 722"/>
                <a:gd name="T82" fmla="*/ 691 w 936"/>
                <a:gd name="T83" fmla="*/ 387 h 722"/>
                <a:gd name="T84" fmla="*/ 657 w 936"/>
                <a:gd name="T85" fmla="*/ 415 h 722"/>
                <a:gd name="T86" fmla="*/ 598 w 936"/>
                <a:gd name="T87" fmla="*/ 408 h 722"/>
                <a:gd name="T88" fmla="*/ 645 w 936"/>
                <a:gd name="T89" fmla="*/ 357 h 722"/>
                <a:gd name="T90" fmla="*/ 561 w 936"/>
                <a:gd name="T91" fmla="*/ 382 h 722"/>
                <a:gd name="T92" fmla="*/ 491 w 936"/>
                <a:gd name="T93" fmla="*/ 405 h 722"/>
                <a:gd name="T94" fmla="*/ 433 w 936"/>
                <a:gd name="T95" fmla="*/ 408 h 722"/>
                <a:gd name="T96" fmla="*/ 387 w 936"/>
                <a:gd name="T97" fmla="*/ 389 h 722"/>
                <a:gd name="T98" fmla="*/ 387 w 936"/>
                <a:gd name="T99" fmla="*/ 373 h 722"/>
                <a:gd name="T100" fmla="*/ 482 w 936"/>
                <a:gd name="T101" fmla="*/ 387 h 722"/>
                <a:gd name="T102" fmla="*/ 489 w 936"/>
                <a:gd name="T103" fmla="*/ 336 h 722"/>
                <a:gd name="T104" fmla="*/ 459 w 936"/>
                <a:gd name="T105" fmla="*/ 291 h 722"/>
                <a:gd name="T106" fmla="*/ 452 w 936"/>
                <a:gd name="T107" fmla="*/ 224 h 722"/>
                <a:gd name="T108" fmla="*/ 482 w 936"/>
                <a:gd name="T109" fmla="*/ 198 h 722"/>
                <a:gd name="T110" fmla="*/ 529 w 936"/>
                <a:gd name="T111" fmla="*/ 163 h 722"/>
                <a:gd name="T112" fmla="*/ 589 w 936"/>
                <a:gd name="T113" fmla="*/ 152 h 722"/>
                <a:gd name="T114" fmla="*/ 554 w 936"/>
                <a:gd name="T115" fmla="*/ 82 h 722"/>
                <a:gd name="T116" fmla="*/ 622 w 936"/>
                <a:gd name="T117" fmla="*/ 114 h 722"/>
                <a:gd name="T118" fmla="*/ 652 w 936"/>
                <a:gd name="T119" fmla="*/ 94 h 722"/>
                <a:gd name="T120" fmla="*/ 705 w 936"/>
                <a:gd name="T121" fmla="*/ 10 h 722"/>
                <a:gd name="T122" fmla="*/ 773 w 936"/>
                <a:gd name="T123" fmla="*/ 14 h 722"/>
                <a:gd name="T124" fmla="*/ 3 w 936"/>
                <a:gd name="T125" fmla="*/ 7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6" h="722">
                  <a:moveTo>
                    <a:pt x="51" y="219"/>
                  </a:moveTo>
                  <a:lnTo>
                    <a:pt x="49" y="219"/>
                  </a:lnTo>
                  <a:lnTo>
                    <a:pt x="51" y="219"/>
                  </a:lnTo>
                  <a:lnTo>
                    <a:pt x="51" y="217"/>
                  </a:lnTo>
                  <a:lnTo>
                    <a:pt x="51" y="219"/>
                  </a:lnTo>
                  <a:close/>
                  <a:moveTo>
                    <a:pt x="54" y="219"/>
                  </a:moveTo>
                  <a:lnTo>
                    <a:pt x="56" y="219"/>
                  </a:lnTo>
                  <a:lnTo>
                    <a:pt x="56" y="217"/>
                  </a:lnTo>
                  <a:lnTo>
                    <a:pt x="56" y="219"/>
                  </a:lnTo>
                  <a:lnTo>
                    <a:pt x="54" y="219"/>
                  </a:lnTo>
                  <a:close/>
                  <a:moveTo>
                    <a:pt x="68" y="215"/>
                  </a:moveTo>
                  <a:lnTo>
                    <a:pt x="68" y="212"/>
                  </a:lnTo>
                  <a:lnTo>
                    <a:pt x="70" y="212"/>
                  </a:lnTo>
                  <a:lnTo>
                    <a:pt x="70" y="215"/>
                  </a:lnTo>
                  <a:lnTo>
                    <a:pt x="68" y="215"/>
                  </a:lnTo>
                  <a:close/>
                  <a:moveTo>
                    <a:pt x="98" y="252"/>
                  </a:moveTo>
                  <a:lnTo>
                    <a:pt x="100" y="252"/>
                  </a:lnTo>
                  <a:lnTo>
                    <a:pt x="98" y="254"/>
                  </a:lnTo>
                  <a:lnTo>
                    <a:pt x="100" y="254"/>
                  </a:lnTo>
                  <a:lnTo>
                    <a:pt x="98" y="254"/>
                  </a:lnTo>
                  <a:lnTo>
                    <a:pt x="96" y="254"/>
                  </a:lnTo>
                  <a:lnTo>
                    <a:pt x="96" y="252"/>
                  </a:lnTo>
                  <a:lnTo>
                    <a:pt x="98" y="252"/>
                  </a:lnTo>
                  <a:lnTo>
                    <a:pt x="100" y="252"/>
                  </a:lnTo>
                  <a:lnTo>
                    <a:pt x="98" y="252"/>
                  </a:lnTo>
                  <a:close/>
                  <a:moveTo>
                    <a:pt x="103" y="256"/>
                  </a:moveTo>
                  <a:lnTo>
                    <a:pt x="103" y="259"/>
                  </a:lnTo>
                  <a:lnTo>
                    <a:pt x="103" y="256"/>
                  </a:lnTo>
                  <a:lnTo>
                    <a:pt x="100" y="256"/>
                  </a:lnTo>
                  <a:lnTo>
                    <a:pt x="103" y="256"/>
                  </a:lnTo>
                  <a:lnTo>
                    <a:pt x="100" y="256"/>
                  </a:lnTo>
                  <a:lnTo>
                    <a:pt x="100" y="254"/>
                  </a:lnTo>
                  <a:lnTo>
                    <a:pt x="103" y="254"/>
                  </a:lnTo>
                  <a:lnTo>
                    <a:pt x="103" y="256"/>
                  </a:lnTo>
                  <a:close/>
                  <a:moveTo>
                    <a:pt x="105" y="256"/>
                  </a:moveTo>
                  <a:lnTo>
                    <a:pt x="105" y="259"/>
                  </a:lnTo>
                  <a:lnTo>
                    <a:pt x="103" y="254"/>
                  </a:lnTo>
                  <a:lnTo>
                    <a:pt x="105" y="254"/>
                  </a:lnTo>
                  <a:lnTo>
                    <a:pt x="105" y="256"/>
                  </a:lnTo>
                  <a:close/>
                  <a:moveTo>
                    <a:pt x="82" y="229"/>
                  </a:moveTo>
                  <a:lnTo>
                    <a:pt x="82" y="231"/>
                  </a:lnTo>
                  <a:lnTo>
                    <a:pt x="84" y="231"/>
                  </a:lnTo>
                  <a:lnTo>
                    <a:pt x="82" y="231"/>
                  </a:lnTo>
                  <a:lnTo>
                    <a:pt x="82" y="229"/>
                  </a:lnTo>
                  <a:lnTo>
                    <a:pt x="79" y="231"/>
                  </a:lnTo>
                  <a:lnTo>
                    <a:pt x="77" y="231"/>
                  </a:lnTo>
                  <a:lnTo>
                    <a:pt x="75" y="231"/>
                  </a:lnTo>
                  <a:lnTo>
                    <a:pt x="75" y="229"/>
                  </a:lnTo>
                  <a:lnTo>
                    <a:pt x="75" y="226"/>
                  </a:lnTo>
                  <a:lnTo>
                    <a:pt x="75" y="229"/>
                  </a:lnTo>
                  <a:lnTo>
                    <a:pt x="77" y="229"/>
                  </a:lnTo>
                  <a:lnTo>
                    <a:pt x="77" y="226"/>
                  </a:lnTo>
                  <a:lnTo>
                    <a:pt x="77" y="224"/>
                  </a:lnTo>
                  <a:lnTo>
                    <a:pt x="77" y="222"/>
                  </a:lnTo>
                  <a:lnTo>
                    <a:pt x="79" y="222"/>
                  </a:lnTo>
                  <a:lnTo>
                    <a:pt x="82" y="224"/>
                  </a:lnTo>
                  <a:lnTo>
                    <a:pt x="82" y="226"/>
                  </a:lnTo>
                  <a:lnTo>
                    <a:pt x="82" y="229"/>
                  </a:lnTo>
                  <a:close/>
                  <a:moveTo>
                    <a:pt x="86" y="243"/>
                  </a:moveTo>
                  <a:lnTo>
                    <a:pt x="86" y="240"/>
                  </a:lnTo>
                  <a:lnTo>
                    <a:pt x="84" y="240"/>
                  </a:lnTo>
                  <a:lnTo>
                    <a:pt x="84" y="238"/>
                  </a:lnTo>
                  <a:lnTo>
                    <a:pt x="82" y="236"/>
                  </a:lnTo>
                  <a:lnTo>
                    <a:pt x="79" y="233"/>
                  </a:lnTo>
                  <a:lnTo>
                    <a:pt x="79" y="236"/>
                  </a:lnTo>
                  <a:lnTo>
                    <a:pt x="79" y="233"/>
                  </a:lnTo>
                  <a:lnTo>
                    <a:pt x="82" y="233"/>
                  </a:lnTo>
                  <a:lnTo>
                    <a:pt x="82" y="236"/>
                  </a:lnTo>
                  <a:lnTo>
                    <a:pt x="84" y="236"/>
                  </a:lnTo>
                  <a:lnTo>
                    <a:pt x="84" y="238"/>
                  </a:lnTo>
                  <a:lnTo>
                    <a:pt x="86" y="238"/>
                  </a:lnTo>
                  <a:lnTo>
                    <a:pt x="89" y="238"/>
                  </a:lnTo>
                  <a:lnTo>
                    <a:pt x="91" y="238"/>
                  </a:lnTo>
                  <a:lnTo>
                    <a:pt x="93" y="238"/>
                  </a:lnTo>
                  <a:lnTo>
                    <a:pt x="93" y="240"/>
                  </a:lnTo>
                  <a:lnTo>
                    <a:pt x="91" y="240"/>
                  </a:lnTo>
                  <a:lnTo>
                    <a:pt x="89" y="240"/>
                  </a:lnTo>
                  <a:lnTo>
                    <a:pt x="86" y="243"/>
                  </a:lnTo>
                  <a:close/>
                  <a:moveTo>
                    <a:pt x="110" y="259"/>
                  </a:moveTo>
                  <a:lnTo>
                    <a:pt x="110" y="261"/>
                  </a:lnTo>
                  <a:lnTo>
                    <a:pt x="112" y="261"/>
                  </a:lnTo>
                  <a:lnTo>
                    <a:pt x="110" y="261"/>
                  </a:lnTo>
                  <a:lnTo>
                    <a:pt x="110" y="259"/>
                  </a:lnTo>
                  <a:close/>
                  <a:moveTo>
                    <a:pt x="100" y="247"/>
                  </a:moveTo>
                  <a:lnTo>
                    <a:pt x="98" y="247"/>
                  </a:lnTo>
                  <a:lnTo>
                    <a:pt x="96" y="247"/>
                  </a:lnTo>
                  <a:lnTo>
                    <a:pt x="96" y="249"/>
                  </a:lnTo>
                  <a:lnTo>
                    <a:pt x="98" y="249"/>
                  </a:lnTo>
                  <a:lnTo>
                    <a:pt x="98" y="252"/>
                  </a:lnTo>
                  <a:lnTo>
                    <a:pt x="96" y="252"/>
                  </a:lnTo>
                  <a:lnTo>
                    <a:pt x="93" y="252"/>
                  </a:lnTo>
                  <a:lnTo>
                    <a:pt x="93" y="249"/>
                  </a:lnTo>
                  <a:lnTo>
                    <a:pt x="93" y="252"/>
                  </a:lnTo>
                  <a:lnTo>
                    <a:pt x="91" y="249"/>
                  </a:lnTo>
                  <a:lnTo>
                    <a:pt x="89" y="249"/>
                  </a:lnTo>
                  <a:lnTo>
                    <a:pt x="89" y="252"/>
                  </a:lnTo>
                  <a:lnTo>
                    <a:pt x="89" y="249"/>
                  </a:lnTo>
                  <a:lnTo>
                    <a:pt x="89" y="247"/>
                  </a:lnTo>
                  <a:lnTo>
                    <a:pt x="91" y="247"/>
                  </a:lnTo>
                  <a:lnTo>
                    <a:pt x="86" y="247"/>
                  </a:lnTo>
                  <a:lnTo>
                    <a:pt x="86" y="245"/>
                  </a:lnTo>
                  <a:lnTo>
                    <a:pt x="89" y="245"/>
                  </a:lnTo>
                  <a:lnTo>
                    <a:pt x="91" y="245"/>
                  </a:lnTo>
                  <a:lnTo>
                    <a:pt x="93" y="245"/>
                  </a:lnTo>
                  <a:lnTo>
                    <a:pt x="93" y="247"/>
                  </a:lnTo>
                  <a:lnTo>
                    <a:pt x="93" y="245"/>
                  </a:lnTo>
                  <a:lnTo>
                    <a:pt x="96" y="245"/>
                  </a:lnTo>
                  <a:lnTo>
                    <a:pt x="96" y="243"/>
                  </a:lnTo>
                  <a:lnTo>
                    <a:pt x="98" y="243"/>
                  </a:lnTo>
                  <a:lnTo>
                    <a:pt x="98" y="245"/>
                  </a:lnTo>
                  <a:lnTo>
                    <a:pt x="100" y="245"/>
                  </a:lnTo>
                  <a:lnTo>
                    <a:pt x="100" y="247"/>
                  </a:lnTo>
                  <a:close/>
                  <a:moveTo>
                    <a:pt x="110" y="256"/>
                  </a:moveTo>
                  <a:lnTo>
                    <a:pt x="110" y="259"/>
                  </a:lnTo>
                  <a:lnTo>
                    <a:pt x="107" y="256"/>
                  </a:lnTo>
                  <a:lnTo>
                    <a:pt x="110" y="256"/>
                  </a:lnTo>
                  <a:close/>
                  <a:moveTo>
                    <a:pt x="110" y="254"/>
                  </a:moveTo>
                  <a:lnTo>
                    <a:pt x="107" y="254"/>
                  </a:lnTo>
                  <a:lnTo>
                    <a:pt x="105" y="254"/>
                  </a:lnTo>
                  <a:lnTo>
                    <a:pt x="107" y="254"/>
                  </a:lnTo>
                  <a:lnTo>
                    <a:pt x="105" y="252"/>
                  </a:lnTo>
                  <a:lnTo>
                    <a:pt x="107" y="252"/>
                  </a:lnTo>
                  <a:lnTo>
                    <a:pt x="107" y="249"/>
                  </a:lnTo>
                  <a:lnTo>
                    <a:pt x="110" y="249"/>
                  </a:lnTo>
                  <a:lnTo>
                    <a:pt x="110" y="252"/>
                  </a:lnTo>
                  <a:lnTo>
                    <a:pt x="110" y="254"/>
                  </a:lnTo>
                  <a:close/>
                  <a:moveTo>
                    <a:pt x="142" y="289"/>
                  </a:moveTo>
                  <a:lnTo>
                    <a:pt x="142" y="291"/>
                  </a:lnTo>
                  <a:lnTo>
                    <a:pt x="142" y="294"/>
                  </a:lnTo>
                  <a:lnTo>
                    <a:pt x="145" y="294"/>
                  </a:lnTo>
                  <a:lnTo>
                    <a:pt x="145" y="296"/>
                  </a:lnTo>
                  <a:lnTo>
                    <a:pt x="147" y="296"/>
                  </a:lnTo>
                  <a:lnTo>
                    <a:pt x="147" y="298"/>
                  </a:lnTo>
                  <a:lnTo>
                    <a:pt x="147" y="301"/>
                  </a:lnTo>
                  <a:lnTo>
                    <a:pt x="147" y="298"/>
                  </a:lnTo>
                  <a:lnTo>
                    <a:pt x="145" y="298"/>
                  </a:lnTo>
                  <a:lnTo>
                    <a:pt x="145" y="296"/>
                  </a:lnTo>
                  <a:lnTo>
                    <a:pt x="142" y="296"/>
                  </a:lnTo>
                  <a:lnTo>
                    <a:pt x="140" y="294"/>
                  </a:lnTo>
                  <a:lnTo>
                    <a:pt x="140" y="291"/>
                  </a:lnTo>
                  <a:lnTo>
                    <a:pt x="138" y="289"/>
                  </a:lnTo>
                  <a:lnTo>
                    <a:pt x="135" y="287"/>
                  </a:lnTo>
                  <a:lnTo>
                    <a:pt x="135" y="284"/>
                  </a:lnTo>
                  <a:lnTo>
                    <a:pt x="135" y="282"/>
                  </a:lnTo>
                  <a:lnTo>
                    <a:pt x="135" y="284"/>
                  </a:lnTo>
                  <a:lnTo>
                    <a:pt x="138" y="284"/>
                  </a:lnTo>
                  <a:lnTo>
                    <a:pt x="138" y="287"/>
                  </a:lnTo>
                  <a:lnTo>
                    <a:pt x="140" y="287"/>
                  </a:lnTo>
                  <a:lnTo>
                    <a:pt x="140" y="289"/>
                  </a:lnTo>
                  <a:lnTo>
                    <a:pt x="142" y="289"/>
                  </a:lnTo>
                  <a:close/>
                  <a:moveTo>
                    <a:pt x="161" y="305"/>
                  </a:moveTo>
                  <a:lnTo>
                    <a:pt x="158" y="305"/>
                  </a:lnTo>
                  <a:lnTo>
                    <a:pt x="158" y="303"/>
                  </a:lnTo>
                  <a:lnTo>
                    <a:pt x="156" y="303"/>
                  </a:lnTo>
                  <a:lnTo>
                    <a:pt x="158" y="301"/>
                  </a:lnTo>
                  <a:lnTo>
                    <a:pt x="161" y="301"/>
                  </a:lnTo>
                  <a:lnTo>
                    <a:pt x="163" y="303"/>
                  </a:lnTo>
                  <a:lnTo>
                    <a:pt x="163" y="305"/>
                  </a:lnTo>
                  <a:lnTo>
                    <a:pt x="161" y="305"/>
                  </a:lnTo>
                  <a:close/>
                  <a:moveTo>
                    <a:pt x="142" y="275"/>
                  </a:moveTo>
                  <a:lnTo>
                    <a:pt x="142" y="277"/>
                  </a:lnTo>
                  <a:lnTo>
                    <a:pt x="142" y="280"/>
                  </a:lnTo>
                  <a:lnTo>
                    <a:pt x="140" y="280"/>
                  </a:lnTo>
                  <a:lnTo>
                    <a:pt x="138" y="280"/>
                  </a:lnTo>
                  <a:lnTo>
                    <a:pt x="135" y="280"/>
                  </a:lnTo>
                  <a:lnTo>
                    <a:pt x="135" y="282"/>
                  </a:lnTo>
                  <a:lnTo>
                    <a:pt x="133" y="282"/>
                  </a:lnTo>
                  <a:lnTo>
                    <a:pt x="133" y="280"/>
                  </a:lnTo>
                  <a:lnTo>
                    <a:pt x="133" y="282"/>
                  </a:lnTo>
                  <a:lnTo>
                    <a:pt x="133" y="280"/>
                  </a:lnTo>
                  <a:lnTo>
                    <a:pt x="131" y="280"/>
                  </a:lnTo>
                  <a:lnTo>
                    <a:pt x="131" y="277"/>
                  </a:lnTo>
                  <a:lnTo>
                    <a:pt x="128" y="280"/>
                  </a:lnTo>
                  <a:lnTo>
                    <a:pt x="128" y="277"/>
                  </a:lnTo>
                  <a:lnTo>
                    <a:pt x="128" y="275"/>
                  </a:lnTo>
                  <a:lnTo>
                    <a:pt x="128" y="277"/>
                  </a:lnTo>
                  <a:lnTo>
                    <a:pt x="126" y="275"/>
                  </a:lnTo>
                  <a:lnTo>
                    <a:pt x="126" y="277"/>
                  </a:lnTo>
                  <a:lnTo>
                    <a:pt x="126" y="275"/>
                  </a:lnTo>
                  <a:lnTo>
                    <a:pt x="124" y="275"/>
                  </a:lnTo>
                  <a:lnTo>
                    <a:pt x="124" y="273"/>
                  </a:lnTo>
                  <a:lnTo>
                    <a:pt x="124" y="270"/>
                  </a:lnTo>
                  <a:lnTo>
                    <a:pt x="121" y="270"/>
                  </a:lnTo>
                  <a:lnTo>
                    <a:pt x="119" y="270"/>
                  </a:lnTo>
                  <a:lnTo>
                    <a:pt x="117" y="266"/>
                  </a:lnTo>
                  <a:lnTo>
                    <a:pt x="119" y="266"/>
                  </a:lnTo>
                  <a:lnTo>
                    <a:pt x="119" y="268"/>
                  </a:lnTo>
                  <a:lnTo>
                    <a:pt x="121" y="268"/>
                  </a:lnTo>
                  <a:lnTo>
                    <a:pt x="121" y="270"/>
                  </a:lnTo>
                  <a:lnTo>
                    <a:pt x="121" y="268"/>
                  </a:lnTo>
                  <a:lnTo>
                    <a:pt x="121" y="270"/>
                  </a:lnTo>
                  <a:lnTo>
                    <a:pt x="124" y="270"/>
                  </a:lnTo>
                  <a:lnTo>
                    <a:pt x="126" y="270"/>
                  </a:lnTo>
                  <a:lnTo>
                    <a:pt x="126" y="273"/>
                  </a:lnTo>
                  <a:lnTo>
                    <a:pt x="124" y="273"/>
                  </a:lnTo>
                  <a:lnTo>
                    <a:pt x="126" y="273"/>
                  </a:lnTo>
                  <a:lnTo>
                    <a:pt x="128" y="275"/>
                  </a:lnTo>
                  <a:lnTo>
                    <a:pt x="131" y="275"/>
                  </a:lnTo>
                  <a:lnTo>
                    <a:pt x="131" y="273"/>
                  </a:lnTo>
                  <a:lnTo>
                    <a:pt x="131" y="275"/>
                  </a:lnTo>
                  <a:lnTo>
                    <a:pt x="133" y="275"/>
                  </a:lnTo>
                  <a:lnTo>
                    <a:pt x="133" y="277"/>
                  </a:lnTo>
                  <a:lnTo>
                    <a:pt x="135" y="277"/>
                  </a:lnTo>
                  <a:lnTo>
                    <a:pt x="138" y="277"/>
                  </a:lnTo>
                  <a:lnTo>
                    <a:pt x="135" y="277"/>
                  </a:lnTo>
                  <a:lnTo>
                    <a:pt x="135" y="275"/>
                  </a:lnTo>
                  <a:lnTo>
                    <a:pt x="135" y="273"/>
                  </a:lnTo>
                  <a:lnTo>
                    <a:pt x="138" y="275"/>
                  </a:lnTo>
                  <a:lnTo>
                    <a:pt x="138" y="273"/>
                  </a:lnTo>
                  <a:lnTo>
                    <a:pt x="138" y="275"/>
                  </a:lnTo>
                  <a:lnTo>
                    <a:pt x="140" y="273"/>
                  </a:lnTo>
                  <a:lnTo>
                    <a:pt x="140" y="275"/>
                  </a:lnTo>
                  <a:lnTo>
                    <a:pt x="142" y="275"/>
                  </a:lnTo>
                  <a:lnTo>
                    <a:pt x="140" y="275"/>
                  </a:lnTo>
                  <a:lnTo>
                    <a:pt x="142" y="275"/>
                  </a:lnTo>
                  <a:close/>
                  <a:moveTo>
                    <a:pt x="179" y="319"/>
                  </a:moveTo>
                  <a:lnTo>
                    <a:pt x="179" y="317"/>
                  </a:lnTo>
                  <a:lnTo>
                    <a:pt x="182" y="317"/>
                  </a:lnTo>
                  <a:lnTo>
                    <a:pt x="182" y="319"/>
                  </a:lnTo>
                  <a:lnTo>
                    <a:pt x="179" y="319"/>
                  </a:lnTo>
                  <a:close/>
                  <a:moveTo>
                    <a:pt x="191" y="326"/>
                  </a:moveTo>
                  <a:lnTo>
                    <a:pt x="189" y="324"/>
                  </a:lnTo>
                  <a:lnTo>
                    <a:pt x="186" y="324"/>
                  </a:lnTo>
                  <a:lnTo>
                    <a:pt x="186" y="322"/>
                  </a:lnTo>
                  <a:lnTo>
                    <a:pt x="189" y="322"/>
                  </a:lnTo>
                  <a:lnTo>
                    <a:pt x="191" y="322"/>
                  </a:lnTo>
                  <a:lnTo>
                    <a:pt x="193" y="322"/>
                  </a:lnTo>
                  <a:lnTo>
                    <a:pt x="193" y="324"/>
                  </a:lnTo>
                  <a:lnTo>
                    <a:pt x="193" y="326"/>
                  </a:lnTo>
                  <a:lnTo>
                    <a:pt x="191" y="326"/>
                  </a:lnTo>
                  <a:close/>
                  <a:moveTo>
                    <a:pt x="200" y="331"/>
                  </a:moveTo>
                  <a:lnTo>
                    <a:pt x="200" y="329"/>
                  </a:lnTo>
                  <a:lnTo>
                    <a:pt x="203" y="329"/>
                  </a:lnTo>
                  <a:lnTo>
                    <a:pt x="203" y="331"/>
                  </a:lnTo>
                  <a:lnTo>
                    <a:pt x="200" y="331"/>
                  </a:lnTo>
                  <a:close/>
                  <a:moveTo>
                    <a:pt x="210" y="331"/>
                  </a:moveTo>
                  <a:lnTo>
                    <a:pt x="210" y="333"/>
                  </a:lnTo>
                  <a:lnTo>
                    <a:pt x="207" y="333"/>
                  </a:lnTo>
                  <a:lnTo>
                    <a:pt x="207" y="336"/>
                  </a:lnTo>
                  <a:lnTo>
                    <a:pt x="207" y="333"/>
                  </a:lnTo>
                  <a:lnTo>
                    <a:pt x="205" y="331"/>
                  </a:lnTo>
                  <a:lnTo>
                    <a:pt x="205" y="329"/>
                  </a:lnTo>
                  <a:lnTo>
                    <a:pt x="205" y="331"/>
                  </a:lnTo>
                  <a:lnTo>
                    <a:pt x="207" y="331"/>
                  </a:lnTo>
                  <a:lnTo>
                    <a:pt x="210" y="331"/>
                  </a:lnTo>
                  <a:close/>
                  <a:moveTo>
                    <a:pt x="205" y="329"/>
                  </a:moveTo>
                  <a:lnTo>
                    <a:pt x="205" y="326"/>
                  </a:lnTo>
                  <a:lnTo>
                    <a:pt x="205" y="329"/>
                  </a:lnTo>
                  <a:lnTo>
                    <a:pt x="207" y="329"/>
                  </a:lnTo>
                  <a:lnTo>
                    <a:pt x="205" y="329"/>
                  </a:lnTo>
                  <a:close/>
                  <a:moveTo>
                    <a:pt x="212" y="331"/>
                  </a:moveTo>
                  <a:lnTo>
                    <a:pt x="210" y="331"/>
                  </a:lnTo>
                  <a:lnTo>
                    <a:pt x="212" y="331"/>
                  </a:lnTo>
                  <a:lnTo>
                    <a:pt x="212" y="329"/>
                  </a:lnTo>
                  <a:lnTo>
                    <a:pt x="214" y="329"/>
                  </a:lnTo>
                  <a:lnTo>
                    <a:pt x="214" y="331"/>
                  </a:lnTo>
                  <a:lnTo>
                    <a:pt x="212" y="331"/>
                  </a:lnTo>
                  <a:close/>
                  <a:moveTo>
                    <a:pt x="249" y="343"/>
                  </a:moveTo>
                  <a:lnTo>
                    <a:pt x="249" y="345"/>
                  </a:lnTo>
                  <a:lnTo>
                    <a:pt x="249" y="347"/>
                  </a:lnTo>
                  <a:lnTo>
                    <a:pt x="247" y="347"/>
                  </a:lnTo>
                  <a:lnTo>
                    <a:pt x="247" y="350"/>
                  </a:lnTo>
                  <a:lnTo>
                    <a:pt x="245" y="350"/>
                  </a:lnTo>
                  <a:lnTo>
                    <a:pt x="245" y="347"/>
                  </a:lnTo>
                  <a:lnTo>
                    <a:pt x="242" y="347"/>
                  </a:lnTo>
                  <a:lnTo>
                    <a:pt x="240" y="347"/>
                  </a:lnTo>
                  <a:lnTo>
                    <a:pt x="238" y="347"/>
                  </a:lnTo>
                  <a:lnTo>
                    <a:pt x="238" y="345"/>
                  </a:lnTo>
                  <a:lnTo>
                    <a:pt x="235" y="345"/>
                  </a:lnTo>
                  <a:lnTo>
                    <a:pt x="235" y="347"/>
                  </a:lnTo>
                  <a:lnTo>
                    <a:pt x="233" y="347"/>
                  </a:lnTo>
                  <a:lnTo>
                    <a:pt x="231" y="347"/>
                  </a:lnTo>
                  <a:lnTo>
                    <a:pt x="228" y="347"/>
                  </a:lnTo>
                  <a:lnTo>
                    <a:pt x="226" y="347"/>
                  </a:lnTo>
                  <a:lnTo>
                    <a:pt x="226" y="345"/>
                  </a:lnTo>
                  <a:lnTo>
                    <a:pt x="226" y="347"/>
                  </a:lnTo>
                  <a:lnTo>
                    <a:pt x="224" y="345"/>
                  </a:lnTo>
                  <a:lnTo>
                    <a:pt x="224" y="347"/>
                  </a:lnTo>
                  <a:lnTo>
                    <a:pt x="224" y="345"/>
                  </a:lnTo>
                  <a:lnTo>
                    <a:pt x="221" y="345"/>
                  </a:lnTo>
                  <a:lnTo>
                    <a:pt x="219" y="345"/>
                  </a:lnTo>
                  <a:lnTo>
                    <a:pt x="219" y="343"/>
                  </a:lnTo>
                  <a:lnTo>
                    <a:pt x="217" y="343"/>
                  </a:lnTo>
                  <a:lnTo>
                    <a:pt x="217" y="345"/>
                  </a:lnTo>
                  <a:lnTo>
                    <a:pt x="217" y="343"/>
                  </a:lnTo>
                  <a:lnTo>
                    <a:pt x="219" y="343"/>
                  </a:lnTo>
                  <a:lnTo>
                    <a:pt x="221" y="343"/>
                  </a:lnTo>
                  <a:lnTo>
                    <a:pt x="224" y="343"/>
                  </a:lnTo>
                  <a:lnTo>
                    <a:pt x="226" y="343"/>
                  </a:lnTo>
                  <a:lnTo>
                    <a:pt x="228" y="340"/>
                  </a:lnTo>
                  <a:lnTo>
                    <a:pt x="231" y="340"/>
                  </a:lnTo>
                  <a:lnTo>
                    <a:pt x="233" y="340"/>
                  </a:lnTo>
                  <a:lnTo>
                    <a:pt x="233" y="343"/>
                  </a:lnTo>
                  <a:lnTo>
                    <a:pt x="235" y="343"/>
                  </a:lnTo>
                  <a:lnTo>
                    <a:pt x="235" y="345"/>
                  </a:lnTo>
                  <a:lnTo>
                    <a:pt x="238" y="345"/>
                  </a:lnTo>
                  <a:lnTo>
                    <a:pt x="238" y="343"/>
                  </a:lnTo>
                  <a:lnTo>
                    <a:pt x="240" y="340"/>
                  </a:lnTo>
                  <a:lnTo>
                    <a:pt x="242" y="340"/>
                  </a:lnTo>
                  <a:lnTo>
                    <a:pt x="245" y="340"/>
                  </a:lnTo>
                  <a:lnTo>
                    <a:pt x="247" y="343"/>
                  </a:lnTo>
                  <a:lnTo>
                    <a:pt x="249" y="343"/>
                  </a:lnTo>
                  <a:close/>
                  <a:moveTo>
                    <a:pt x="282" y="364"/>
                  </a:moveTo>
                  <a:lnTo>
                    <a:pt x="280" y="364"/>
                  </a:lnTo>
                  <a:lnTo>
                    <a:pt x="277" y="364"/>
                  </a:lnTo>
                  <a:lnTo>
                    <a:pt x="277" y="366"/>
                  </a:lnTo>
                  <a:lnTo>
                    <a:pt x="277" y="364"/>
                  </a:lnTo>
                  <a:lnTo>
                    <a:pt x="275" y="366"/>
                  </a:lnTo>
                  <a:lnTo>
                    <a:pt x="275" y="364"/>
                  </a:lnTo>
                  <a:lnTo>
                    <a:pt x="277" y="361"/>
                  </a:lnTo>
                  <a:lnTo>
                    <a:pt x="277" y="364"/>
                  </a:lnTo>
                  <a:lnTo>
                    <a:pt x="277" y="361"/>
                  </a:lnTo>
                  <a:lnTo>
                    <a:pt x="277" y="364"/>
                  </a:lnTo>
                  <a:lnTo>
                    <a:pt x="280" y="361"/>
                  </a:lnTo>
                  <a:lnTo>
                    <a:pt x="280" y="364"/>
                  </a:lnTo>
                  <a:lnTo>
                    <a:pt x="282" y="364"/>
                  </a:lnTo>
                  <a:close/>
                  <a:moveTo>
                    <a:pt x="284" y="361"/>
                  </a:moveTo>
                  <a:lnTo>
                    <a:pt x="282" y="361"/>
                  </a:lnTo>
                  <a:lnTo>
                    <a:pt x="282" y="359"/>
                  </a:lnTo>
                  <a:lnTo>
                    <a:pt x="284" y="359"/>
                  </a:lnTo>
                  <a:lnTo>
                    <a:pt x="284" y="361"/>
                  </a:lnTo>
                  <a:close/>
                  <a:moveTo>
                    <a:pt x="275" y="352"/>
                  </a:moveTo>
                  <a:lnTo>
                    <a:pt x="277" y="352"/>
                  </a:lnTo>
                  <a:lnTo>
                    <a:pt x="277" y="354"/>
                  </a:lnTo>
                  <a:lnTo>
                    <a:pt x="275" y="354"/>
                  </a:lnTo>
                  <a:lnTo>
                    <a:pt x="275" y="357"/>
                  </a:lnTo>
                  <a:lnTo>
                    <a:pt x="273" y="357"/>
                  </a:lnTo>
                  <a:lnTo>
                    <a:pt x="275" y="357"/>
                  </a:lnTo>
                  <a:lnTo>
                    <a:pt x="277" y="357"/>
                  </a:lnTo>
                  <a:lnTo>
                    <a:pt x="280" y="357"/>
                  </a:lnTo>
                  <a:lnTo>
                    <a:pt x="282" y="357"/>
                  </a:lnTo>
                  <a:lnTo>
                    <a:pt x="280" y="357"/>
                  </a:lnTo>
                  <a:lnTo>
                    <a:pt x="280" y="359"/>
                  </a:lnTo>
                  <a:lnTo>
                    <a:pt x="282" y="359"/>
                  </a:lnTo>
                  <a:lnTo>
                    <a:pt x="280" y="359"/>
                  </a:lnTo>
                  <a:lnTo>
                    <a:pt x="282" y="359"/>
                  </a:lnTo>
                  <a:lnTo>
                    <a:pt x="282" y="361"/>
                  </a:lnTo>
                  <a:lnTo>
                    <a:pt x="280" y="361"/>
                  </a:lnTo>
                  <a:lnTo>
                    <a:pt x="277" y="359"/>
                  </a:lnTo>
                  <a:lnTo>
                    <a:pt x="280" y="359"/>
                  </a:lnTo>
                  <a:lnTo>
                    <a:pt x="277" y="359"/>
                  </a:lnTo>
                  <a:lnTo>
                    <a:pt x="275" y="359"/>
                  </a:lnTo>
                  <a:lnTo>
                    <a:pt x="273" y="359"/>
                  </a:lnTo>
                  <a:lnTo>
                    <a:pt x="275" y="359"/>
                  </a:lnTo>
                  <a:lnTo>
                    <a:pt x="273" y="359"/>
                  </a:lnTo>
                  <a:lnTo>
                    <a:pt x="270" y="359"/>
                  </a:lnTo>
                  <a:lnTo>
                    <a:pt x="273" y="359"/>
                  </a:lnTo>
                  <a:lnTo>
                    <a:pt x="273" y="361"/>
                  </a:lnTo>
                  <a:lnTo>
                    <a:pt x="270" y="361"/>
                  </a:lnTo>
                  <a:lnTo>
                    <a:pt x="273" y="361"/>
                  </a:lnTo>
                  <a:lnTo>
                    <a:pt x="275" y="361"/>
                  </a:lnTo>
                  <a:lnTo>
                    <a:pt x="275" y="364"/>
                  </a:lnTo>
                  <a:lnTo>
                    <a:pt x="273" y="364"/>
                  </a:lnTo>
                  <a:lnTo>
                    <a:pt x="270" y="364"/>
                  </a:lnTo>
                  <a:lnTo>
                    <a:pt x="270" y="361"/>
                  </a:lnTo>
                  <a:lnTo>
                    <a:pt x="270" y="364"/>
                  </a:lnTo>
                  <a:lnTo>
                    <a:pt x="268" y="364"/>
                  </a:lnTo>
                  <a:lnTo>
                    <a:pt x="266" y="364"/>
                  </a:lnTo>
                  <a:lnTo>
                    <a:pt x="268" y="364"/>
                  </a:lnTo>
                  <a:lnTo>
                    <a:pt x="268" y="361"/>
                  </a:lnTo>
                  <a:lnTo>
                    <a:pt x="266" y="364"/>
                  </a:lnTo>
                  <a:lnTo>
                    <a:pt x="266" y="361"/>
                  </a:lnTo>
                  <a:lnTo>
                    <a:pt x="266" y="364"/>
                  </a:lnTo>
                  <a:lnTo>
                    <a:pt x="263" y="361"/>
                  </a:lnTo>
                  <a:lnTo>
                    <a:pt x="266" y="361"/>
                  </a:lnTo>
                  <a:lnTo>
                    <a:pt x="266" y="359"/>
                  </a:lnTo>
                  <a:lnTo>
                    <a:pt x="263" y="359"/>
                  </a:lnTo>
                  <a:lnTo>
                    <a:pt x="263" y="361"/>
                  </a:lnTo>
                  <a:lnTo>
                    <a:pt x="263" y="364"/>
                  </a:lnTo>
                  <a:lnTo>
                    <a:pt x="263" y="361"/>
                  </a:lnTo>
                  <a:lnTo>
                    <a:pt x="261" y="361"/>
                  </a:lnTo>
                  <a:lnTo>
                    <a:pt x="259" y="361"/>
                  </a:lnTo>
                  <a:lnTo>
                    <a:pt x="259" y="359"/>
                  </a:lnTo>
                  <a:lnTo>
                    <a:pt x="256" y="359"/>
                  </a:lnTo>
                  <a:lnTo>
                    <a:pt x="254" y="359"/>
                  </a:lnTo>
                  <a:lnTo>
                    <a:pt x="254" y="357"/>
                  </a:lnTo>
                  <a:lnTo>
                    <a:pt x="252" y="359"/>
                  </a:lnTo>
                  <a:lnTo>
                    <a:pt x="252" y="357"/>
                  </a:lnTo>
                  <a:lnTo>
                    <a:pt x="249" y="357"/>
                  </a:lnTo>
                  <a:lnTo>
                    <a:pt x="247" y="357"/>
                  </a:lnTo>
                  <a:lnTo>
                    <a:pt x="247" y="354"/>
                  </a:lnTo>
                  <a:lnTo>
                    <a:pt x="245" y="354"/>
                  </a:lnTo>
                  <a:lnTo>
                    <a:pt x="245" y="352"/>
                  </a:lnTo>
                  <a:lnTo>
                    <a:pt x="245" y="350"/>
                  </a:lnTo>
                  <a:lnTo>
                    <a:pt x="247" y="352"/>
                  </a:lnTo>
                  <a:lnTo>
                    <a:pt x="249" y="352"/>
                  </a:lnTo>
                  <a:lnTo>
                    <a:pt x="252" y="354"/>
                  </a:lnTo>
                  <a:lnTo>
                    <a:pt x="254" y="354"/>
                  </a:lnTo>
                  <a:lnTo>
                    <a:pt x="254" y="357"/>
                  </a:lnTo>
                  <a:lnTo>
                    <a:pt x="254" y="354"/>
                  </a:lnTo>
                  <a:lnTo>
                    <a:pt x="254" y="357"/>
                  </a:lnTo>
                  <a:lnTo>
                    <a:pt x="256" y="354"/>
                  </a:lnTo>
                  <a:lnTo>
                    <a:pt x="256" y="357"/>
                  </a:lnTo>
                  <a:lnTo>
                    <a:pt x="259" y="357"/>
                  </a:lnTo>
                  <a:lnTo>
                    <a:pt x="261" y="357"/>
                  </a:lnTo>
                  <a:lnTo>
                    <a:pt x="261" y="359"/>
                  </a:lnTo>
                  <a:lnTo>
                    <a:pt x="261" y="357"/>
                  </a:lnTo>
                  <a:lnTo>
                    <a:pt x="261" y="354"/>
                  </a:lnTo>
                  <a:lnTo>
                    <a:pt x="263" y="354"/>
                  </a:lnTo>
                  <a:lnTo>
                    <a:pt x="261" y="354"/>
                  </a:lnTo>
                  <a:lnTo>
                    <a:pt x="263" y="357"/>
                  </a:lnTo>
                  <a:lnTo>
                    <a:pt x="263" y="354"/>
                  </a:lnTo>
                  <a:lnTo>
                    <a:pt x="263" y="357"/>
                  </a:lnTo>
                  <a:lnTo>
                    <a:pt x="263" y="354"/>
                  </a:lnTo>
                  <a:lnTo>
                    <a:pt x="266" y="354"/>
                  </a:lnTo>
                  <a:lnTo>
                    <a:pt x="266" y="357"/>
                  </a:lnTo>
                  <a:lnTo>
                    <a:pt x="266" y="359"/>
                  </a:lnTo>
                  <a:lnTo>
                    <a:pt x="268" y="357"/>
                  </a:lnTo>
                  <a:lnTo>
                    <a:pt x="270" y="357"/>
                  </a:lnTo>
                  <a:lnTo>
                    <a:pt x="270" y="359"/>
                  </a:lnTo>
                  <a:lnTo>
                    <a:pt x="270" y="357"/>
                  </a:lnTo>
                  <a:lnTo>
                    <a:pt x="268" y="357"/>
                  </a:lnTo>
                  <a:lnTo>
                    <a:pt x="268" y="354"/>
                  </a:lnTo>
                  <a:lnTo>
                    <a:pt x="268" y="352"/>
                  </a:lnTo>
                  <a:lnTo>
                    <a:pt x="266" y="352"/>
                  </a:lnTo>
                  <a:lnTo>
                    <a:pt x="266" y="350"/>
                  </a:lnTo>
                  <a:lnTo>
                    <a:pt x="268" y="350"/>
                  </a:lnTo>
                  <a:lnTo>
                    <a:pt x="266" y="350"/>
                  </a:lnTo>
                  <a:lnTo>
                    <a:pt x="268" y="347"/>
                  </a:lnTo>
                  <a:lnTo>
                    <a:pt x="268" y="350"/>
                  </a:lnTo>
                  <a:lnTo>
                    <a:pt x="268" y="347"/>
                  </a:lnTo>
                  <a:lnTo>
                    <a:pt x="270" y="347"/>
                  </a:lnTo>
                  <a:lnTo>
                    <a:pt x="273" y="350"/>
                  </a:lnTo>
                  <a:lnTo>
                    <a:pt x="275" y="350"/>
                  </a:lnTo>
                  <a:lnTo>
                    <a:pt x="275" y="352"/>
                  </a:lnTo>
                  <a:close/>
                  <a:moveTo>
                    <a:pt x="298" y="371"/>
                  </a:moveTo>
                  <a:lnTo>
                    <a:pt x="296" y="371"/>
                  </a:lnTo>
                  <a:lnTo>
                    <a:pt x="296" y="368"/>
                  </a:lnTo>
                  <a:lnTo>
                    <a:pt x="293" y="366"/>
                  </a:lnTo>
                  <a:lnTo>
                    <a:pt x="296" y="368"/>
                  </a:lnTo>
                  <a:lnTo>
                    <a:pt x="298" y="368"/>
                  </a:lnTo>
                  <a:lnTo>
                    <a:pt x="298" y="371"/>
                  </a:lnTo>
                  <a:close/>
                  <a:moveTo>
                    <a:pt x="303" y="373"/>
                  </a:moveTo>
                  <a:lnTo>
                    <a:pt x="300" y="373"/>
                  </a:lnTo>
                  <a:lnTo>
                    <a:pt x="300" y="371"/>
                  </a:lnTo>
                  <a:lnTo>
                    <a:pt x="298" y="371"/>
                  </a:lnTo>
                  <a:lnTo>
                    <a:pt x="300" y="371"/>
                  </a:lnTo>
                  <a:lnTo>
                    <a:pt x="300" y="373"/>
                  </a:lnTo>
                  <a:lnTo>
                    <a:pt x="303" y="373"/>
                  </a:lnTo>
                  <a:close/>
                  <a:moveTo>
                    <a:pt x="291" y="359"/>
                  </a:moveTo>
                  <a:lnTo>
                    <a:pt x="293" y="359"/>
                  </a:lnTo>
                  <a:lnTo>
                    <a:pt x="293" y="361"/>
                  </a:lnTo>
                  <a:lnTo>
                    <a:pt x="291" y="361"/>
                  </a:lnTo>
                  <a:lnTo>
                    <a:pt x="293" y="364"/>
                  </a:lnTo>
                  <a:lnTo>
                    <a:pt x="291" y="364"/>
                  </a:lnTo>
                  <a:lnTo>
                    <a:pt x="289" y="361"/>
                  </a:lnTo>
                  <a:lnTo>
                    <a:pt x="286" y="361"/>
                  </a:lnTo>
                  <a:lnTo>
                    <a:pt x="289" y="361"/>
                  </a:lnTo>
                  <a:lnTo>
                    <a:pt x="286" y="361"/>
                  </a:lnTo>
                  <a:lnTo>
                    <a:pt x="286" y="359"/>
                  </a:lnTo>
                  <a:lnTo>
                    <a:pt x="286" y="357"/>
                  </a:lnTo>
                  <a:lnTo>
                    <a:pt x="289" y="357"/>
                  </a:lnTo>
                  <a:lnTo>
                    <a:pt x="291" y="357"/>
                  </a:lnTo>
                  <a:lnTo>
                    <a:pt x="291" y="359"/>
                  </a:lnTo>
                  <a:close/>
                  <a:moveTo>
                    <a:pt x="298" y="361"/>
                  </a:moveTo>
                  <a:lnTo>
                    <a:pt x="298" y="364"/>
                  </a:lnTo>
                  <a:lnTo>
                    <a:pt x="298" y="366"/>
                  </a:lnTo>
                  <a:lnTo>
                    <a:pt x="298" y="364"/>
                  </a:lnTo>
                  <a:lnTo>
                    <a:pt x="296" y="364"/>
                  </a:lnTo>
                  <a:lnTo>
                    <a:pt x="296" y="366"/>
                  </a:lnTo>
                  <a:lnTo>
                    <a:pt x="296" y="364"/>
                  </a:lnTo>
                  <a:lnTo>
                    <a:pt x="293" y="366"/>
                  </a:lnTo>
                  <a:lnTo>
                    <a:pt x="293" y="364"/>
                  </a:lnTo>
                  <a:lnTo>
                    <a:pt x="296" y="364"/>
                  </a:lnTo>
                  <a:lnTo>
                    <a:pt x="296" y="361"/>
                  </a:lnTo>
                  <a:lnTo>
                    <a:pt x="296" y="359"/>
                  </a:lnTo>
                  <a:lnTo>
                    <a:pt x="298" y="359"/>
                  </a:lnTo>
                  <a:lnTo>
                    <a:pt x="298" y="361"/>
                  </a:lnTo>
                  <a:lnTo>
                    <a:pt x="300" y="361"/>
                  </a:lnTo>
                  <a:lnTo>
                    <a:pt x="298" y="361"/>
                  </a:lnTo>
                  <a:close/>
                  <a:moveTo>
                    <a:pt x="345" y="401"/>
                  </a:moveTo>
                  <a:lnTo>
                    <a:pt x="342" y="401"/>
                  </a:lnTo>
                  <a:lnTo>
                    <a:pt x="342" y="398"/>
                  </a:lnTo>
                  <a:lnTo>
                    <a:pt x="345" y="398"/>
                  </a:lnTo>
                  <a:lnTo>
                    <a:pt x="345" y="401"/>
                  </a:lnTo>
                  <a:close/>
                  <a:moveTo>
                    <a:pt x="342" y="396"/>
                  </a:moveTo>
                  <a:lnTo>
                    <a:pt x="342" y="398"/>
                  </a:lnTo>
                  <a:lnTo>
                    <a:pt x="340" y="398"/>
                  </a:lnTo>
                  <a:lnTo>
                    <a:pt x="340" y="396"/>
                  </a:lnTo>
                  <a:lnTo>
                    <a:pt x="340" y="394"/>
                  </a:lnTo>
                  <a:lnTo>
                    <a:pt x="342" y="394"/>
                  </a:lnTo>
                  <a:lnTo>
                    <a:pt x="342" y="396"/>
                  </a:lnTo>
                  <a:close/>
                  <a:moveTo>
                    <a:pt x="394" y="429"/>
                  </a:moveTo>
                  <a:lnTo>
                    <a:pt x="391" y="429"/>
                  </a:lnTo>
                  <a:lnTo>
                    <a:pt x="394" y="426"/>
                  </a:lnTo>
                  <a:lnTo>
                    <a:pt x="394" y="429"/>
                  </a:lnTo>
                  <a:close/>
                  <a:moveTo>
                    <a:pt x="805" y="699"/>
                  </a:moveTo>
                  <a:lnTo>
                    <a:pt x="805" y="696"/>
                  </a:lnTo>
                  <a:lnTo>
                    <a:pt x="805" y="699"/>
                  </a:lnTo>
                  <a:close/>
                  <a:moveTo>
                    <a:pt x="822" y="701"/>
                  </a:moveTo>
                  <a:lnTo>
                    <a:pt x="822" y="703"/>
                  </a:lnTo>
                  <a:lnTo>
                    <a:pt x="824" y="703"/>
                  </a:lnTo>
                  <a:lnTo>
                    <a:pt x="822" y="703"/>
                  </a:lnTo>
                  <a:lnTo>
                    <a:pt x="822" y="706"/>
                  </a:lnTo>
                  <a:lnTo>
                    <a:pt x="819" y="706"/>
                  </a:lnTo>
                  <a:lnTo>
                    <a:pt x="822" y="706"/>
                  </a:lnTo>
                  <a:lnTo>
                    <a:pt x="819" y="706"/>
                  </a:lnTo>
                  <a:lnTo>
                    <a:pt x="819" y="703"/>
                  </a:lnTo>
                  <a:lnTo>
                    <a:pt x="819" y="701"/>
                  </a:lnTo>
                  <a:lnTo>
                    <a:pt x="822" y="701"/>
                  </a:lnTo>
                  <a:close/>
                  <a:moveTo>
                    <a:pt x="401" y="429"/>
                  </a:moveTo>
                  <a:lnTo>
                    <a:pt x="398" y="429"/>
                  </a:lnTo>
                  <a:lnTo>
                    <a:pt x="398" y="426"/>
                  </a:lnTo>
                  <a:lnTo>
                    <a:pt x="398" y="429"/>
                  </a:lnTo>
                  <a:lnTo>
                    <a:pt x="401" y="429"/>
                  </a:lnTo>
                  <a:close/>
                  <a:moveTo>
                    <a:pt x="356" y="392"/>
                  </a:moveTo>
                  <a:lnTo>
                    <a:pt x="354" y="392"/>
                  </a:lnTo>
                  <a:lnTo>
                    <a:pt x="354" y="389"/>
                  </a:lnTo>
                  <a:lnTo>
                    <a:pt x="356" y="389"/>
                  </a:lnTo>
                  <a:lnTo>
                    <a:pt x="356" y="387"/>
                  </a:lnTo>
                  <a:lnTo>
                    <a:pt x="359" y="389"/>
                  </a:lnTo>
                  <a:lnTo>
                    <a:pt x="359" y="392"/>
                  </a:lnTo>
                  <a:lnTo>
                    <a:pt x="356" y="392"/>
                  </a:lnTo>
                  <a:close/>
                  <a:moveTo>
                    <a:pt x="847" y="710"/>
                  </a:moveTo>
                  <a:lnTo>
                    <a:pt x="847" y="713"/>
                  </a:lnTo>
                  <a:lnTo>
                    <a:pt x="845" y="713"/>
                  </a:lnTo>
                  <a:lnTo>
                    <a:pt x="845" y="710"/>
                  </a:lnTo>
                  <a:lnTo>
                    <a:pt x="843" y="710"/>
                  </a:lnTo>
                  <a:lnTo>
                    <a:pt x="845" y="710"/>
                  </a:lnTo>
                  <a:lnTo>
                    <a:pt x="847" y="710"/>
                  </a:lnTo>
                  <a:close/>
                  <a:moveTo>
                    <a:pt x="340" y="368"/>
                  </a:moveTo>
                  <a:lnTo>
                    <a:pt x="342" y="368"/>
                  </a:lnTo>
                  <a:lnTo>
                    <a:pt x="342" y="371"/>
                  </a:lnTo>
                  <a:lnTo>
                    <a:pt x="342" y="373"/>
                  </a:lnTo>
                  <a:lnTo>
                    <a:pt x="342" y="375"/>
                  </a:lnTo>
                  <a:lnTo>
                    <a:pt x="340" y="375"/>
                  </a:lnTo>
                  <a:lnTo>
                    <a:pt x="340" y="378"/>
                  </a:lnTo>
                  <a:lnTo>
                    <a:pt x="340" y="380"/>
                  </a:lnTo>
                  <a:lnTo>
                    <a:pt x="340" y="382"/>
                  </a:lnTo>
                  <a:lnTo>
                    <a:pt x="342" y="382"/>
                  </a:lnTo>
                  <a:lnTo>
                    <a:pt x="342" y="385"/>
                  </a:lnTo>
                  <a:lnTo>
                    <a:pt x="340" y="387"/>
                  </a:lnTo>
                  <a:lnTo>
                    <a:pt x="340" y="385"/>
                  </a:lnTo>
                  <a:lnTo>
                    <a:pt x="340" y="382"/>
                  </a:lnTo>
                  <a:lnTo>
                    <a:pt x="338" y="382"/>
                  </a:lnTo>
                  <a:lnTo>
                    <a:pt x="340" y="380"/>
                  </a:lnTo>
                  <a:lnTo>
                    <a:pt x="338" y="380"/>
                  </a:lnTo>
                  <a:lnTo>
                    <a:pt x="335" y="380"/>
                  </a:lnTo>
                  <a:lnTo>
                    <a:pt x="333" y="380"/>
                  </a:lnTo>
                  <a:lnTo>
                    <a:pt x="331" y="380"/>
                  </a:lnTo>
                  <a:lnTo>
                    <a:pt x="331" y="378"/>
                  </a:lnTo>
                  <a:lnTo>
                    <a:pt x="326" y="373"/>
                  </a:lnTo>
                  <a:lnTo>
                    <a:pt x="324" y="373"/>
                  </a:lnTo>
                  <a:lnTo>
                    <a:pt x="321" y="373"/>
                  </a:lnTo>
                  <a:lnTo>
                    <a:pt x="319" y="373"/>
                  </a:lnTo>
                  <a:lnTo>
                    <a:pt x="317" y="373"/>
                  </a:lnTo>
                  <a:lnTo>
                    <a:pt x="314" y="373"/>
                  </a:lnTo>
                  <a:lnTo>
                    <a:pt x="314" y="371"/>
                  </a:lnTo>
                  <a:lnTo>
                    <a:pt x="312" y="371"/>
                  </a:lnTo>
                  <a:lnTo>
                    <a:pt x="312" y="368"/>
                  </a:lnTo>
                  <a:lnTo>
                    <a:pt x="312" y="366"/>
                  </a:lnTo>
                  <a:lnTo>
                    <a:pt x="312" y="364"/>
                  </a:lnTo>
                  <a:lnTo>
                    <a:pt x="314" y="361"/>
                  </a:lnTo>
                  <a:lnTo>
                    <a:pt x="314" y="364"/>
                  </a:lnTo>
                  <a:lnTo>
                    <a:pt x="317" y="364"/>
                  </a:lnTo>
                  <a:lnTo>
                    <a:pt x="319" y="364"/>
                  </a:lnTo>
                  <a:lnTo>
                    <a:pt x="324" y="361"/>
                  </a:lnTo>
                  <a:lnTo>
                    <a:pt x="326" y="361"/>
                  </a:lnTo>
                  <a:lnTo>
                    <a:pt x="328" y="361"/>
                  </a:lnTo>
                  <a:lnTo>
                    <a:pt x="328" y="364"/>
                  </a:lnTo>
                  <a:lnTo>
                    <a:pt x="331" y="366"/>
                  </a:lnTo>
                  <a:lnTo>
                    <a:pt x="331" y="364"/>
                  </a:lnTo>
                  <a:lnTo>
                    <a:pt x="333" y="364"/>
                  </a:lnTo>
                  <a:lnTo>
                    <a:pt x="335" y="366"/>
                  </a:lnTo>
                  <a:lnTo>
                    <a:pt x="338" y="366"/>
                  </a:lnTo>
                  <a:lnTo>
                    <a:pt x="340" y="366"/>
                  </a:lnTo>
                  <a:lnTo>
                    <a:pt x="340" y="368"/>
                  </a:lnTo>
                  <a:close/>
                  <a:moveTo>
                    <a:pt x="401" y="424"/>
                  </a:moveTo>
                  <a:lnTo>
                    <a:pt x="401" y="426"/>
                  </a:lnTo>
                  <a:lnTo>
                    <a:pt x="398" y="426"/>
                  </a:lnTo>
                  <a:lnTo>
                    <a:pt x="398" y="424"/>
                  </a:lnTo>
                  <a:lnTo>
                    <a:pt x="398" y="426"/>
                  </a:lnTo>
                  <a:lnTo>
                    <a:pt x="398" y="424"/>
                  </a:lnTo>
                  <a:lnTo>
                    <a:pt x="401" y="424"/>
                  </a:lnTo>
                  <a:lnTo>
                    <a:pt x="398" y="424"/>
                  </a:lnTo>
                  <a:lnTo>
                    <a:pt x="401" y="424"/>
                  </a:lnTo>
                  <a:lnTo>
                    <a:pt x="401" y="422"/>
                  </a:lnTo>
                  <a:lnTo>
                    <a:pt x="401" y="424"/>
                  </a:lnTo>
                  <a:close/>
                  <a:moveTo>
                    <a:pt x="370" y="392"/>
                  </a:moveTo>
                  <a:lnTo>
                    <a:pt x="370" y="394"/>
                  </a:lnTo>
                  <a:lnTo>
                    <a:pt x="368" y="394"/>
                  </a:lnTo>
                  <a:lnTo>
                    <a:pt x="368" y="392"/>
                  </a:lnTo>
                  <a:lnTo>
                    <a:pt x="370" y="392"/>
                  </a:lnTo>
                  <a:lnTo>
                    <a:pt x="368" y="392"/>
                  </a:lnTo>
                  <a:lnTo>
                    <a:pt x="368" y="389"/>
                  </a:lnTo>
                  <a:lnTo>
                    <a:pt x="370" y="389"/>
                  </a:lnTo>
                  <a:lnTo>
                    <a:pt x="370" y="392"/>
                  </a:lnTo>
                  <a:close/>
                  <a:moveTo>
                    <a:pt x="824" y="694"/>
                  </a:moveTo>
                  <a:lnTo>
                    <a:pt x="824" y="699"/>
                  </a:lnTo>
                  <a:lnTo>
                    <a:pt x="822" y="699"/>
                  </a:lnTo>
                  <a:lnTo>
                    <a:pt x="822" y="696"/>
                  </a:lnTo>
                  <a:lnTo>
                    <a:pt x="822" y="699"/>
                  </a:lnTo>
                  <a:lnTo>
                    <a:pt x="822" y="696"/>
                  </a:lnTo>
                  <a:lnTo>
                    <a:pt x="819" y="696"/>
                  </a:lnTo>
                  <a:lnTo>
                    <a:pt x="822" y="696"/>
                  </a:lnTo>
                  <a:lnTo>
                    <a:pt x="822" y="694"/>
                  </a:lnTo>
                  <a:lnTo>
                    <a:pt x="822" y="692"/>
                  </a:lnTo>
                  <a:lnTo>
                    <a:pt x="824" y="692"/>
                  </a:lnTo>
                  <a:lnTo>
                    <a:pt x="824" y="694"/>
                  </a:lnTo>
                  <a:close/>
                  <a:moveTo>
                    <a:pt x="377" y="394"/>
                  </a:moveTo>
                  <a:lnTo>
                    <a:pt x="377" y="396"/>
                  </a:lnTo>
                  <a:lnTo>
                    <a:pt x="375" y="396"/>
                  </a:lnTo>
                  <a:lnTo>
                    <a:pt x="375" y="394"/>
                  </a:lnTo>
                  <a:lnTo>
                    <a:pt x="377" y="394"/>
                  </a:lnTo>
                  <a:close/>
                  <a:moveTo>
                    <a:pt x="401" y="422"/>
                  </a:moveTo>
                  <a:lnTo>
                    <a:pt x="398" y="422"/>
                  </a:lnTo>
                  <a:lnTo>
                    <a:pt x="398" y="419"/>
                  </a:lnTo>
                  <a:lnTo>
                    <a:pt x="398" y="422"/>
                  </a:lnTo>
                  <a:lnTo>
                    <a:pt x="396" y="422"/>
                  </a:lnTo>
                  <a:lnTo>
                    <a:pt x="398" y="422"/>
                  </a:lnTo>
                  <a:lnTo>
                    <a:pt x="398" y="419"/>
                  </a:lnTo>
                  <a:lnTo>
                    <a:pt x="401" y="419"/>
                  </a:lnTo>
                  <a:lnTo>
                    <a:pt x="401" y="417"/>
                  </a:lnTo>
                  <a:lnTo>
                    <a:pt x="403" y="417"/>
                  </a:lnTo>
                  <a:lnTo>
                    <a:pt x="403" y="419"/>
                  </a:lnTo>
                  <a:lnTo>
                    <a:pt x="401" y="419"/>
                  </a:lnTo>
                  <a:lnTo>
                    <a:pt x="403" y="419"/>
                  </a:lnTo>
                  <a:lnTo>
                    <a:pt x="401" y="419"/>
                  </a:lnTo>
                  <a:lnTo>
                    <a:pt x="401" y="422"/>
                  </a:lnTo>
                  <a:close/>
                  <a:moveTo>
                    <a:pt x="819" y="692"/>
                  </a:moveTo>
                  <a:lnTo>
                    <a:pt x="819" y="694"/>
                  </a:lnTo>
                  <a:lnTo>
                    <a:pt x="819" y="692"/>
                  </a:lnTo>
                  <a:lnTo>
                    <a:pt x="817" y="694"/>
                  </a:lnTo>
                  <a:lnTo>
                    <a:pt x="819" y="694"/>
                  </a:lnTo>
                  <a:lnTo>
                    <a:pt x="817" y="694"/>
                  </a:lnTo>
                  <a:lnTo>
                    <a:pt x="817" y="696"/>
                  </a:lnTo>
                  <a:lnTo>
                    <a:pt x="819" y="696"/>
                  </a:lnTo>
                  <a:lnTo>
                    <a:pt x="817" y="699"/>
                  </a:lnTo>
                  <a:lnTo>
                    <a:pt x="819" y="699"/>
                  </a:lnTo>
                  <a:lnTo>
                    <a:pt x="819" y="701"/>
                  </a:lnTo>
                  <a:lnTo>
                    <a:pt x="819" y="703"/>
                  </a:lnTo>
                  <a:lnTo>
                    <a:pt x="819" y="706"/>
                  </a:lnTo>
                  <a:lnTo>
                    <a:pt x="819" y="708"/>
                  </a:lnTo>
                  <a:lnTo>
                    <a:pt x="817" y="708"/>
                  </a:lnTo>
                  <a:lnTo>
                    <a:pt x="817" y="706"/>
                  </a:lnTo>
                  <a:lnTo>
                    <a:pt x="817" y="703"/>
                  </a:lnTo>
                  <a:lnTo>
                    <a:pt x="817" y="701"/>
                  </a:lnTo>
                  <a:lnTo>
                    <a:pt x="815" y="701"/>
                  </a:lnTo>
                  <a:lnTo>
                    <a:pt x="815" y="699"/>
                  </a:lnTo>
                  <a:lnTo>
                    <a:pt x="817" y="699"/>
                  </a:lnTo>
                  <a:lnTo>
                    <a:pt x="815" y="699"/>
                  </a:lnTo>
                  <a:lnTo>
                    <a:pt x="817" y="699"/>
                  </a:lnTo>
                  <a:lnTo>
                    <a:pt x="815" y="696"/>
                  </a:lnTo>
                  <a:lnTo>
                    <a:pt x="815" y="694"/>
                  </a:lnTo>
                  <a:lnTo>
                    <a:pt x="815" y="692"/>
                  </a:lnTo>
                  <a:lnTo>
                    <a:pt x="817" y="692"/>
                  </a:lnTo>
                  <a:lnTo>
                    <a:pt x="817" y="689"/>
                  </a:lnTo>
                  <a:lnTo>
                    <a:pt x="817" y="692"/>
                  </a:lnTo>
                  <a:lnTo>
                    <a:pt x="817" y="689"/>
                  </a:lnTo>
                  <a:lnTo>
                    <a:pt x="817" y="687"/>
                  </a:lnTo>
                  <a:lnTo>
                    <a:pt x="819" y="687"/>
                  </a:lnTo>
                  <a:lnTo>
                    <a:pt x="819" y="689"/>
                  </a:lnTo>
                  <a:lnTo>
                    <a:pt x="819" y="692"/>
                  </a:lnTo>
                  <a:close/>
                  <a:moveTo>
                    <a:pt x="375" y="392"/>
                  </a:moveTo>
                  <a:lnTo>
                    <a:pt x="373" y="392"/>
                  </a:lnTo>
                  <a:lnTo>
                    <a:pt x="375" y="392"/>
                  </a:lnTo>
                  <a:close/>
                  <a:moveTo>
                    <a:pt x="847" y="706"/>
                  </a:moveTo>
                  <a:lnTo>
                    <a:pt x="847" y="708"/>
                  </a:lnTo>
                  <a:lnTo>
                    <a:pt x="845" y="708"/>
                  </a:lnTo>
                  <a:lnTo>
                    <a:pt x="845" y="706"/>
                  </a:lnTo>
                  <a:lnTo>
                    <a:pt x="843" y="708"/>
                  </a:lnTo>
                  <a:lnTo>
                    <a:pt x="843" y="706"/>
                  </a:lnTo>
                  <a:lnTo>
                    <a:pt x="843" y="703"/>
                  </a:lnTo>
                  <a:lnTo>
                    <a:pt x="845" y="703"/>
                  </a:lnTo>
                  <a:lnTo>
                    <a:pt x="845" y="701"/>
                  </a:lnTo>
                  <a:lnTo>
                    <a:pt x="845" y="699"/>
                  </a:lnTo>
                  <a:lnTo>
                    <a:pt x="847" y="699"/>
                  </a:lnTo>
                  <a:lnTo>
                    <a:pt x="847" y="701"/>
                  </a:lnTo>
                  <a:lnTo>
                    <a:pt x="850" y="703"/>
                  </a:lnTo>
                  <a:lnTo>
                    <a:pt x="847" y="703"/>
                  </a:lnTo>
                  <a:lnTo>
                    <a:pt x="847" y="706"/>
                  </a:lnTo>
                  <a:close/>
                  <a:moveTo>
                    <a:pt x="398" y="412"/>
                  </a:moveTo>
                  <a:lnTo>
                    <a:pt x="396" y="415"/>
                  </a:lnTo>
                  <a:lnTo>
                    <a:pt x="398" y="415"/>
                  </a:lnTo>
                  <a:lnTo>
                    <a:pt x="396" y="417"/>
                  </a:lnTo>
                  <a:lnTo>
                    <a:pt x="396" y="415"/>
                  </a:lnTo>
                  <a:lnTo>
                    <a:pt x="394" y="415"/>
                  </a:lnTo>
                  <a:lnTo>
                    <a:pt x="394" y="417"/>
                  </a:lnTo>
                  <a:lnTo>
                    <a:pt x="394" y="415"/>
                  </a:lnTo>
                  <a:lnTo>
                    <a:pt x="391" y="415"/>
                  </a:lnTo>
                  <a:lnTo>
                    <a:pt x="391" y="417"/>
                  </a:lnTo>
                  <a:lnTo>
                    <a:pt x="389" y="417"/>
                  </a:lnTo>
                  <a:lnTo>
                    <a:pt x="387" y="417"/>
                  </a:lnTo>
                  <a:lnTo>
                    <a:pt x="384" y="417"/>
                  </a:lnTo>
                  <a:lnTo>
                    <a:pt x="387" y="417"/>
                  </a:lnTo>
                  <a:lnTo>
                    <a:pt x="389" y="415"/>
                  </a:lnTo>
                  <a:lnTo>
                    <a:pt x="391" y="415"/>
                  </a:lnTo>
                  <a:lnTo>
                    <a:pt x="389" y="415"/>
                  </a:lnTo>
                  <a:lnTo>
                    <a:pt x="391" y="415"/>
                  </a:lnTo>
                  <a:lnTo>
                    <a:pt x="391" y="412"/>
                  </a:lnTo>
                  <a:lnTo>
                    <a:pt x="391" y="415"/>
                  </a:lnTo>
                  <a:lnTo>
                    <a:pt x="394" y="415"/>
                  </a:lnTo>
                  <a:lnTo>
                    <a:pt x="394" y="412"/>
                  </a:lnTo>
                  <a:lnTo>
                    <a:pt x="394" y="415"/>
                  </a:lnTo>
                  <a:lnTo>
                    <a:pt x="394" y="412"/>
                  </a:lnTo>
                  <a:lnTo>
                    <a:pt x="396" y="412"/>
                  </a:lnTo>
                  <a:lnTo>
                    <a:pt x="396" y="415"/>
                  </a:lnTo>
                  <a:lnTo>
                    <a:pt x="396" y="412"/>
                  </a:lnTo>
                  <a:lnTo>
                    <a:pt x="398" y="412"/>
                  </a:lnTo>
                  <a:close/>
                  <a:moveTo>
                    <a:pt x="817" y="685"/>
                  </a:moveTo>
                  <a:lnTo>
                    <a:pt x="817" y="687"/>
                  </a:lnTo>
                  <a:lnTo>
                    <a:pt x="815" y="687"/>
                  </a:lnTo>
                  <a:lnTo>
                    <a:pt x="812" y="687"/>
                  </a:lnTo>
                  <a:lnTo>
                    <a:pt x="812" y="685"/>
                  </a:lnTo>
                  <a:lnTo>
                    <a:pt x="815" y="685"/>
                  </a:lnTo>
                  <a:lnTo>
                    <a:pt x="817" y="685"/>
                  </a:lnTo>
                  <a:close/>
                  <a:moveTo>
                    <a:pt x="398" y="410"/>
                  </a:moveTo>
                  <a:lnTo>
                    <a:pt x="396" y="410"/>
                  </a:lnTo>
                  <a:lnTo>
                    <a:pt x="396" y="408"/>
                  </a:lnTo>
                  <a:lnTo>
                    <a:pt x="398" y="408"/>
                  </a:lnTo>
                  <a:lnTo>
                    <a:pt x="398" y="410"/>
                  </a:lnTo>
                  <a:close/>
                  <a:moveTo>
                    <a:pt x="394" y="405"/>
                  </a:moveTo>
                  <a:lnTo>
                    <a:pt x="391" y="408"/>
                  </a:lnTo>
                  <a:lnTo>
                    <a:pt x="391" y="405"/>
                  </a:lnTo>
                  <a:lnTo>
                    <a:pt x="391" y="403"/>
                  </a:lnTo>
                  <a:lnTo>
                    <a:pt x="394" y="403"/>
                  </a:lnTo>
                  <a:lnTo>
                    <a:pt x="394" y="405"/>
                  </a:lnTo>
                  <a:close/>
                  <a:moveTo>
                    <a:pt x="389" y="401"/>
                  </a:moveTo>
                  <a:lnTo>
                    <a:pt x="391" y="401"/>
                  </a:lnTo>
                  <a:lnTo>
                    <a:pt x="391" y="403"/>
                  </a:lnTo>
                  <a:lnTo>
                    <a:pt x="389" y="403"/>
                  </a:lnTo>
                  <a:lnTo>
                    <a:pt x="389" y="405"/>
                  </a:lnTo>
                  <a:lnTo>
                    <a:pt x="389" y="408"/>
                  </a:lnTo>
                  <a:lnTo>
                    <a:pt x="389" y="405"/>
                  </a:lnTo>
                  <a:lnTo>
                    <a:pt x="387" y="405"/>
                  </a:lnTo>
                  <a:lnTo>
                    <a:pt x="389" y="405"/>
                  </a:lnTo>
                  <a:lnTo>
                    <a:pt x="389" y="408"/>
                  </a:lnTo>
                  <a:lnTo>
                    <a:pt x="387" y="408"/>
                  </a:lnTo>
                  <a:lnTo>
                    <a:pt x="387" y="405"/>
                  </a:lnTo>
                  <a:lnTo>
                    <a:pt x="384" y="405"/>
                  </a:lnTo>
                  <a:lnTo>
                    <a:pt x="387" y="405"/>
                  </a:lnTo>
                  <a:lnTo>
                    <a:pt x="387" y="403"/>
                  </a:lnTo>
                  <a:lnTo>
                    <a:pt x="384" y="403"/>
                  </a:lnTo>
                  <a:lnTo>
                    <a:pt x="382" y="403"/>
                  </a:lnTo>
                  <a:lnTo>
                    <a:pt x="384" y="403"/>
                  </a:lnTo>
                  <a:lnTo>
                    <a:pt x="384" y="401"/>
                  </a:lnTo>
                  <a:lnTo>
                    <a:pt x="387" y="398"/>
                  </a:lnTo>
                  <a:lnTo>
                    <a:pt x="389" y="398"/>
                  </a:lnTo>
                  <a:lnTo>
                    <a:pt x="391" y="398"/>
                  </a:lnTo>
                  <a:lnTo>
                    <a:pt x="391" y="401"/>
                  </a:lnTo>
                  <a:lnTo>
                    <a:pt x="389" y="401"/>
                  </a:lnTo>
                  <a:close/>
                  <a:moveTo>
                    <a:pt x="843" y="694"/>
                  </a:moveTo>
                  <a:lnTo>
                    <a:pt x="845" y="696"/>
                  </a:lnTo>
                  <a:lnTo>
                    <a:pt x="845" y="699"/>
                  </a:lnTo>
                  <a:lnTo>
                    <a:pt x="843" y="699"/>
                  </a:lnTo>
                  <a:lnTo>
                    <a:pt x="843" y="701"/>
                  </a:lnTo>
                  <a:lnTo>
                    <a:pt x="840" y="701"/>
                  </a:lnTo>
                  <a:lnTo>
                    <a:pt x="840" y="699"/>
                  </a:lnTo>
                  <a:lnTo>
                    <a:pt x="843" y="696"/>
                  </a:lnTo>
                  <a:lnTo>
                    <a:pt x="843" y="694"/>
                  </a:lnTo>
                  <a:lnTo>
                    <a:pt x="843" y="692"/>
                  </a:lnTo>
                  <a:lnTo>
                    <a:pt x="843" y="694"/>
                  </a:lnTo>
                  <a:close/>
                  <a:moveTo>
                    <a:pt x="815" y="680"/>
                  </a:moveTo>
                  <a:lnTo>
                    <a:pt x="815" y="682"/>
                  </a:lnTo>
                  <a:lnTo>
                    <a:pt x="812" y="682"/>
                  </a:lnTo>
                  <a:lnTo>
                    <a:pt x="812" y="685"/>
                  </a:lnTo>
                  <a:lnTo>
                    <a:pt x="810" y="685"/>
                  </a:lnTo>
                  <a:lnTo>
                    <a:pt x="810" y="682"/>
                  </a:lnTo>
                  <a:lnTo>
                    <a:pt x="812" y="682"/>
                  </a:lnTo>
                  <a:lnTo>
                    <a:pt x="812" y="680"/>
                  </a:lnTo>
                  <a:lnTo>
                    <a:pt x="815" y="680"/>
                  </a:lnTo>
                  <a:close/>
                  <a:moveTo>
                    <a:pt x="356" y="368"/>
                  </a:moveTo>
                  <a:lnTo>
                    <a:pt x="356" y="366"/>
                  </a:lnTo>
                  <a:lnTo>
                    <a:pt x="359" y="366"/>
                  </a:lnTo>
                  <a:lnTo>
                    <a:pt x="356" y="368"/>
                  </a:lnTo>
                  <a:close/>
                  <a:moveTo>
                    <a:pt x="819" y="682"/>
                  </a:moveTo>
                  <a:lnTo>
                    <a:pt x="817" y="682"/>
                  </a:lnTo>
                  <a:lnTo>
                    <a:pt x="819" y="680"/>
                  </a:lnTo>
                  <a:lnTo>
                    <a:pt x="819" y="682"/>
                  </a:lnTo>
                  <a:close/>
                  <a:moveTo>
                    <a:pt x="398" y="403"/>
                  </a:moveTo>
                  <a:lnTo>
                    <a:pt x="398" y="405"/>
                  </a:lnTo>
                  <a:lnTo>
                    <a:pt x="396" y="405"/>
                  </a:lnTo>
                  <a:lnTo>
                    <a:pt x="396" y="403"/>
                  </a:lnTo>
                  <a:lnTo>
                    <a:pt x="398" y="403"/>
                  </a:lnTo>
                  <a:close/>
                  <a:moveTo>
                    <a:pt x="815" y="680"/>
                  </a:moveTo>
                  <a:lnTo>
                    <a:pt x="815" y="678"/>
                  </a:lnTo>
                  <a:lnTo>
                    <a:pt x="817" y="678"/>
                  </a:lnTo>
                  <a:lnTo>
                    <a:pt x="817" y="680"/>
                  </a:lnTo>
                  <a:lnTo>
                    <a:pt x="815" y="680"/>
                  </a:lnTo>
                  <a:close/>
                  <a:moveTo>
                    <a:pt x="819" y="680"/>
                  </a:moveTo>
                  <a:lnTo>
                    <a:pt x="817" y="680"/>
                  </a:lnTo>
                  <a:lnTo>
                    <a:pt x="817" y="678"/>
                  </a:lnTo>
                  <a:lnTo>
                    <a:pt x="819" y="678"/>
                  </a:lnTo>
                  <a:lnTo>
                    <a:pt x="819" y="680"/>
                  </a:lnTo>
                  <a:close/>
                  <a:moveTo>
                    <a:pt x="815" y="676"/>
                  </a:moveTo>
                  <a:lnTo>
                    <a:pt x="815" y="678"/>
                  </a:lnTo>
                  <a:lnTo>
                    <a:pt x="812" y="678"/>
                  </a:lnTo>
                  <a:lnTo>
                    <a:pt x="810" y="678"/>
                  </a:lnTo>
                  <a:lnTo>
                    <a:pt x="810" y="676"/>
                  </a:lnTo>
                  <a:lnTo>
                    <a:pt x="812" y="676"/>
                  </a:lnTo>
                  <a:lnTo>
                    <a:pt x="815" y="676"/>
                  </a:lnTo>
                  <a:close/>
                  <a:moveTo>
                    <a:pt x="419" y="408"/>
                  </a:moveTo>
                  <a:lnTo>
                    <a:pt x="417" y="408"/>
                  </a:lnTo>
                  <a:lnTo>
                    <a:pt x="417" y="405"/>
                  </a:lnTo>
                  <a:lnTo>
                    <a:pt x="419" y="405"/>
                  </a:lnTo>
                  <a:lnTo>
                    <a:pt x="419" y="408"/>
                  </a:lnTo>
                  <a:close/>
                  <a:moveTo>
                    <a:pt x="819" y="669"/>
                  </a:moveTo>
                  <a:lnTo>
                    <a:pt x="819" y="666"/>
                  </a:lnTo>
                  <a:lnTo>
                    <a:pt x="819" y="669"/>
                  </a:lnTo>
                  <a:lnTo>
                    <a:pt x="822" y="669"/>
                  </a:lnTo>
                  <a:lnTo>
                    <a:pt x="819" y="669"/>
                  </a:lnTo>
                  <a:lnTo>
                    <a:pt x="822" y="669"/>
                  </a:lnTo>
                  <a:lnTo>
                    <a:pt x="822" y="671"/>
                  </a:lnTo>
                  <a:lnTo>
                    <a:pt x="824" y="671"/>
                  </a:lnTo>
                  <a:lnTo>
                    <a:pt x="822" y="671"/>
                  </a:lnTo>
                  <a:lnTo>
                    <a:pt x="819" y="671"/>
                  </a:lnTo>
                  <a:lnTo>
                    <a:pt x="819" y="669"/>
                  </a:lnTo>
                  <a:lnTo>
                    <a:pt x="819" y="671"/>
                  </a:lnTo>
                  <a:lnTo>
                    <a:pt x="817" y="671"/>
                  </a:lnTo>
                  <a:lnTo>
                    <a:pt x="817" y="669"/>
                  </a:lnTo>
                  <a:lnTo>
                    <a:pt x="817" y="666"/>
                  </a:lnTo>
                  <a:lnTo>
                    <a:pt x="819" y="666"/>
                  </a:lnTo>
                  <a:lnTo>
                    <a:pt x="819" y="669"/>
                  </a:lnTo>
                  <a:close/>
                  <a:moveTo>
                    <a:pt x="428" y="412"/>
                  </a:moveTo>
                  <a:lnTo>
                    <a:pt x="426" y="410"/>
                  </a:lnTo>
                  <a:lnTo>
                    <a:pt x="426" y="412"/>
                  </a:lnTo>
                  <a:lnTo>
                    <a:pt x="424" y="412"/>
                  </a:lnTo>
                  <a:lnTo>
                    <a:pt x="424" y="410"/>
                  </a:lnTo>
                  <a:lnTo>
                    <a:pt x="426" y="410"/>
                  </a:lnTo>
                  <a:lnTo>
                    <a:pt x="428" y="410"/>
                  </a:lnTo>
                  <a:lnTo>
                    <a:pt x="428" y="412"/>
                  </a:lnTo>
                  <a:close/>
                  <a:moveTo>
                    <a:pt x="824" y="669"/>
                  </a:moveTo>
                  <a:lnTo>
                    <a:pt x="826" y="669"/>
                  </a:lnTo>
                  <a:lnTo>
                    <a:pt x="826" y="671"/>
                  </a:lnTo>
                  <a:lnTo>
                    <a:pt x="824" y="671"/>
                  </a:lnTo>
                  <a:lnTo>
                    <a:pt x="824" y="669"/>
                  </a:lnTo>
                  <a:lnTo>
                    <a:pt x="824" y="666"/>
                  </a:lnTo>
                  <a:lnTo>
                    <a:pt x="826" y="666"/>
                  </a:lnTo>
                  <a:lnTo>
                    <a:pt x="826" y="669"/>
                  </a:lnTo>
                  <a:lnTo>
                    <a:pt x="824" y="669"/>
                  </a:lnTo>
                  <a:close/>
                  <a:moveTo>
                    <a:pt x="470" y="452"/>
                  </a:moveTo>
                  <a:lnTo>
                    <a:pt x="468" y="452"/>
                  </a:lnTo>
                  <a:lnTo>
                    <a:pt x="468" y="450"/>
                  </a:lnTo>
                  <a:lnTo>
                    <a:pt x="470" y="450"/>
                  </a:lnTo>
                  <a:lnTo>
                    <a:pt x="473" y="447"/>
                  </a:lnTo>
                  <a:lnTo>
                    <a:pt x="475" y="450"/>
                  </a:lnTo>
                  <a:lnTo>
                    <a:pt x="473" y="450"/>
                  </a:lnTo>
                  <a:lnTo>
                    <a:pt x="473" y="452"/>
                  </a:lnTo>
                  <a:lnTo>
                    <a:pt x="470" y="452"/>
                  </a:lnTo>
                  <a:close/>
                  <a:moveTo>
                    <a:pt x="810" y="659"/>
                  </a:moveTo>
                  <a:lnTo>
                    <a:pt x="808" y="659"/>
                  </a:lnTo>
                  <a:lnTo>
                    <a:pt x="810" y="659"/>
                  </a:lnTo>
                  <a:lnTo>
                    <a:pt x="812" y="659"/>
                  </a:lnTo>
                  <a:lnTo>
                    <a:pt x="810" y="662"/>
                  </a:lnTo>
                  <a:lnTo>
                    <a:pt x="808" y="662"/>
                  </a:lnTo>
                  <a:lnTo>
                    <a:pt x="808" y="659"/>
                  </a:lnTo>
                  <a:lnTo>
                    <a:pt x="810" y="659"/>
                  </a:lnTo>
                  <a:close/>
                  <a:moveTo>
                    <a:pt x="815" y="664"/>
                  </a:moveTo>
                  <a:lnTo>
                    <a:pt x="815" y="662"/>
                  </a:lnTo>
                  <a:lnTo>
                    <a:pt x="817" y="662"/>
                  </a:lnTo>
                  <a:lnTo>
                    <a:pt x="817" y="664"/>
                  </a:lnTo>
                  <a:lnTo>
                    <a:pt x="815" y="664"/>
                  </a:lnTo>
                  <a:close/>
                  <a:moveTo>
                    <a:pt x="861" y="682"/>
                  </a:moveTo>
                  <a:lnTo>
                    <a:pt x="861" y="687"/>
                  </a:lnTo>
                  <a:lnTo>
                    <a:pt x="861" y="689"/>
                  </a:lnTo>
                  <a:lnTo>
                    <a:pt x="861" y="692"/>
                  </a:lnTo>
                  <a:lnTo>
                    <a:pt x="861" y="694"/>
                  </a:lnTo>
                  <a:lnTo>
                    <a:pt x="859" y="696"/>
                  </a:lnTo>
                  <a:lnTo>
                    <a:pt x="859" y="699"/>
                  </a:lnTo>
                  <a:lnTo>
                    <a:pt x="859" y="701"/>
                  </a:lnTo>
                  <a:lnTo>
                    <a:pt x="859" y="699"/>
                  </a:lnTo>
                  <a:lnTo>
                    <a:pt x="857" y="699"/>
                  </a:lnTo>
                  <a:lnTo>
                    <a:pt x="857" y="701"/>
                  </a:lnTo>
                  <a:lnTo>
                    <a:pt x="854" y="703"/>
                  </a:lnTo>
                  <a:lnTo>
                    <a:pt x="852" y="703"/>
                  </a:lnTo>
                  <a:lnTo>
                    <a:pt x="852" y="706"/>
                  </a:lnTo>
                  <a:lnTo>
                    <a:pt x="852" y="703"/>
                  </a:lnTo>
                  <a:lnTo>
                    <a:pt x="850" y="703"/>
                  </a:lnTo>
                  <a:lnTo>
                    <a:pt x="852" y="701"/>
                  </a:lnTo>
                  <a:lnTo>
                    <a:pt x="854" y="699"/>
                  </a:lnTo>
                  <a:lnTo>
                    <a:pt x="852" y="699"/>
                  </a:lnTo>
                  <a:lnTo>
                    <a:pt x="852" y="701"/>
                  </a:lnTo>
                  <a:lnTo>
                    <a:pt x="850" y="701"/>
                  </a:lnTo>
                  <a:lnTo>
                    <a:pt x="847" y="701"/>
                  </a:lnTo>
                  <a:lnTo>
                    <a:pt x="847" y="699"/>
                  </a:lnTo>
                  <a:lnTo>
                    <a:pt x="850" y="699"/>
                  </a:lnTo>
                  <a:lnTo>
                    <a:pt x="852" y="699"/>
                  </a:lnTo>
                  <a:lnTo>
                    <a:pt x="852" y="696"/>
                  </a:lnTo>
                  <a:lnTo>
                    <a:pt x="854" y="696"/>
                  </a:lnTo>
                  <a:lnTo>
                    <a:pt x="854" y="694"/>
                  </a:lnTo>
                  <a:lnTo>
                    <a:pt x="854" y="692"/>
                  </a:lnTo>
                  <a:lnTo>
                    <a:pt x="854" y="689"/>
                  </a:lnTo>
                  <a:lnTo>
                    <a:pt x="854" y="692"/>
                  </a:lnTo>
                  <a:lnTo>
                    <a:pt x="854" y="694"/>
                  </a:lnTo>
                  <a:lnTo>
                    <a:pt x="852" y="696"/>
                  </a:lnTo>
                  <a:lnTo>
                    <a:pt x="850" y="699"/>
                  </a:lnTo>
                  <a:lnTo>
                    <a:pt x="850" y="696"/>
                  </a:lnTo>
                  <a:lnTo>
                    <a:pt x="850" y="694"/>
                  </a:lnTo>
                  <a:lnTo>
                    <a:pt x="852" y="694"/>
                  </a:lnTo>
                  <a:lnTo>
                    <a:pt x="852" y="692"/>
                  </a:lnTo>
                  <a:lnTo>
                    <a:pt x="850" y="692"/>
                  </a:lnTo>
                  <a:lnTo>
                    <a:pt x="850" y="694"/>
                  </a:lnTo>
                  <a:lnTo>
                    <a:pt x="850" y="696"/>
                  </a:lnTo>
                  <a:lnTo>
                    <a:pt x="850" y="699"/>
                  </a:lnTo>
                  <a:lnTo>
                    <a:pt x="847" y="699"/>
                  </a:lnTo>
                  <a:lnTo>
                    <a:pt x="847" y="696"/>
                  </a:lnTo>
                  <a:lnTo>
                    <a:pt x="845" y="696"/>
                  </a:lnTo>
                  <a:lnTo>
                    <a:pt x="845" y="694"/>
                  </a:lnTo>
                  <a:lnTo>
                    <a:pt x="845" y="692"/>
                  </a:lnTo>
                  <a:lnTo>
                    <a:pt x="847" y="692"/>
                  </a:lnTo>
                  <a:lnTo>
                    <a:pt x="847" y="689"/>
                  </a:lnTo>
                  <a:lnTo>
                    <a:pt x="850" y="689"/>
                  </a:lnTo>
                  <a:lnTo>
                    <a:pt x="850" y="687"/>
                  </a:lnTo>
                  <a:lnTo>
                    <a:pt x="850" y="685"/>
                  </a:lnTo>
                  <a:lnTo>
                    <a:pt x="850" y="687"/>
                  </a:lnTo>
                  <a:lnTo>
                    <a:pt x="852" y="685"/>
                  </a:lnTo>
                  <a:lnTo>
                    <a:pt x="854" y="685"/>
                  </a:lnTo>
                  <a:lnTo>
                    <a:pt x="852" y="685"/>
                  </a:lnTo>
                  <a:lnTo>
                    <a:pt x="850" y="685"/>
                  </a:lnTo>
                  <a:lnTo>
                    <a:pt x="852" y="685"/>
                  </a:lnTo>
                  <a:lnTo>
                    <a:pt x="854" y="685"/>
                  </a:lnTo>
                  <a:lnTo>
                    <a:pt x="854" y="682"/>
                  </a:lnTo>
                  <a:lnTo>
                    <a:pt x="852" y="682"/>
                  </a:lnTo>
                  <a:lnTo>
                    <a:pt x="854" y="682"/>
                  </a:lnTo>
                  <a:lnTo>
                    <a:pt x="857" y="682"/>
                  </a:lnTo>
                  <a:lnTo>
                    <a:pt x="854" y="682"/>
                  </a:lnTo>
                  <a:lnTo>
                    <a:pt x="854" y="680"/>
                  </a:lnTo>
                  <a:lnTo>
                    <a:pt x="857" y="680"/>
                  </a:lnTo>
                  <a:lnTo>
                    <a:pt x="859" y="680"/>
                  </a:lnTo>
                  <a:lnTo>
                    <a:pt x="861" y="680"/>
                  </a:lnTo>
                  <a:lnTo>
                    <a:pt x="861" y="682"/>
                  </a:lnTo>
                  <a:close/>
                  <a:moveTo>
                    <a:pt x="461" y="433"/>
                  </a:moveTo>
                  <a:lnTo>
                    <a:pt x="459" y="433"/>
                  </a:lnTo>
                  <a:lnTo>
                    <a:pt x="459" y="431"/>
                  </a:lnTo>
                  <a:lnTo>
                    <a:pt x="461" y="431"/>
                  </a:lnTo>
                  <a:lnTo>
                    <a:pt x="461" y="433"/>
                  </a:lnTo>
                  <a:close/>
                  <a:moveTo>
                    <a:pt x="826" y="659"/>
                  </a:moveTo>
                  <a:lnTo>
                    <a:pt x="829" y="659"/>
                  </a:lnTo>
                  <a:lnTo>
                    <a:pt x="829" y="662"/>
                  </a:lnTo>
                  <a:lnTo>
                    <a:pt x="826" y="662"/>
                  </a:lnTo>
                  <a:lnTo>
                    <a:pt x="826" y="664"/>
                  </a:lnTo>
                  <a:lnTo>
                    <a:pt x="824" y="662"/>
                  </a:lnTo>
                  <a:lnTo>
                    <a:pt x="824" y="664"/>
                  </a:lnTo>
                  <a:lnTo>
                    <a:pt x="824" y="662"/>
                  </a:lnTo>
                  <a:lnTo>
                    <a:pt x="822" y="664"/>
                  </a:lnTo>
                  <a:lnTo>
                    <a:pt x="819" y="664"/>
                  </a:lnTo>
                  <a:lnTo>
                    <a:pt x="817" y="664"/>
                  </a:lnTo>
                  <a:lnTo>
                    <a:pt x="817" y="662"/>
                  </a:lnTo>
                  <a:lnTo>
                    <a:pt x="819" y="659"/>
                  </a:lnTo>
                  <a:lnTo>
                    <a:pt x="822" y="659"/>
                  </a:lnTo>
                  <a:lnTo>
                    <a:pt x="824" y="659"/>
                  </a:lnTo>
                  <a:lnTo>
                    <a:pt x="822" y="659"/>
                  </a:lnTo>
                  <a:lnTo>
                    <a:pt x="822" y="657"/>
                  </a:lnTo>
                  <a:lnTo>
                    <a:pt x="824" y="659"/>
                  </a:lnTo>
                  <a:lnTo>
                    <a:pt x="826" y="659"/>
                  </a:lnTo>
                  <a:close/>
                  <a:moveTo>
                    <a:pt x="461" y="429"/>
                  </a:moveTo>
                  <a:lnTo>
                    <a:pt x="461" y="426"/>
                  </a:lnTo>
                  <a:lnTo>
                    <a:pt x="463" y="426"/>
                  </a:lnTo>
                  <a:lnTo>
                    <a:pt x="463" y="429"/>
                  </a:lnTo>
                  <a:lnTo>
                    <a:pt x="461" y="429"/>
                  </a:lnTo>
                  <a:close/>
                  <a:moveTo>
                    <a:pt x="843" y="664"/>
                  </a:moveTo>
                  <a:lnTo>
                    <a:pt x="843" y="666"/>
                  </a:lnTo>
                  <a:lnTo>
                    <a:pt x="845" y="666"/>
                  </a:lnTo>
                  <a:lnTo>
                    <a:pt x="845" y="664"/>
                  </a:lnTo>
                  <a:lnTo>
                    <a:pt x="845" y="666"/>
                  </a:lnTo>
                  <a:lnTo>
                    <a:pt x="847" y="666"/>
                  </a:lnTo>
                  <a:lnTo>
                    <a:pt x="847" y="669"/>
                  </a:lnTo>
                  <a:lnTo>
                    <a:pt x="847" y="671"/>
                  </a:lnTo>
                  <a:lnTo>
                    <a:pt x="845" y="671"/>
                  </a:lnTo>
                  <a:lnTo>
                    <a:pt x="847" y="671"/>
                  </a:lnTo>
                  <a:lnTo>
                    <a:pt x="845" y="671"/>
                  </a:lnTo>
                  <a:lnTo>
                    <a:pt x="845" y="673"/>
                  </a:lnTo>
                  <a:lnTo>
                    <a:pt x="845" y="676"/>
                  </a:lnTo>
                  <a:lnTo>
                    <a:pt x="845" y="673"/>
                  </a:lnTo>
                  <a:lnTo>
                    <a:pt x="843" y="676"/>
                  </a:lnTo>
                  <a:lnTo>
                    <a:pt x="843" y="673"/>
                  </a:lnTo>
                  <a:lnTo>
                    <a:pt x="843" y="676"/>
                  </a:lnTo>
                  <a:lnTo>
                    <a:pt x="843" y="673"/>
                  </a:lnTo>
                  <a:lnTo>
                    <a:pt x="840" y="673"/>
                  </a:lnTo>
                  <a:lnTo>
                    <a:pt x="840" y="671"/>
                  </a:lnTo>
                  <a:lnTo>
                    <a:pt x="843" y="671"/>
                  </a:lnTo>
                  <a:lnTo>
                    <a:pt x="840" y="671"/>
                  </a:lnTo>
                  <a:lnTo>
                    <a:pt x="840" y="669"/>
                  </a:lnTo>
                  <a:lnTo>
                    <a:pt x="843" y="669"/>
                  </a:lnTo>
                  <a:lnTo>
                    <a:pt x="840" y="669"/>
                  </a:lnTo>
                  <a:lnTo>
                    <a:pt x="840" y="666"/>
                  </a:lnTo>
                  <a:lnTo>
                    <a:pt x="838" y="666"/>
                  </a:lnTo>
                  <a:lnTo>
                    <a:pt x="838" y="669"/>
                  </a:lnTo>
                  <a:lnTo>
                    <a:pt x="838" y="666"/>
                  </a:lnTo>
                  <a:lnTo>
                    <a:pt x="838" y="664"/>
                  </a:lnTo>
                  <a:lnTo>
                    <a:pt x="840" y="664"/>
                  </a:lnTo>
                  <a:lnTo>
                    <a:pt x="840" y="662"/>
                  </a:lnTo>
                  <a:lnTo>
                    <a:pt x="843" y="662"/>
                  </a:lnTo>
                  <a:lnTo>
                    <a:pt x="843" y="659"/>
                  </a:lnTo>
                  <a:lnTo>
                    <a:pt x="845" y="659"/>
                  </a:lnTo>
                  <a:lnTo>
                    <a:pt x="847" y="662"/>
                  </a:lnTo>
                  <a:lnTo>
                    <a:pt x="845" y="662"/>
                  </a:lnTo>
                  <a:lnTo>
                    <a:pt x="845" y="664"/>
                  </a:lnTo>
                  <a:lnTo>
                    <a:pt x="843" y="664"/>
                  </a:lnTo>
                  <a:close/>
                  <a:moveTo>
                    <a:pt x="826" y="652"/>
                  </a:moveTo>
                  <a:lnTo>
                    <a:pt x="829" y="652"/>
                  </a:lnTo>
                  <a:lnTo>
                    <a:pt x="831" y="655"/>
                  </a:lnTo>
                  <a:lnTo>
                    <a:pt x="831" y="657"/>
                  </a:lnTo>
                  <a:lnTo>
                    <a:pt x="831" y="655"/>
                  </a:lnTo>
                  <a:lnTo>
                    <a:pt x="833" y="655"/>
                  </a:lnTo>
                  <a:lnTo>
                    <a:pt x="833" y="657"/>
                  </a:lnTo>
                  <a:lnTo>
                    <a:pt x="833" y="659"/>
                  </a:lnTo>
                  <a:lnTo>
                    <a:pt x="833" y="662"/>
                  </a:lnTo>
                  <a:lnTo>
                    <a:pt x="831" y="662"/>
                  </a:lnTo>
                  <a:lnTo>
                    <a:pt x="831" y="664"/>
                  </a:lnTo>
                  <a:lnTo>
                    <a:pt x="833" y="664"/>
                  </a:lnTo>
                  <a:lnTo>
                    <a:pt x="833" y="666"/>
                  </a:lnTo>
                  <a:lnTo>
                    <a:pt x="833" y="664"/>
                  </a:lnTo>
                  <a:lnTo>
                    <a:pt x="833" y="666"/>
                  </a:lnTo>
                  <a:lnTo>
                    <a:pt x="836" y="666"/>
                  </a:lnTo>
                  <a:lnTo>
                    <a:pt x="836" y="669"/>
                  </a:lnTo>
                  <a:lnTo>
                    <a:pt x="836" y="671"/>
                  </a:lnTo>
                  <a:lnTo>
                    <a:pt x="838" y="671"/>
                  </a:lnTo>
                  <a:lnTo>
                    <a:pt x="838" y="673"/>
                  </a:lnTo>
                  <a:lnTo>
                    <a:pt x="836" y="673"/>
                  </a:lnTo>
                  <a:lnTo>
                    <a:pt x="838" y="673"/>
                  </a:lnTo>
                  <a:lnTo>
                    <a:pt x="838" y="676"/>
                  </a:lnTo>
                  <a:lnTo>
                    <a:pt x="838" y="678"/>
                  </a:lnTo>
                  <a:lnTo>
                    <a:pt x="838" y="680"/>
                  </a:lnTo>
                  <a:lnTo>
                    <a:pt x="836" y="680"/>
                  </a:lnTo>
                  <a:lnTo>
                    <a:pt x="836" y="682"/>
                  </a:lnTo>
                  <a:lnTo>
                    <a:pt x="838" y="680"/>
                  </a:lnTo>
                  <a:lnTo>
                    <a:pt x="838" y="682"/>
                  </a:lnTo>
                  <a:lnTo>
                    <a:pt x="838" y="685"/>
                  </a:lnTo>
                  <a:lnTo>
                    <a:pt x="838" y="687"/>
                  </a:lnTo>
                  <a:lnTo>
                    <a:pt x="838" y="689"/>
                  </a:lnTo>
                  <a:lnTo>
                    <a:pt x="838" y="687"/>
                  </a:lnTo>
                  <a:lnTo>
                    <a:pt x="836" y="685"/>
                  </a:lnTo>
                  <a:lnTo>
                    <a:pt x="836" y="682"/>
                  </a:lnTo>
                  <a:lnTo>
                    <a:pt x="833" y="682"/>
                  </a:lnTo>
                  <a:lnTo>
                    <a:pt x="833" y="685"/>
                  </a:lnTo>
                  <a:lnTo>
                    <a:pt x="831" y="685"/>
                  </a:lnTo>
                  <a:lnTo>
                    <a:pt x="829" y="685"/>
                  </a:lnTo>
                  <a:lnTo>
                    <a:pt x="829" y="687"/>
                  </a:lnTo>
                  <a:lnTo>
                    <a:pt x="831" y="687"/>
                  </a:lnTo>
                  <a:lnTo>
                    <a:pt x="831" y="685"/>
                  </a:lnTo>
                  <a:lnTo>
                    <a:pt x="833" y="685"/>
                  </a:lnTo>
                  <a:lnTo>
                    <a:pt x="836" y="685"/>
                  </a:lnTo>
                  <a:lnTo>
                    <a:pt x="836" y="687"/>
                  </a:lnTo>
                  <a:lnTo>
                    <a:pt x="836" y="689"/>
                  </a:lnTo>
                  <a:lnTo>
                    <a:pt x="836" y="687"/>
                  </a:lnTo>
                  <a:lnTo>
                    <a:pt x="836" y="689"/>
                  </a:lnTo>
                  <a:lnTo>
                    <a:pt x="833" y="689"/>
                  </a:lnTo>
                  <a:lnTo>
                    <a:pt x="833" y="687"/>
                  </a:lnTo>
                  <a:lnTo>
                    <a:pt x="833" y="689"/>
                  </a:lnTo>
                  <a:lnTo>
                    <a:pt x="831" y="689"/>
                  </a:lnTo>
                  <a:lnTo>
                    <a:pt x="833" y="689"/>
                  </a:lnTo>
                  <a:lnTo>
                    <a:pt x="836" y="689"/>
                  </a:lnTo>
                  <a:lnTo>
                    <a:pt x="836" y="692"/>
                  </a:lnTo>
                  <a:lnTo>
                    <a:pt x="838" y="692"/>
                  </a:lnTo>
                  <a:lnTo>
                    <a:pt x="838" y="694"/>
                  </a:lnTo>
                  <a:lnTo>
                    <a:pt x="838" y="696"/>
                  </a:lnTo>
                  <a:lnTo>
                    <a:pt x="836" y="696"/>
                  </a:lnTo>
                  <a:lnTo>
                    <a:pt x="836" y="694"/>
                  </a:lnTo>
                  <a:lnTo>
                    <a:pt x="833" y="694"/>
                  </a:lnTo>
                  <a:lnTo>
                    <a:pt x="833" y="696"/>
                  </a:lnTo>
                  <a:lnTo>
                    <a:pt x="836" y="696"/>
                  </a:lnTo>
                  <a:lnTo>
                    <a:pt x="838" y="696"/>
                  </a:lnTo>
                  <a:lnTo>
                    <a:pt x="838" y="699"/>
                  </a:lnTo>
                  <a:lnTo>
                    <a:pt x="838" y="701"/>
                  </a:lnTo>
                  <a:lnTo>
                    <a:pt x="836" y="701"/>
                  </a:lnTo>
                  <a:lnTo>
                    <a:pt x="838" y="701"/>
                  </a:lnTo>
                  <a:lnTo>
                    <a:pt x="836" y="701"/>
                  </a:lnTo>
                  <a:lnTo>
                    <a:pt x="833" y="701"/>
                  </a:lnTo>
                  <a:lnTo>
                    <a:pt x="833" y="703"/>
                  </a:lnTo>
                  <a:lnTo>
                    <a:pt x="831" y="703"/>
                  </a:lnTo>
                  <a:lnTo>
                    <a:pt x="833" y="703"/>
                  </a:lnTo>
                  <a:lnTo>
                    <a:pt x="836" y="703"/>
                  </a:lnTo>
                  <a:lnTo>
                    <a:pt x="836" y="706"/>
                  </a:lnTo>
                  <a:lnTo>
                    <a:pt x="833" y="708"/>
                  </a:lnTo>
                  <a:lnTo>
                    <a:pt x="833" y="710"/>
                  </a:lnTo>
                  <a:lnTo>
                    <a:pt x="831" y="710"/>
                  </a:lnTo>
                  <a:lnTo>
                    <a:pt x="833" y="710"/>
                  </a:lnTo>
                  <a:lnTo>
                    <a:pt x="831" y="710"/>
                  </a:lnTo>
                  <a:lnTo>
                    <a:pt x="831" y="713"/>
                  </a:lnTo>
                  <a:lnTo>
                    <a:pt x="829" y="713"/>
                  </a:lnTo>
                  <a:lnTo>
                    <a:pt x="829" y="710"/>
                  </a:lnTo>
                  <a:lnTo>
                    <a:pt x="826" y="710"/>
                  </a:lnTo>
                  <a:lnTo>
                    <a:pt x="826" y="708"/>
                  </a:lnTo>
                  <a:lnTo>
                    <a:pt x="829" y="708"/>
                  </a:lnTo>
                  <a:lnTo>
                    <a:pt x="826" y="708"/>
                  </a:lnTo>
                  <a:lnTo>
                    <a:pt x="829" y="708"/>
                  </a:lnTo>
                  <a:lnTo>
                    <a:pt x="829" y="706"/>
                  </a:lnTo>
                  <a:lnTo>
                    <a:pt x="829" y="703"/>
                  </a:lnTo>
                  <a:lnTo>
                    <a:pt x="826" y="703"/>
                  </a:lnTo>
                  <a:lnTo>
                    <a:pt x="829" y="703"/>
                  </a:lnTo>
                  <a:lnTo>
                    <a:pt x="829" y="701"/>
                  </a:lnTo>
                  <a:lnTo>
                    <a:pt x="826" y="703"/>
                  </a:lnTo>
                  <a:lnTo>
                    <a:pt x="826" y="701"/>
                  </a:lnTo>
                  <a:lnTo>
                    <a:pt x="824" y="701"/>
                  </a:lnTo>
                  <a:lnTo>
                    <a:pt x="826" y="701"/>
                  </a:lnTo>
                  <a:lnTo>
                    <a:pt x="826" y="699"/>
                  </a:lnTo>
                  <a:lnTo>
                    <a:pt x="829" y="699"/>
                  </a:lnTo>
                  <a:lnTo>
                    <a:pt x="826" y="699"/>
                  </a:lnTo>
                  <a:lnTo>
                    <a:pt x="829" y="696"/>
                  </a:lnTo>
                  <a:lnTo>
                    <a:pt x="826" y="696"/>
                  </a:lnTo>
                  <a:lnTo>
                    <a:pt x="826" y="699"/>
                  </a:lnTo>
                  <a:lnTo>
                    <a:pt x="826" y="696"/>
                  </a:lnTo>
                  <a:lnTo>
                    <a:pt x="829" y="694"/>
                  </a:lnTo>
                  <a:lnTo>
                    <a:pt x="826" y="694"/>
                  </a:lnTo>
                  <a:lnTo>
                    <a:pt x="826" y="692"/>
                  </a:lnTo>
                  <a:lnTo>
                    <a:pt x="826" y="694"/>
                  </a:lnTo>
                  <a:lnTo>
                    <a:pt x="824" y="694"/>
                  </a:lnTo>
                  <a:lnTo>
                    <a:pt x="824" y="692"/>
                  </a:lnTo>
                  <a:lnTo>
                    <a:pt x="824" y="689"/>
                  </a:lnTo>
                  <a:lnTo>
                    <a:pt x="824" y="692"/>
                  </a:lnTo>
                  <a:lnTo>
                    <a:pt x="822" y="692"/>
                  </a:lnTo>
                  <a:lnTo>
                    <a:pt x="819" y="689"/>
                  </a:lnTo>
                  <a:lnTo>
                    <a:pt x="822" y="689"/>
                  </a:lnTo>
                  <a:lnTo>
                    <a:pt x="824" y="689"/>
                  </a:lnTo>
                  <a:lnTo>
                    <a:pt x="822" y="689"/>
                  </a:lnTo>
                  <a:lnTo>
                    <a:pt x="819" y="687"/>
                  </a:lnTo>
                  <a:lnTo>
                    <a:pt x="817" y="687"/>
                  </a:lnTo>
                  <a:lnTo>
                    <a:pt x="819" y="685"/>
                  </a:lnTo>
                  <a:lnTo>
                    <a:pt x="817" y="685"/>
                  </a:lnTo>
                  <a:lnTo>
                    <a:pt x="819" y="685"/>
                  </a:lnTo>
                  <a:lnTo>
                    <a:pt x="819" y="682"/>
                  </a:lnTo>
                  <a:lnTo>
                    <a:pt x="819" y="685"/>
                  </a:lnTo>
                  <a:lnTo>
                    <a:pt x="822" y="685"/>
                  </a:lnTo>
                  <a:lnTo>
                    <a:pt x="824" y="687"/>
                  </a:lnTo>
                  <a:lnTo>
                    <a:pt x="826" y="687"/>
                  </a:lnTo>
                  <a:lnTo>
                    <a:pt x="824" y="687"/>
                  </a:lnTo>
                  <a:lnTo>
                    <a:pt x="824" y="685"/>
                  </a:lnTo>
                  <a:lnTo>
                    <a:pt x="822" y="685"/>
                  </a:lnTo>
                  <a:lnTo>
                    <a:pt x="824" y="685"/>
                  </a:lnTo>
                  <a:lnTo>
                    <a:pt x="824" y="682"/>
                  </a:lnTo>
                  <a:lnTo>
                    <a:pt x="822" y="682"/>
                  </a:lnTo>
                  <a:lnTo>
                    <a:pt x="824" y="682"/>
                  </a:lnTo>
                  <a:lnTo>
                    <a:pt x="822" y="682"/>
                  </a:lnTo>
                  <a:lnTo>
                    <a:pt x="822" y="680"/>
                  </a:lnTo>
                  <a:lnTo>
                    <a:pt x="824" y="680"/>
                  </a:lnTo>
                  <a:lnTo>
                    <a:pt x="824" y="678"/>
                  </a:lnTo>
                  <a:lnTo>
                    <a:pt x="826" y="678"/>
                  </a:lnTo>
                  <a:lnTo>
                    <a:pt x="829" y="678"/>
                  </a:lnTo>
                  <a:lnTo>
                    <a:pt x="826" y="678"/>
                  </a:lnTo>
                  <a:lnTo>
                    <a:pt x="822" y="678"/>
                  </a:lnTo>
                  <a:lnTo>
                    <a:pt x="819" y="676"/>
                  </a:lnTo>
                  <a:lnTo>
                    <a:pt x="819" y="673"/>
                  </a:lnTo>
                  <a:lnTo>
                    <a:pt x="822" y="673"/>
                  </a:lnTo>
                  <a:lnTo>
                    <a:pt x="822" y="671"/>
                  </a:lnTo>
                  <a:lnTo>
                    <a:pt x="822" y="673"/>
                  </a:lnTo>
                  <a:lnTo>
                    <a:pt x="822" y="671"/>
                  </a:lnTo>
                  <a:lnTo>
                    <a:pt x="824" y="671"/>
                  </a:lnTo>
                  <a:lnTo>
                    <a:pt x="824" y="673"/>
                  </a:lnTo>
                  <a:lnTo>
                    <a:pt x="824" y="671"/>
                  </a:lnTo>
                  <a:lnTo>
                    <a:pt x="826" y="671"/>
                  </a:lnTo>
                  <a:lnTo>
                    <a:pt x="826" y="669"/>
                  </a:lnTo>
                  <a:lnTo>
                    <a:pt x="826" y="666"/>
                  </a:lnTo>
                  <a:lnTo>
                    <a:pt x="826" y="664"/>
                  </a:lnTo>
                  <a:lnTo>
                    <a:pt x="829" y="664"/>
                  </a:lnTo>
                  <a:lnTo>
                    <a:pt x="829" y="662"/>
                  </a:lnTo>
                  <a:lnTo>
                    <a:pt x="829" y="659"/>
                  </a:lnTo>
                  <a:lnTo>
                    <a:pt x="826" y="659"/>
                  </a:lnTo>
                  <a:lnTo>
                    <a:pt x="826" y="657"/>
                  </a:lnTo>
                  <a:lnTo>
                    <a:pt x="824" y="657"/>
                  </a:lnTo>
                  <a:lnTo>
                    <a:pt x="824" y="655"/>
                  </a:lnTo>
                  <a:lnTo>
                    <a:pt x="824" y="652"/>
                  </a:lnTo>
                  <a:lnTo>
                    <a:pt x="826" y="652"/>
                  </a:lnTo>
                  <a:close/>
                  <a:moveTo>
                    <a:pt x="449" y="412"/>
                  </a:moveTo>
                  <a:lnTo>
                    <a:pt x="449" y="410"/>
                  </a:lnTo>
                  <a:lnTo>
                    <a:pt x="452" y="410"/>
                  </a:lnTo>
                  <a:lnTo>
                    <a:pt x="452" y="412"/>
                  </a:lnTo>
                  <a:lnTo>
                    <a:pt x="449" y="412"/>
                  </a:lnTo>
                  <a:close/>
                  <a:moveTo>
                    <a:pt x="843" y="657"/>
                  </a:moveTo>
                  <a:lnTo>
                    <a:pt x="843" y="659"/>
                  </a:lnTo>
                  <a:lnTo>
                    <a:pt x="840" y="662"/>
                  </a:lnTo>
                  <a:lnTo>
                    <a:pt x="838" y="662"/>
                  </a:lnTo>
                  <a:lnTo>
                    <a:pt x="838" y="659"/>
                  </a:lnTo>
                  <a:lnTo>
                    <a:pt x="836" y="657"/>
                  </a:lnTo>
                  <a:lnTo>
                    <a:pt x="836" y="655"/>
                  </a:lnTo>
                  <a:lnTo>
                    <a:pt x="838" y="655"/>
                  </a:lnTo>
                  <a:lnTo>
                    <a:pt x="840" y="655"/>
                  </a:lnTo>
                  <a:lnTo>
                    <a:pt x="843" y="655"/>
                  </a:lnTo>
                  <a:lnTo>
                    <a:pt x="843" y="657"/>
                  </a:lnTo>
                  <a:close/>
                  <a:moveTo>
                    <a:pt x="850" y="662"/>
                  </a:moveTo>
                  <a:lnTo>
                    <a:pt x="852" y="664"/>
                  </a:lnTo>
                  <a:lnTo>
                    <a:pt x="852" y="662"/>
                  </a:lnTo>
                  <a:lnTo>
                    <a:pt x="852" y="664"/>
                  </a:lnTo>
                  <a:lnTo>
                    <a:pt x="852" y="666"/>
                  </a:lnTo>
                  <a:lnTo>
                    <a:pt x="852" y="669"/>
                  </a:lnTo>
                  <a:lnTo>
                    <a:pt x="850" y="669"/>
                  </a:lnTo>
                  <a:lnTo>
                    <a:pt x="850" y="671"/>
                  </a:lnTo>
                  <a:lnTo>
                    <a:pt x="850" y="669"/>
                  </a:lnTo>
                  <a:lnTo>
                    <a:pt x="847" y="669"/>
                  </a:lnTo>
                  <a:lnTo>
                    <a:pt x="847" y="666"/>
                  </a:lnTo>
                  <a:lnTo>
                    <a:pt x="847" y="664"/>
                  </a:lnTo>
                  <a:lnTo>
                    <a:pt x="845" y="664"/>
                  </a:lnTo>
                  <a:lnTo>
                    <a:pt x="847" y="664"/>
                  </a:lnTo>
                  <a:lnTo>
                    <a:pt x="847" y="662"/>
                  </a:lnTo>
                  <a:lnTo>
                    <a:pt x="847" y="659"/>
                  </a:lnTo>
                  <a:lnTo>
                    <a:pt x="847" y="657"/>
                  </a:lnTo>
                  <a:lnTo>
                    <a:pt x="850" y="657"/>
                  </a:lnTo>
                  <a:lnTo>
                    <a:pt x="850" y="659"/>
                  </a:lnTo>
                  <a:lnTo>
                    <a:pt x="850" y="662"/>
                  </a:lnTo>
                  <a:close/>
                  <a:moveTo>
                    <a:pt x="510" y="452"/>
                  </a:moveTo>
                  <a:lnTo>
                    <a:pt x="508" y="452"/>
                  </a:lnTo>
                  <a:lnTo>
                    <a:pt x="508" y="450"/>
                  </a:lnTo>
                  <a:lnTo>
                    <a:pt x="510" y="450"/>
                  </a:lnTo>
                  <a:lnTo>
                    <a:pt x="512" y="452"/>
                  </a:lnTo>
                  <a:lnTo>
                    <a:pt x="510" y="452"/>
                  </a:lnTo>
                  <a:close/>
                  <a:moveTo>
                    <a:pt x="468" y="415"/>
                  </a:moveTo>
                  <a:lnTo>
                    <a:pt x="468" y="417"/>
                  </a:lnTo>
                  <a:lnTo>
                    <a:pt x="466" y="417"/>
                  </a:lnTo>
                  <a:lnTo>
                    <a:pt x="466" y="415"/>
                  </a:lnTo>
                  <a:lnTo>
                    <a:pt x="463" y="415"/>
                  </a:lnTo>
                  <a:lnTo>
                    <a:pt x="463" y="412"/>
                  </a:lnTo>
                  <a:lnTo>
                    <a:pt x="461" y="412"/>
                  </a:lnTo>
                  <a:lnTo>
                    <a:pt x="463" y="412"/>
                  </a:lnTo>
                  <a:lnTo>
                    <a:pt x="466" y="412"/>
                  </a:lnTo>
                  <a:lnTo>
                    <a:pt x="468" y="415"/>
                  </a:lnTo>
                  <a:close/>
                  <a:moveTo>
                    <a:pt x="505" y="443"/>
                  </a:moveTo>
                  <a:lnTo>
                    <a:pt x="505" y="445"/>
                  </a:lnTo>
                  <a:lnTo>
                    <a:pt x="503" y="445"/>
                  </a:lnTo>
                  <a:lnTo>
                    <a:pt x="503" y="443"/>
                  </a:lnTo>
                  <a:lnTo>
                    <a:pt x="503" y="445"/>
                  </a:lnTo>
                  <a:lnTo>
                    <a:pt x="501" y="445"/>
                  </a:lnTo>
                  <a:lnTo>
                    <a:pt x="498" y="445"/>
                  </a:lnTo>
                  <a:lnTo>
                    <a:pt x="496" y="445"/>
                  </a:lnTo>
                  <a:lnTo>
                    <a:pt x="496" y="443"/>
                  </a:lnTo>
                  <a:lnTo>
                    <a:pt x="498" y="443"/>
                  </a:lnTo>
                  <a:lnTo>
                    <a:pt x="503" y="443"/>
                  </a:lnTo>
                  <a:lnTo>
                    <a:pt x="505" y="443"/>
                  </a:lnTo>
                  <a:close/>
                  <a:moveTo>
                    <a:pt x="510" y="447"/>
                  </a:moveTo>
                  <a:lnTo>
                    <a:pt x="510" y="450"/>
                  </a:lnTo>
                  <a:lnTo>
                    <a:pt x="508" y="450"/>
                  </a:lnTo>
                  <a:lnTo>
                    <a:pt x="505" y="450"/>
                  </a:lnTo>
                  <a:lnTo>
                    <a:pt x="505" y="447"/>
                  </a:lnTo>
                  <a:lnTo>
                    <a:pt x="505" y="445"/>
                  </a:lnTo>
                  <a:lnTo>
                    <a:pt x="508" y="445"/>
                  </a:lnTo>
                  <a:lnTo>
                    <a:pt x="508" y="447"/>
                  </a:lnTo>
                  <a:lnTo>
                    <a:pt x="510" y="447"/>
                  </a:lnTo>
                  <a:close/>
                  <a:moveTo>
                    <a:pt x="300" y="252"/>
                  </a:moveTo>
                  <a:lnTo>
                    <a:pt x="303" y="252"/>
                  </a:lnTo>
                  <a:lnTo>
                    <a:pt x="303" y="254"/>
                  </a:lnTo>
                  <a:lnTo>
                    <a:pt x="305" y="254"/>
                  </a:lnTo>
                  <a:lnTo>
                    <a:pt x="303" y="254"/>
                  </a:lnTo>
                  <a:lnTo>
                    <a:pt x="300" y="254"/>
                  </a:lnTo>
                  <a:lnTo>
                    <a:pt x="300" y="252"/>
                  </a:lnTo>
                  <a:lnTo>
                    <a:pt x="300" y="249"/>
                  </a:lnTo>
                  <a:lnTo>
                    <a:pt x="300" y="252"/>
                  </a:lnTo>
                  <a:close/>
                  <a:moveTo>
                    <a:pt x="845" y="643"/>
                  </a:moveTo>
                  <a:lnTo>
                    <a:pt x="845" y="645"/>
                  </a:lnTo>
                  <a:lnTo>
                    <a:pt x="845" y="648"/>
                  </a:lnTo>
                  <a:lnTo>
                    <a:pt x="847" y="648"/>
                  </a:lnTo>
                  <a:lnTo>
                    <a:pt x="847" y="650"/>
                  </a:lnTo>
                  <a:lnTo>
                    <a:pt x="847" y="652"/>
                  </a:lnTo>
                  <a:lnTo>
                    <a:pt x="845" y="652"/>
                  </a:lnTo>
                  <a:lnTo>
                    <a:pt x="843" y="652"/>
                  </a:lnTo>
                  <a:lnTo>
                    <a:pt x="840" y="652"/>
                  </a:lnTo>
                  <a:lnTo>
                    <a:pt x="840" y="650"/>
                  </a:lnTo>
                  <a:lnTo>
                    <a:pt x="840" y="648"/>
                  </a:lnTo>
                  <a:lnTo>
                    <a:pt x="843" y="648"/>
                  </a:lnTo>
                  <a:lnTo>
                    <a:pt x="843" y="645"/>
                  </a:lnTo>
                  <a:lnTo>
                    <a:pt x="843" y="643"/>
                  </a:lnTo>
                  <a:lnTo>
                    <a:pt x="845" y="643"/>
                  </a:lnTo>
                  <a:close/>
                  <a:moveTo>
                    <a:pt x="826" y="634"/>
                  </a:moveTo>
                  <a:lnTo>
                    <a:pt x="826" y="636"/>
                  </a:lnTo>
                  <a:lnTo>
                    <a:pt x="826" y="638"/>
                  </a:lnTo>
                  <a:lnTo>
                    <a:pt x="824" y="638"/>
                  </a:lnTo>
                  <a:lnTo>
                    <a:pt x="824" y="641"/>
                  </a:lnTo>
                  <a:lnTo>
                    <a:pt x="824" y="638"/>
                  </a:lnTo>
                  <a:lnTo>
                    <a:pt x="826" y="638"/>
                  </a:lnTo>
                  <a:lnTo>
                    <a:pt x="829" y="636"/>
                  </a:lnTo>
                  <a:lnTo>
                    <a:pt x="831" y="638"/>
                  </a:lnTo>
                  <a:lnTo>
                    <a:pt x="829" y="641"/>
                  </a:lnTo>
                  <a:lnTo>
                    <a:pt x="829" y="643"/>
                  </a:lnTo>
                  <a:lnTo>
                    <a:pt x="826" y="643"/>
                  </a:lnTo>
                  <a:lnTo>
                    <a:pt x="824" y="641"/>
                  </a:lnTo>
                  <a:lnTo>
                    <a:pt x="824" y="643"/>
                  </a:lnTo>
                  <a:lnTo>
                    <a:pt x="824" y="645"/>
                  </a:lnTo>
                  <a:lnTo>
                    <a:pt x="824" y="648"/>
                  </a:lnTo>
                  <a:lnTo>
                    <a:pt x="822" y="645"/>
                  </a:lnTo>
                  <a:lnTo>
                    <a:pt x="822" y="648"/>
                  </a:lnTo>
                  <a:lnTo>
                    <a:pt x="822" y="650"/>
                  </a:lnTo>
                  <a:lnTo>
                    <a:pt x="822" y="652"/>
                  </a:lnTo>
                  <a:lnTo>
                    <a:pt x="819" y="650"/>
                  </a:lnTo>
                  <a:lnTo>
                    <a:pt x="819" y="648"/>
                  </a:lnTo>
                  <a:lnTo>
                    <a:pt x="819" y="650"/>
                  </a:lnTo>
                  <a:lnTo>
                    <a:pt x="819" y="652"/>
                  </a:lnTo>
                  <a:lnTo>
                    <a:pt x="819" y="655"/>
                  </a:lnTo>
                  <a:lnTo>
                    <a:pt x="817" y="655"/>
                  </a:lnTo>
                  <a:lnTo>
                    <a:pt x="817" y="657"/>
                  </a:lnTo>
                  <a:lnTo>
                    <a:pt x="815" y="657"/>
                  </a:lnTo>
                  <a:lnTo>
                    <a:pt x="815" y="655"/>
                  </a:lnTo>
                  <a:lnTo>
                    <a:pt x="817" y="652"/>
                  </a:lnTo>
                  <a:lnTo>
                    <a:pt x="817" y="650"/>
                  </a:lnTo>
                  <a:lnTo>
                    <a:pt x="819" y="650"/>
                  </a:lnTo>
                  <a:lnTo>
                    <a:pt x="817" y="650"/>
                  </a:lnTo>
                  <a:lnTo>
                    <a:pt x="815" y="652"/>
                  </a:lnTo>
                  <a:lnTo>
                    <a:pt x="815" y="655"/>
                  </a:lnTo>
                  <a:lnTo>
                    <a:pt x="815" y="652"/>
                  </a:lnTo>
                  <a:lnTo>
                    <a:pt x="815" y="655"/>
                  </a:lnTo>
                  <a:lnTo>
                    <a:pt x="812" y="657"/>
                  </a:lnTo>
                  <a:lnTo>
                    <a:pt x="812" y="655"/>
                  </a:lnTo>
                  <a:lnTo>
                    <a:pt x="812" y="652"/>
                  </a:lnTo>
                  <a:lnTo>
                    <a:pt x="812" y="650"/>
                  </a:lnTo>
                  <a:lnTo>
                    <a:pt x="815" y="650"/>
                  </a:lnTo>
                  <a:lnTo>
                    <a:pt x="815" y="648"/>
                  </a:lnTo>
                  <a:lnTo>
                    <a:pt x="815" y="650"/>
                  </a:lnTo>
                  <a:lnTo>
                    <a:pt x="815" y="648"/>
                  </a:lnTo>
                  <a:lnTo>
                    <a:pt x="817" y="648"/>
                  </a:lnTo>
                  <a:lnTo>
                    <a:pt x="815" y="648"/>
                  </a:lnTo>
                  <a:lnTo>
                    <a:pt x="815" y="645"/>
                  </a:lnTo>
                  <a:lnTo>
                    <a:pt x="817" y="645"/>
                  </a:lnTo>
                  <a:lnTo>
                    <a:pt x="817" y="648"/>
                  </a:lnTo>
                  <a:lnTo>
                    <a:pt x="817" y="645"/>
                  </a:lnTo>
                  <a:lnTo>
                    <a:pt x="819" y="645"/>
                  </a:lnTo>
                  <a:lnTo>
                    <a:pt x="819" y="648"/>
                  </a:lnTo>
                  <a:lnTo>
                    <a:pt x="819" y="645"/>
                  </a:lnTo>
                  <a:lnTo>
                    <a:pt x="819" y="643"/>
                  </a:lnTo>
                  <a:lnTo>
                    <a:pt x="822" y="645"/>
                  </a:lnTo>
                  <a:lnTo>
                    <a:pt x="822" y="643"/>
                  </a:lnTo>
                  <a:lnTo>
                    <a:pt x="822" y="641"/>
                  </a:lnTo>
                  <a:lnTo>
                    <a:pt x="819" y="643"/>
                  </a:lnTo>
                  <a:lnTo>
                    <a:pt x="819" y="641"/>
                  </a:lnTo>
                  <a:lnTo>
                    <a:pt x="817" y="641"/>
                  </a:lnTo>
                  <a:lnTo>
                    <a:pt x="817" y="638"/>
                  </a:lnTo>
                  <a:lnTo>
                    <a:pt x="819" y="638"/>
                  </a:lnTo>
                  <a:lnTo>
                    <a:pt x="822" y="638"/>
                  </a:lnTo>
                  <a:lnTo>
                    <a:pt x="819" y="638"/>
                  </a:lnTo>
                  <a:lnTo>
                    <a:pt x="819" y="636"/>
                  </a:lnTo>
                  <a:lnTo>
                    <a:pt x="819" y="638"/>
                  </a:lnTo>
                  <a:lnTo>
                    <a:pt x="819" y="636"/>
                  </a:lnTo>
                  <a:lnTo>
                    <a:pt x="822" y="636"/>
                  </a:lnTo>
                  <a:lnTo>
                    <a:pt x="819" y="636"/>
                  </a:lnTo>
                  <a:lnTo>
                    <a:pt x="817" y="636"/>
                  </a:lnTo>
                  <a:lnTo>
                    <a:pt x="817" y="634"/>
                  </a:lnTo>
                  <a:lnTo>
                    <a:pt x="819" y="634"/>
                  </a:lnTo>
                  <a:lnTo>
                    <a:pt x="819" y="631"/>
                  </a:lnTo>
                  <a:lnTo>
                    <a:pt x="819" y="629"/>
                  </a:lnTo>
                  <a:lnTo>
                    <a:pt x="822" y="629"/>
                  </a:lnTo>
                  <a:lnTo>
                    <a:pt x="822" y="631"/>
                  </a:lnTo>
                  <a:lnTo>
                    <a:pt x="822" y="634"/>
                  </a:lnTo>
                  <a:lnTo>
                    <a:pt x="822" y="631"/>
                  </a:lnTo>
                  <a:lnTo>
                    <a:pt x="822" y="629"/>
                  </a:lnTo>
                  <a:lnTo>
                    <a:pt x="824" y="629"/>
                  </a:lnTo>
                  <a:lnTo>
                    <a:pt x="824" y="631"/>
                  </a:lnTo>
                  <a:lnTo>
                    <a:pt x="824" y="629"/>
                  </a:lnTo>
                  <a:lnTo>
                    <a:pt x="826" y="631"/>
                  </a:lnTo>
                  <a:lnTo>
                    <a:pt x="826" y="634"/>
                  </a:lnTo>
                  <a:close/>
                  <a:moveTo>
                    <a:pt x="833" y="629"/>
                  </a:moveTo>
                  <a:lnTo>
                    <a:pt x="836" y="629"/>
                  </a:lnTo>
                  <a:lnTo>
                    <a:pt x="836" y="631"/>
                  </a:lnTo>
                  <a:lnTo>
                    <a:pt x="838" y="631"/>
                  </a:lnTo>
                  <a:lnTo>
                    <a:pt x="838" y="634"/>
                  </a:lnTo>
                  <a:lnTo>
                    <a:pt x="840" y="634"/>
                  </a:lnTo>
                  <a:lnTo>
                    <a:pt x="840" y="636"/>
                  </a:lnTo>
                  <a:lnTo>
                    <a:pt x="840" y="634"/>
                  </a:lnTo>
                  <a:lnTo>
                    <a:pt x="843" y="636"/>
                  </a:lnTo>
                  <a:lnTo>
                    <a:pt x="845" y="636"/>
                  </a:lnTo>
                  <a:lnTo>
                    <a:pt x="845" y="638"/>
                  </a:lnTo>
                  <a:lnTo>
                    <a:pt x="845" y="641"/>
                  </a:lnTo>
                  <a:lnTo>
                    <a:pt x="843" y="641"/>
                  </a:lnTo>
                  <a:lnTo>
                    <a:pt x="843" y="643"/>
                  </a:lnTo>
                  <a:lnTo>
                    <a:pt x="843" y="645"/>
                  </a:lnTo>
                  <a:lnTo>
                    <a:pt x="843" y="648"/>
                  </a:lnTo>
                  <a:lnTo>
                    <a:pt x="840" y="648"/>
                  </a:lnTo>
                  <a:lnTo>
                    <a:pt x="838" y="648"/>
                  </a:lnTo>
                  <a:lnTo>
                    <a:pt x="838" y="645"/>
                  </a:lnTo>
                  <a:lnTo>
                    <a:pt x="838" y="643"/>
                  </a:lnTo>
                  <a:lnTo>
                    <a:pt x="838" y="641"/>
                  </a:lnTo>
                  <a:lnTo>
                    <a:pt x="838" y="638"/>
                  </a:lnTo>
                  <a:lnTo>
                    <a:pt x="838" y="641"/>
                  </a:lnTo>
                  <a:lnTo>
                    <a:pt x="836" y="641"/>
                  </a:lnTo>
                  <a:lnTo>
                    <a:pt x="836" y="643"/>
                  </a:lnTo>
                  <a:lnTo>
                    <a:pt x="838" y="643"/>
                  </a:lnTo>
                  <a:lnTo>
                    <a:pt x="838" y="645"/>
                  </a:lnTo>
                  <a:lnTo>
                    <a:pt x="836" y="645"/>
                  </a:lnTo>
                  <a:lnTo>
                    <a:pt x="838" y="645"/>
                  </a:lnTo>
                  <a:lnTo>
                    <a:pt x="838" y="648"/>
                  </a:lnTo>
                  <a:lnTo>
                    <a:pt x="838" y="650"/>
                  </a:lnTo>
                  <a:lnTo>
                    <a:pt x="836" y="650"/>
                  </a:lnTo>
                  <a:lnTo>
                    <a:pt x="836" y="652"/>
                  </a:lnTo>
                  <a:lnTo>
                    <a:pt x="833" y="652"/>
                  </a:lnTo>
                  <a:lnTo>
                    <a:pt x="833" y="650"/>
                  </a:lnTo>
                  <a:lnTo>
                    <a:pt x="831" y="650"/>
                  </a:lnTo>
                  <a:lnTo>
                    <a:pt x="831" y="648"/>
                  </a:lnTo>
                  <a:lnTo>
                    <a:pt x="831" y="650"/>
                  </a:lnTo>
                  <a:lnTo>
                    <a:pt x="829" y="650"/>
                  </a:lnTo>
                  <a:lnTo>
                    <a:pt x="826" y="648"/>
                  </a:lnTo>
                  <a:lnTo>
                    <a:pt x="829" y="645"/>
                  </a:lnTo>
                  <a:lnTo>
                    <a:pt x="829" y="643"/>
                  </a:lnTo>
                  <a:lnTo>
                    <a:pt x="829" y="641"/>
                  </a:lnTo>
                  <a:lnTo>
                    <a:pt x="831" y="638"/>
                  </a:lnTo>
                  <a:lnTo>
                    <a:pt x="831" y="636"/>
                  </a:lnTo>
                  <a:lnTo>
                    <a:pt x="831" y="638"/>
                  </a:lnTo>
                  <a:lnTo>
                    <a:pt x="831" y="636"/>
                  </a:lnTo>
                  <a:lnTo>
                    <a:pt x="829" y="636"/>
                  </a:lnTo>
                  <a:lnTo>
                    <a:pt x="831" y="636"/>
                  </a:lnTo>
                  <a:lnTo>
                    <a:pt x="829" y="636"/>
                  </a:lnTo>
                  <a:lnTo>
                    <a:pt x="829" y="634"/>
                  </a:lnTo>
                  <a:lnTo>
                    <a:pt x="831" y="634"/>
                  </a:lnTo>
                  <a:lnTo>
                    <a:pt x="831" y="631"/>
                  </a:lnTo>
                  <a:lnTo>
                    <a:pt x="829" y="631"/>
                  </a:lnTo>
                  <a:lnTo>
                    <a:pt x="829" y="629"/>
                  </a:lnTo>
                  <a:lnTo>
                    <a:pt x="829" y="627"/>
                  </a:lnTo>
                  <a:lnTo>
                    <a:pt x="831" y="627"/>
                  </a:lnTo>
                  <a:lnTo>
                    <a:pt x="833" y="629"/>
                  </a:lnTo>
                  <a:close/>
                  <a:moveTo>
                    <a:pt x="536" y="443"/>
                  </a:moveTo>
                  <a:lnTo>
                    <a:pt x="533" y="443"/>
                  </a:lnTo>
                  <a:lnTo>
                    <a:pt x="536" y="443"/>
                  </a:lnTo>
                  <a:lnTo>
                    <a:pt x="536" y="445"/>
                  </a:lnTo>
                  <a:lnTo>
                    <a:pt x="538" y="445"/>
                  </a:lnTo>
                  <a:lnTo>
                    <a:pt x="538" y="447"/>
                  </a:lnTo>
                  <a:lnTo>
                    <a:pt x="536" y="447"/>
                  </a:lnTo>
                  <a:lnTo>
                    <a:pt x="536" y="445"/>
                  </a:lnTo>
                  <a:lnTo>
                    <a:pt x="533" y="445"/>
                  </a:lnTo>
                  <a:lnTo>
                    <a:pt x="531" y="445"/>
                  </a:lnTo>
                  <a:lnTo>
                    <a:pt x="531" y="447"/>
                  </a:lnTo>
                  <a:lnTo>
                    <a:pt x="529" y="447"/>
                  </a:lnTo>
                  <a:lnTo>
                    <a:pt x="529" y="445"/>
                  </a:lnTo>
                  <a:lnTo>
                    <a:pt x="531" y="445"/>
                  </a:lnTo>
                  <a:lnTo>
                    <a:pt x="529" y="445"/>
                  </a:lnTo>
                  <a:lnTo>
                    <a:pt x="529" y="443"/>
                  </a:lnTo>
                  <a:lnTo>
                    <a:pt x="531" y="443"/>
                  </a:lnTo>
                  <a:lnTo>
                    <a:pt x="533" y="443"/>
                  </a:lnTo>
                  <a:lnTo>
                    <a:pt x="533" y="440"/>
                  </a:lnTo>
                  <a:lnTo>
                    <a:pt x="536" y="443"/>
                  </a:lnTo>
                  <a:lnTo>
                    <a:pt x="533" y="443"/>
                  </a:lnTo>
                  <a:lnTo>
                    <a:pt x="536" y="443"/>
                  </a:lnTo>
                  <a:close/>
                  <a:moveTo>
                    <a:pt x="312" y="231"/>
                  </a:moveTo>
                  <a:lnTo>
                    <a:pt x="312" y="233"/>
                  </a:lnTo>
                  <a:lnTo>
                    <a:pt x="310" y="233"/>
                  </a:lnTo>
                  <a:lnTo>
                    <a:pt x="307" y="233"/>
                  </a:lnTo>
                  <a:lnTo>
                    <a:pt x="307" y="231"/>
                  </a:lnTo>
                  <a:lnTo>
                    <a:pt x="307" y="229"/>
                  </a:lnTo>
                  <a:lnTo>
                    <a:pt x="310" y="229"/>
                  </a:lnTo>
                  <a:lnTo>
                    <a:pt x="310" y="231"/>
                  </a:lnTo>
                  <a:lnTo>
                    <a:pt x="312" y="231"/>
                  </a:lnTo>
                  <a:close/>
                  <a:moveTo>
                    <a:pt x="805" y="608"/>
                  </a:moveTo>
                  <a:lnTo>
                    <a:pt x="805" y="610"/>
                  </a:lnTo>
                  <a:lnTo>
                    <a:pt x="805" y="608"/>
                  </a:lnTo>
                  <a:lnTo>
                    <a:pt x="805" y="610"/>
                  </a:lnTo>
                  <a:lnTo>
                    <a:pt x="805" y="613"/>
                  </a:lnTo>
                  <a:lnTo>
                    <a:pt x="803" y="615"/>
                  </a:lnTo>
                  <a:lnTo>
                    <a:pt x="801" y="615"/>
                  </a:lnTo>
                  <a:lnTo>
                    <a:pt x="798" y="615"/>
                  </a:lnTo>
                  <a:lnTo>
                    <a:pt x="798" y="613"/>
                  </a:lnTo>
                  <a:lnTo>
                    <a:pt x="801" y="613"/>
                  </a:lnTo>
                  <a:lnTo>
                    <a:pt x="801" y="610"/>
                  </a:lnTo>
                  <a:lnTo>
                    <a:pt x="803" y="610"/>
                  </a:lnTo>
                  <a:lnTo>
                    <a:pt x="801" y="610"/>
                  </a:lnTo>
                  <a:lnTo>
                    <a:pt x="801" y="608"/>
                  </a:lnTo>
                  <a:lnTo>
                    <a:pt x="803" y="608"/>
                  </a:lnTo>
                  <a:lnTo>
                    <a:pt x="801" y="608"/>
                  </a:lnTo>
                  <a:lnTo>
                    <a:pt x="803" y="606"/>
                  </a:lnTo>
                  <a:lnTo>
                    <a:pt x="803" y="603"/>
                  </a:lnTo>
                  <a:lnTo>
                    <a:pt x="805" y="606"/>
                  </a:lnTo>
                  <a:lnTo>
                    <a:pt x="805" y="608"/>
                  </a:lnTo>
                  <a:close/>
                  <a:moveTo>
                    <a:pt x="531" y="429"/>
                  </a:moveTo>
                  <a:lnTo>
                    <a:pt x="531" y="426"/>
                  </a:lnTo>
                  <a:lnTo>
                    <a:pt x="533" y="426"/>
                  </a:lnTo>
                  <a:lnTo>
                    <a:pt x="531" y="426"/>
                  </a:lnTo>
                  <a:lnTo>
                    <a:pt x="531" y="429"/>
                  </a:lnTo>
                  <a:close/>
                  <a:moveTo>
                    <a:pt x="812" y="603"/>
                  </a:moveTo>
                  <a:lnTo>
                    <a:pt x="815" y="603"/>
                  </a:lnTo>
                  <a:lnTo>
                    <a:pt x="815" y="606"/>
                  </a:lnTo>
                  <a:lnTo>
                    <a:pt x="817" y="606"/>
                  </a:lnTo>
                  <a:lnTo>
                    <a:pt x="815" y="606"/>
                  </a:lnTo>
                  <a:lnTo>
                    <a:pt x="817" y="606"/>
                  </a:lnTo>
                  <a:lnTo>
                    <a:pt x="817" y="608"/>
                  </a:lnTo>
                  <a:lnTo>
                    <a:pt x="819" y="610"/>
                  </a:lnTo>
                  <a:lnTo>
                    <a:pt x="819" y="613"/>
                  </a:lnTo>
                  <a:lnTo>
                    <a:pt x="817" y="610"/>
                  </a:lnTo>
                  <a:lnTo>
                    <a:pt x="817" y="613"/>
                  </a:lnTo>
                  <a:lnTo>
                    <a:pt x="817" y="615"/>
                  </a:lnTo>
                  <a:lnTo>
                    <a:pt x="819" y="615"/>
                  </a:lnTo>
                  <a:lnTo>
                    <a:pt x="817" y="615"/>
                  </a:lnTo>
                  <a:lnTo>
                    <a:pt x="817" y="617"/>
                  </a:lnTo>
                  <a:lnTo>
                    <a:pt x="817" y="620"/>
                  </a:lnTo>
                  <a:lnTo>
                    <a:pt x="817" y="622"/>
                  </a:lnTo>
                  <a:lnTo>
                    <a:pt x="817" y="624"/>
                  </a:lnTo>
                  <a:lnTo>
                    <a:pt x="815" y="624"/>
                  </a:lnTo>
                  <a:lnTo>
                    <a:pt x="815" y="627"/>
                  </a:lnTo>
                  <a:lnTo>
                    <a:pt x="815" y="629"/>
                  </a:lnTo>
                  <a:lnTo>
                    <a:pt x="815" y="631"/>
                  </a:lnTo>
                  <a:lnTo>
                    <a:pt x="812" y="636"/>
                  </a:lnTo>
                  <a:lnTo>
                    <a:pt x="812" y="638"/>
                  </a:lnTo>
                  <a:lnTo>
                    <a:pt x="812" y="636"/>
                  </a:lnTo>
                  <a:lnTo>
                    <a:pt x="810" y="638"/>
                  </a:lnTo>
                  <a:lnTo>
                    <a:pt x="810" y="641"/>
                  </a:lnTo>
                  <a:lnTo>
                    <a:pt x="810" y="643"/>
                  </a:lnTo>
                  <a:lnTo>
                    <a:pt x="808" y="643"/>
                  </a:lnTo>
                  <a:lnTo>
                    <a:pt x="808" y="645"/>
                  </a:lnTo>
                  <a:lnTo>
                    <a:pt x="808" y="648"/>
                  </a:lnTo>
                  <a:lnTo>
                    <a:pt x="805" y="648"/>
                  </a:lnTo>
                  <a:lnTo>
                    <a:pt x="805" y="645"/>
                  </a:lnTo>
                  <a:lnTo>
                    <a:pt x="805" y="648"/>
                  </a:lnTo>
                  <a:lnTo>
                    <a:pt x="805" y="645"/>
                  </a:lnTo>
                  <a:lnTo>
                    <a:pt x="805" y="643"/>
                  </a:lnTo>
                  <a:lnTo>
                    <a:pt x="805" y="641"/>
                  </a:lnTo>
                  <a:lnTo>
                    <a:pt x="805" y="638"/>
                  </a:lnTo>
                  <a:lnTo>
                    <a:pt x="805" y="636"/>
                  </a:lnTo>
                  <a:lnTo>
                    <a:pt x="805" y="634"/>
                  </a:lnTo>
                  <a:lnTo>
                    <a:pt x="808" y="634"/>
                  </a:lnTo>
                  <a:lnTo>
                    <a:pt x="808" y="631"/>
                  </a:lnTo>
                  <a:lnTo>
                    <a:pt x="810" y="631"/>
                  </a:lnTo>
                  <a:lnTo>
                    <a:pt x="808" y="631"/>
                  </a:lnTo>
                  <a:lnTo>
                    <a:pt x="808" y="629"/>
                  </a:lnTo>
                  <a:lnTo>
                    <a:pt x="810" y="629"/>
                  </a:lnTo>
                  <a:lnTo>
                    <a:pt x="808" y="629"/>
                  </a:lnTo>
                  <a:lnTo>
                    <a:pt x="808" y="631"/>
                  </a:lnTo>
                  <a:lnTo>
                    <a:pt x="805" y="631"/>
                  </a:lnTo>
                  <a:lnTo>
                    <a:pt x="805" y="629"/>
                  </a:lnTo>
                  <a:lnTo>
                    <a:pt x="808" y="629"/>
                  </a:lnTo>
                  <a:lnTo>
                    <a:pt x="808" y="627"/>
                  </a:lnTo>
                  <a:lnTo>
                    <a:pt x="805" y="629"/>
                  </a:lnTo>
                  <a:lnTo>
                    <a:pt x="805" y="627"/>
                  </a:lnTo>
                  <a:lnTo>
                    <a:pt x="808" y="627"/>
                  </a:lnTo>
                  <a:lnTo>
                    <a:pt x="808" y="624"/>
                  </a:lnTo>
                  <a:lnTo>
                    <a:pt x="805" y="624"/>
                  </a:lnTo>
                  <a:lnTo>
                    <a:pt x="803" y="624"/>
                  </a:lnTo>
                  <a:lnTo>
                    <a:pt x="805" y="624"/>
                  </a:lnTo>
                  <a:lnTo>
                    <a:pt x="803" y="624"/>
                  </a:lnTo>
                  <a:lnTo>
                    <a:pt x="803" y="622"/>
                  </a:lnTo>
                  <a:lnTo>
                    <a:pt x="805" y="622"/>
                  </a:lnTo>
                  <a:lnTo>
                    <a:pt x="805" y="620"/>
                  </a:lnTo>
                  <a:lnTo>
                    <a:pt x="808" y="620"/>
                  </a:lnTo>
                  <a:lnTo>
                    <a:pt x="810" y="620"/>
                  </a:lnTo>
                  <a:lnTo>
                    <a:pt x="810" y="617"/>
                  </a:lnTo>
                  <a:lnTo>
                    <a:pt x="808" y="617"/>
                  </a:lnTo>
                  <a:lnTo>
                    <a:pt x="808" y="615"/>
                  </a:lnTo>
                  <a:lnTo>
                    <a:pt x="808" y="613"/>
                  </a:lnTo>
                  <a:lnTo>
                    <a:pt x="810" y="613"/>
                  </a:lnTo>
                  <a:lnTo>
                    <a:pt x="810" y="615"/>
                  </a:lnTo>
                  <a:lnTo>
                    <a:pt x="810" y="613"/>
                  </a:lnTo>
                  <a:lnTo>
                    <a:pt x="808" y="613"/>
                  </a:lnTo>
                  <a:lnTo>
                    <a:pt x="810" y="613"/>
                  </a:lnTo>
                  <a:lnTo>
                    <a:pt x="810" y="610"/>
                  </a:lnTo>
                  <a:lnTo>
                    <a:pt x="808" y="610"/>
                  </a:lnTo>
                  <a:lnTo>
                    <a:pt x="808" y="608"/>
                  </a:lnTo>
                  <a:lnTo>
                    <a:pt x="805" y="606"/>
                  </a:lnTo>
                  <a:lnTo>
                    <a:pt x="808" y="606"/>
                  </a:lnTo>
                  <a:lnTo>
                    <a:pt x="810" y="606"/>
                  </a:lnTo>
                  <a:lnTo>
                    <a:pt x="808" y="606"/>
                  </a:lnTo>
                  <a:lnTo>
                    <a:pt x="808" y="603"/>
                  </a:lnTo>
                  <a:lnTo>
                    <a:pt x="810" y="603"/>
                  </a:lnTo>
                  <a:lnTo>
                    <a:pt x="810" y="601"/>
                  </a:lnTo>
                  <a:lnTo>
                    <a:pt x="812" y="601"/>
                  </a:lnTo>
                  <a:lnTo>
                    <a:pt x="815" y="601"/>
                  </a:lnTo>
                  <a:lnTo>
                    <a:pt x="815" y="603"/>
                  </a:lnTo>
                  <a:lnTo>
                    <a:pt x="812" y="603"/>
                  </a:lnTo>
                  <a:close/>
                  <a:moveTo>
                    <a:pt x="561" y="431"/>
                  </a:moveTo>
                  <a:lnTo>
                    <a:pt x="561" y="433"/>
                  </a:lnTo>
                  <a:lnTo>
                    <a:pt x="559" y="431"/>
                  </a:lnTo>
                  <a:lnTo>
                    <a:pt x="561" y="431"/>
                  </a:lnTo>
                  <a:lnTo>
                    <a:pt x="561" y="429"/>
                  </a:lnTo>
                  <a:lnTo>
                    <a:pt x="561" y="431"/>
                  </a:lnTo>
                  <a:close/>
                  <a:moveTo>
                    <a:pt x="547" y="424"/>
                  </a:moveTo>
                  <a:lnTo>
                    <a:pt x="547" y="426"/>
                  </a:lnTo>
                  <a:lnTo>
                    <a:pt x="547" y="424"/>
                  </a:lnTo>
                  <a:lnTo>
                    <a:pt x="545" y="424"/>
                  </a:lnTo>
                  <a:lnTo>
                    <a:pt x="547" y="424"/>
                  </a:lnTo>
                  <a:lnTo>
                    <a:pt x="545" y="422"/>
                  </a:lnTo>
                  <a:lnTo>
                    <a:pt x="545" y="419"/>
                  </a:lnTo>
                  <a:lnTo>
                    <a:pt x="547" y="419"/>
                  </a:lnTo>
                  <a:lnTo>
                    <a:pt x="547" y="422"/>
                  </a:lnTo>
                  <a:lnTo>
                    <a:pt x="547" y="424"/>
                  </a:lnTo>
                  <a:close/>
                  <a:moveTo>
                    <a:pt x="556" y="426"/>
                  </a:moveTo>
                  <a:lnTo>
                    <a:pt x="554" y="426"/>
                  </a:lnTo>
                  <a:lnTo>
                    <a:pt x="556" y="426"/>
                  </a:lnTo>
                  <a:close/>
                  <a:moveTo>
                    <a:pt x="552" y="424"/>
                  </a:moveTo>
                  <a:lnTo>
                    <a:pt x="554" y="424"/>
                  </a:lnTo>
                  <a:lnTo>
                    <a:pt x="554" y="426"/>
                  </a:lnTo>
                  <a:lnTo>
                    <a:pt x="554" y="429"/>
                  </a:lnTo>
                  <a:lnTo>
                    <a:pt x="554" y="426"/>
                  </a:lnTo>
                  <a:lnTo>
                    <a:pt x="552" y="429"/>
                  </a:lnTo>
                  <a:lnTo>
                    <a:pt x="554" y="429"/>
                  </a:lnTo>
                  <a:lnTo>
                    <a:pt x="552" y="429"/>
                  </a:lnTo>
                  <a:lnTo>
                    <a:pt x="549" y="431"/>
                  </a:lnTo>
                  <a:lnTo>
                    <a:pt x="552" y="431"/>
                  </a:lnTo>
                  <a:lnTo>
                    <a:pt x="552" y="429"/>
                  </a:lnTo>
                  <a:lnTo>
                    <a:pt x="554" y="429"/>
                  </a:lnTo>
                  <a:lnTo>
                    <a:pt x="554" y="431"/>
                  </a:lnTo>
                  <a:lnTo>
                    <a:pt x="556" y="429"/>
                  </a:lnTo>
                  <a:lnTo>
                    <a:pt x="556" y="431"/>
                  </a:lnTo>
                  <a:lnTo>
                    <a:pt x="556" y="429"/>
                  </a:lnTo>
                  <a:lnTo>
                    <a:pt x="559" y="429"/>
                  </a:lnTo>
                  <a:lnTo>
                    <a:pt x="559" y="431"/>
                  </a:lnTo>
                  <a:lnTo>
                    <a:pt x="559" y="433"/>
                  </a:lnTo>
                  <a:lnTo>
                    <a:pt x="559" y="436"/>
                  </a:lnTo>
                  <a:lnTo>
                    <a:pt x="556" y="436"/>
                  </a:lnTo>
                  <a:lnTo>
                    <a:pt x="554" y="436"/>
                  </a:lnTo>
                  <a:lnTo>
                    <a:pt x="556" y="436"/>
                  </a:lnTo>
                  <a:lnTo>
                    <a:pt x="554" y="438"/>
                  </a:lnTo>
                  <a:lnTo>
                    <a:pt x="556" y="438"/>
                  </a:lnTo>
                  <a:lnTo>
                    <a:pt x="554" y="438"/>
                  </a:lnTo>
                  <a:lnTo>
                    <a:pt x="554" y="440"/>
                  </a:lnTo>
                  <a:lnTo>
                    <a:pt x="556" y="440"/>
                  </a:lnTo>
                  <a:lnTo>
                    <a:pt x="559" y="443"/>
                  </a:lnTo>
                  <a:lnTo>
                    <a:pt x="556" y="443"/>
                  </a:lnTo>
                  <a:lnTo>
                    <a:pt x="554" y="443"/>
                  </a:lnTo>
                  <a:lnTo>
                    <a:pt x="554" y="445"/>
                  </a:lnTo>
                  <a:lnTo>
                    <a:pt x="552" y="445"/>
                  </a:lnTo>
                  <a:lnTo>
                    <a:pt x="549" y="445"/>
                  </a:lnTo>
                  <a:lnTo>
                    <a:pt x="549" y="443"/>
                  </a:lnTo>
                  <a:lnTo>
                    <a:pt x="552" y="443"/>
                  </a:lnTo>
                  <a:lnTo>
                    <a:pt x="549" y="443"/>
                  </a:lnTo>
                  <a:lnTo>
                    <a:pt x="549" y="440"/>
                  </a:lnTo>
                  <a:lnTo>
                    <a:pt x="547" y="440"/>
                  </a:lnTo>
                  <a:lnTo>
                    <a:pt x="547" y="438"/>
                  </a:lnTo>
                  <a:lnTo>
                    <a:pt x="545" y="438"/>
                  </a:lnTo>
                  <a:lnTo>
                    <a:pt x="545" y="436"/>
                  </a:lnTo>
                  <a:lnTo>
                    <a:pt x="545" y="438"/>
                  </a:lnTo>
                  <a:lnTo>
                    <a:pt x="542" y="436"/>
                  </a:lnTo>
                  <a:lnTo>
                    <a:pt x="542" y="438"/>
                  </a:lnTo>
                  <a:lnTo>
                    <a:pt x="545" y="438"/>
                  </a:lnTo>
                  <a:lnTo>
                    <a:pt x="545" y="440"/>
                  </a:lnTo>
                  <a:lnTo>
                    <a:pt x="547" y="440"/>
                  </a:lnTo>
                  <a:lnTo>
                    <a:pt x="547" y="443"/>
                  </a:lnTo>
                  <a:lnTo>
                    <a:pt x="547" y="445"/>
                  </a:lnTo>
                  <a:lnTo>
                    <a:pt x="545" y="445"/>
                  </a:lnTo>
                  <a:lnTo>
                    <a:pt x="542" y="445"/>
                  </a:lnTo>
                  <a:lnTo>
                    <a:pt x="545" y="445"/>
                  </a:lnTo>
                  <a:lnTo>
                    <a:pt x="542" y="445"/>
                  </a:lnTo>
                  <a:lnTo>
                    <a:pt x="540" y="445"/>
                  </a:lnTo>
                  <a:lnTo>
                    <a:pt x="540" y="443"/>
                  </a:lnTo>
                  <a:lnTo>
                    <a:pt x="542" y="443"/>
                  </a:lnTo>
                  <a:lnTo>
                    <a:pt x="540" y="443"/>
                  </a:lnTo>
                  <a:lnTo>
                    <a:pt x="542" y="443"/>
                  </a:lnTo>
                  <a:lnTo>
                    <a:pt x="540" y="440"/>
                  </a:lnTo>
                  <a:lnTo>
                    <a:pt x="538" y="440"/>
                  </a:lnTo>
                  <a:lnTo>
                    <a:pt x="538" y="438"/>
                  </a:lnTo>
                  <a:lnTo>
                    <a:pt x="538" y="440"/>
                  </a:lnTo>
                  <a:lnTo>
                    <a:pt x="540" y="440"/>
                  </a:lnTo>
                  <a:lnTo>
                    <a:pt x="540" y="443"/>
                  </a:lnTo>
                  <a:lnTo>
                    <a:pt x="538" y="443"/>
                  </a:lnTo>
                  <a:lnTo>
                    <a:pt x="536" y="443"/>
                  </a:lnTo>
                  <a:lnTo>
                    <a:pt x="536" y="440"/>
                  </a:lnTo>
                  <a:lnTo>
                    <a:pt x="533" y="440"/>
                  </a:lnTo>
                  <a:lnTo>
                    <a:pt x="531" y="440"/>
                  </a:lnTo>
                  <a:lnTo>
                    <a:pt x="529" y="440"/>
                  </a:lnTo>
                  <a:lnTo>
                    <a:pt x="529" y="443"/>
                  </a:lnTo>
                  <a:lnTo>
                    <a:pt x="529" y="440"/>
                  </a:lnTo>
                  <a:lnTo>
                    <a:pt x="531" y="440"/>
                  </a:lnTo>
                  <a:lnTo>
                    <a:pt x="529" y="438"/>
                  </a:lnTo>
                  <a:lnTo>
                    <a:pt x="529" y="440"/>
                  </a:lnTo>
                  <a:lnTo>
                    <a:pt x="529" y="443"/>
                  </a:lnTo>
                  <a:lnTo>
                    <a:pt x="526" y="440"/>
                  </a:lnTo>
                  <a:lnTo>
                    <a:pt x="524" y="440"/>
                  </a:lnTo>
                  <a:lnTo>
                    <a:pt x="526" y="443"/>
                  </a:lnTo>
                  <a:lnTo>
                    <a:pt x="524" y="443"/>
                  </a:lnTo>
                  <a:lnTo>
                    <a:pt x="526" y="443"/>
                  </a:lnTo>
                  <a:lnTo>
                    <a:pt x="524" y="445"/>
                  </a:lnTo>
                  <a:lnTo>
                    <a:pt x="522" y="445"/>
                  </a:lnTo>
                  <a:lnTo>
                    <a:pt x="522" y="443"/>
                  </a:lnTo>
                  <a:lnTo>
                    <a:pt x="524" y="443"/>
                  </a:lnTo>
                  <a:lnTo>
                    <a:pt x="522" y="445"/>
                  </a:lnTo>
                  <a:lnTo>
                    <a:pt x="519" y="443"/>
                  </a:lnTo>
                  <a:lnTo>
                    <a:pt x="519" y="445"/>
                  </a:lnTo>
                  <a:lnTo>
                    <a:pt x="522" y="445"/>
                  </a:lnTo>
                  <a:lnTo>
                    <a:pt x="519" y="445"/>
                  </a:lnTo>
                  <a:lnTo>
                    <a:pt x="517" y="445"/>
                  </a:lnTo>
                  <a:lnTo>
                    <a:pt x="515" y="445"/>
                  </a:lnTo>
                  <a:lnTo>
                    <a:pt x="512" y="445"/>
                  </a:lnTo>
                  <a:lnTo>
                    <a:pt x="512" y="443"/>
                  </a:lnTo>
                  <a:lnTo>
                    <a:pt x="515" y="443"/>
                  </a:lnTo>
                  <a:lnTo>
                    <a:pt x="517" y="443"/>
                  </a:lnTo>
                  <a:lnTo>
                    <a:pt x="517" y="440"/>
                  </a:lnTo>
                  <a:lnTo>
                    <a:pt x="519" y="443"/>
                  </a:lnTo>
                  <a:lnTo>
                    <a:pt x="522" y="440"/>
                  </a:lnTo>
                  <a:lnTo>
                    <a:pt x="519" y="440"/>
                  </a:lnTo>
                  <a:lnTo>
                    <a:pt x="519" y="438"/>
                  </a:lnTo>
                  <a:lnTo>
                    <a:pt x="522" y="438"/>
                  </a:lnTo>
                  <a:lnTo>
                    <a:pt x="524" y="438"/>
                  </a:lnTo>
                  <a:lnTo>
                    <a:pt x="526" y="438"/>
                  </a:lnTo>
                  <a:lnTo>
                    <a:pt x="524" y="436"/>
                  </a:lnTo>
                  <a:lnTo>
                    <a:pt x="524" y="438"/>
                  </a:lnTo>
                  <a:lnTo>
                    <a:pt x="522" y="438"/>
                  </a:lnTo>
                  <a:lnTo>
                    <a:pt x="519" y="438"/>
                  </a:lnTo>
                  <a:lnTo>
                    <a:pt x="517" y="438"/>
                  </a:lnTo>
                  <a:lnTo>
                    <a:pt x="517" y="436"/>
                  </a:lnTo>
                  <a:lnTo>
                    <a:pt x="519" y="436"/>
                  </a:lnTo>
                  <a:lnTo>
                    <a:pt x="522" y="436"/>
                  </a:lnTo>
                  <a:lnTo>
                    <a:pt x="522" y="433"/>
                  </a:lnTo>
                  <a:lnTo>
                    <a:pt x="519" y="433"/>
                  </a:lnTo>
                  <a:lnTo>
                    <a:pt x="519" y="431"/>
                  </a:lnTo>
                  <a:lnTo>
                    <a:pt x="517" y="431"/>
                  </a:lnTo>
                  <a:lnTo>
                    <a:pt x="515" y="431"/>
                  </a:lnTo>
                  <a:lnTo>
                    <a:pt x="515" y="433"/>
                  </a:lnTo>
                  <a:lnTo>
                    <a:pt x="517" y="433"/>
                  </a:lnTo>
                  <a:lnTo>
                    <a:pt x="519" y="433"/>
                  </a:lnTo>
                  <a:lnTo>
                    <a:pt x="519" y="436"/>
                  </a:lnTo>
                  <a:lnTo>
                    <a:pt x="517" y="436"/>
                  </a:lnTo>
                  <a:lnTo>
                    <a:pt x="517" y="438"/>
                  </a:lnTo>
                  <a:lnTo>
                    <a:pt x="515" y="438"/>
                  </a:lnTo>
                  <a:lnTo>
                    <a:pt x="512" y="438"/>
                  </a:lnTo>
                  <a:lnTo>
                    <a:pt x="512" y="436"/>
                  </a:lnTo>
                  <a:lnTo>
                    <a:pt x="512" y="433"/>
                  </a:lnTo>
                  <a:lnTo>
                    <a:pt x="512" y="431"/>
                  </a:lnTo>
                  <a:lnTo>
                    <a:pt x="515" y="429"/>
                  </a:lnTo>
                  <a:lnTo>
                    <a:pt x="515" y="426"/>
                  </a:lnTo>
                  <a:lnTo>
                    <a:pt x="517" y="424"/>
                  </a:lnTo>
                  <a:lnTo>
                    <a:pt x="515" y="424"/>
                  </a:lnTo>
                  <a:lnTo>
                    <a:pt x="515" y="422"/>
                  </a:lnTo>
                  <a:lnTo>
                    <a:pt x="515" y="419"/>
                  </a:lnTo>
                  <a:lnTo>
                    <a:pt x="515" y="422"/>
                  </a:lnTo>
                  <a:lnTo>
                    <a:pt x="517" y="422"/>
                  </a:lnTo>
                  <a:lnTo>
                    <a:pt x="517" y="419"/>
                  </a:lnTo>
                  <a:lnTo>
                    <a:pt x="519" y="419"/>
                  </a:lnTo>
                  <a:lnTo>
                    <a:pt x="519" y="417"/>
                  </a:lnTo>
                  <a:lnTo>
                    <a:pt x="522" y="417"/>
                  </a:lnTo>
                  <a:lnTo>
                    <a:pt x="522" y="419"/>
                  </a:lnTo>
                  <a:lnTo>
                    <a:pt x="524" y="419"/>
                  </a:lnTo>
                  <a:lnTo>
                    <a:pt x="524" y="417"/>
                  </a:lnTo>
                  <a:lnTo>
                    <a:pt x="524" y="419"/>
                  </a:lnTo>
                  <a:lnTo>
                    <a:pt x="526" y="419"/>
                  </a:lnTo>
                  <a:lnTo>
                    <a:pt x="524" y="417"/>
                  </a:lnTo>
                  <a:lnTo>
                    <a:pt x="526" y="417"/>
                  </a:lnTo>
                  <a:lnTo>
                    <a:pt x="529" y="417"/>
                  </a:lnTo>
                  <a:lnTo>
                    <a:pt x="529" y="419"/>
                  </a:lnTo>
                  <a:lnTo>
                    <a:pt x="529" y="417"/>
                  </a:lnTo>
                  <a:lnTo>
                    <a:pt x="531" y="419"/>
                  </a:lnTo>
                  <a:lnTo>
                    <a:pt x="531" y="422"/>
                  </a:lnTo>
                  <a:lnTo>
                    <a:pt x="533" y="422"/>
                  </a:lnTo>
                  <a:lnTo>
                    <a:pt x="531" y="424"/>
                  </a:lnTo>
                  <a:lnTo>
                    <a:pt x="529" y="424"/>
                  </a:lnTo>
                  <a:lnTo>
                    <a:pt x="531" y="424"/>
                  </a:lnTo>
                  <a:lnTo>
                    <a:pt x="531" y="426"/>
                  </a:lnTo>
                  <a:lnTo>
                    <a:pt x="529" y="429"/>
                  </a:lnTo>
                  <a:lnTo>
                    <a:pt x="529" y="431"/>
                  </a:lnTo>
                  <a:lnTo>
                    <a:pt x="529" y="433"/>
                  </a:lnTo>
                  <a:lnTo>
                    <a:pt x="531" y="436"/>
                  </a:lnTo>
                  <a:lnTo>
                    <a:pt x="531" y="433"/>
                  </a:lnTo>
                  <a:lnTo>
                    <a:pt x="529" y="433"/>
                  </a:lnTo>
                  <a:lnTo>
                    <a:pt x="531" y="431"/>
                  </a:lnTo>
                  <a:lnTo>
                    <a:pt x="531" y="429"/>
                  </a:lnTo>
                  <a:lnTo>
                    <a:pt x="533" y="426"/>
                  </a:lnTo>
                  <a:lnTo>
                    <a:pt x="533" y="424"/>
                  </a:lnTo>
                  <a:lnTo>
                    <a:pt x="533" y="426"/>
                  </a:lnTo>
                  <a:lnTo>
                    <a:pt x="536" y="429"/>
                  </a:lnTo>
                  <a:lnTo>
                    <a:pt x="536" y="426"/>
                  </a:lnTo>
                  <a:lnTo>
                    <a:pt x="533" y="426"/>
                  </a:lnTo>
                  <a:lnTo>
                    <a:pt x="533" y="424"/>
                  </a:lnTo>
                  <a:lnTo>
                    <a:pt x="533" y="422"/>
                  </a:lnTo>
                  <a:lnTo>
                    <a:pt x="536" y="422"/>
                  </a:lnTo>
                  <a:lnTo>
                    <a:pt x="536" y="424"/>
                  </a:lnTo>
                  <a:lnTo>
                    <a:pt x="538" y="426"/>
                  </a:lnTo>
                  <a:lnTo>
                    <a:pt x="538" y="424"/>
                  </a:lnTo>
                  <a:lnTo>
                    <a:pt x="536" y="422"/>
                  </a:lnTo>
                  <a:lnTo>
                    <a:pt x="536" y="419"/>
                  </a:lnTo>
                  <a:lnTo>
                    <a:pt x="538" y="417"/>
                  </a:lnTo>
                  <a:lnTo>
                    <a:pt x="540" y="417"/>
                  </a:lnTo>
                  <a:lnTo>
                    <a:pt x="542" y="417"/>
                  </a:lnTo>
                  <a:lnTo>
                    <a:pt x="542" y="419"/>
                  </a:lnTo>
                  <a:lnTo>
                    <a:pt x="542" y="422"/>
                  </a:lnTo>
                  <a:lnTo>
                    <a:pt x="540" y="422"/>
                  </a:lnTo>
                  <a:lnTo>
                    <a:pt x="540" y="424"/>
                  </a:lnTo>
                  <a:lnTo>
                    <a:pt x="540" y="426"/>
                  </a:lnTo>
                  <a:lnTo>
                    <a:pt x="538" y="426"/>
                  </a:lnTo>
                  <a:lnTo>
                    <a:pt x="540" y="426"/>
                  </a:lnTo>
                  <a:lnTo>
                    <a:pt x="540" y="424"/>
                  </a:lnTo>
                  <a:lnTo>
                    <a:pt x="540" y="426"/>
                  </a:lnTo>
                  <a:lnTo>
                    <a:pt x="542" y="426"/>
                  </a:lnTo>
                  <a:lnTo>
                    <a:pt x="542" y="424"/>
                  </a:lnTo>
                  <a:lnTo>
                    <a:pt x="540" y="424"/>
                  </a:lnTo>
                  <a:lnTo>
                    <a:pt x="542" y="424"/>
                  </a:lnTo>
                  <a:lnTo>
                    <a:pt x="542" y="426"/>
                  </a:lnTo>
                  <a:lnTo>
                    <a:pt x="545" y="426"/>
                  </a:lnTo>
                  <a:lnTo>
                    <a:pt x="545" y="424"/>
                  </a:lnTo>
                  <a:lnTo>
                    <a:pt x="542" y="424"/>
                  </a:lnTo>
                  <a:lnTo>
                    <a:pt x="542" y="422"/>
                  </a:lnTo>
                  <a:lnTo>
                    <a:pt x="545" y="422"/>
                  </a:lnTo>
                  <a:lnTo>
                    <a:pt x="545" y="424"/>
                  </a:lnTo>
                  <a:lnTo>
                    <a:pt x="545" y="426"/>
                  </a:lnTo>
                  <a:lnTo>
                    <a:pt x="547" y="426"/>
                  </a:lnTo>
                  <a:lnTo>
                    <a:pt x="545" y="426"/>
                  </a:lnTo>
                  <a:lnTo>
                    <a:pt x="545" y="429"/>
                  </a:lnTo>
                  <a:lnTo>
                    <a:pt x="547" y="426"/>
                  </a:lnTo>
                  <a:lnTo>
                    <a:pt x="547" y="424"/>
                  </a:lnTo>
                  <a:lnTo>
                    <a:pt x="549" y="424"/>
                  </a:lnTo>
                  <a:lnTo>
                    <a:pt x="549" y="426"/>
                  </a:lnTo>
                  <a:lnTo>
                    <a:pt x="549" y="424"/>
                  </a:lnTo>
                  <a:lnTo>
                    <a:pt x="549" y="422"/>
                  </a:lnTo>
                  <a:lnTo>
                    <a:pt x="549" y="419"/>
                  </a:lnTo>
                  <a:lnTo>
                    <a:pt x="549" y="422"/>
                  </a:lnTo>
                  <a:lnTo>
                    <a:pt x="552" y="422"/>
                  </a:lnTo>
                  <a:lnTo>
                    <a:pt x="552" y="424"/>
                  </a:lnTo>
                  <a:close/>
                  <a:moveTo>
                    <a:pt x="805" y="580"/>
                  </a:moveTo>
                  <a:lnTo>
                    <a:pt x="803" y="580"/>
                  </a:lnTo>
                  <a:lnTo>
                    <a:pt x="803" y="582"/>
                  </a:lnTo>
                  <a:lnTo>
                    <a:pt x="801" y="585"/>
                  </a:lnTo>
                  <a:lnTo>
                    <a:pt x="801" y="582"/>
                  </a:lnTo>
                  <a:lnTo>
                    <a:pt x="801" y="580"/>
                  </a:lnTo>
                  <a:lnTo>
                    <a:pt x="803" y="580"/>
                  </a:lnTo>
                  <a:lnTo>
                    <a:pt x="801" y="580"/>
                  </a:lnTo>
                  <a:lnTo>
                    <a:pt x="803" y="578"/>
                  </a:lnTo>
                  <a:lnTo>
                    <a:pt x="801" y="578"/>
                  </a:lnTo>
                  <a:lnTo>
                    <a:pt x="803" y="578"/>
                  </a:lnTo>
                  <a:lnTo>
                    <a:pt x="803" y="575"/>
                  </a:lnTo>
                  <a:lnTo>
                    <a:pt x="805" y="575"/>
                  </a:lnTo>
                  <a:lnTo>
                    <a:pt x="805" y="578"/>
                  </a:lnTo>
                  <a:lnTo>
                    <a:pt x="805" y="580"/>
                  </a:lnTo>
                  <a:close/>
                  <a:moveTo>
                    <a:pt x="552" y="419"/>
                  </a:moveTo>
                  <a:lnTo>
                    <a:pt x="554" y="419"/>
                  </a:lnTo>
                  <a:lnTo>
                    <a:pt x="554" y="422"/>
                  </a:lnTo>
                  <a:lnTo>
                    <a:pt x="556" y="424"/>
                  </a:lnTo>
                  <a:lnTo>
                    <a:pt x="554" y="424"/>
                  </a:lnTo>
                  <a:lnTo>
                    <a:pt x="552" y="422"/>
                  </a:lnTo>
                  <a:lnTo>
                    <a:pt x="552" y="419"/>
                  </a:lnTo>
                  <a:lnTo>
                    <a:pt x="552" y="417"/>
                  </a:lnTo>
                  <a:lnTo>
                    <a:pt x="552" y="419"/>
                  </a:lnTo>
                  <a:lnTo>
                    <a:pt x="549" y="417"/>
                  </a:lnTo>
                  <a:lnTo>
                    <a:pt x="552" y="417"/>
                  </a:lnTo>
                  <a:lnTo>
                    <a:pt x="554" y="417"/>
                  </a:lnTo>
                  <a:lnTo>
                    <a:pt x="552" y="417"/>
                  </a:lnTo>
                  <a:lnTo>
                    <a:pt x="552" y="419"/>
                  </a:lnTo>
                  <a:close/>
                  <a:moveTo>
                    <a:pt x="573" y="431"/>
                  </a:moveTo>
                  <a:lnTo>
                    <a:pt x="573" y="429"/>
                  </a:lnTo>
                  <a:lnTo>
                    <a:pt x="575" y="429"/>
                  </a:lnTo>
                  <a:lnTo>
                    <a:pt x="575" y="431"/>
                  </a:lnTo>
                  <a:lnTo>
                    <a:pt x="573" y="431"/>
                  </a:lnTo>
                  <a:close/>
                  <a:moveTo>
                    <a:pt x="819" y="578"/>
                  </a:moveTo>
                  <a:lnTo>
                    <a:pt x="819" y="580"/>
                  </a:lnTo>
                  <a:lnTo>
                    <a:pt x="822" y="580"/>
                  </a:lnTo>
                  <a:lnTo>
                    <a:pt x="819" y="580"/>
                  </a:lnTo>
                  <a:lnTo>
                    <a:pt x="822" y="580"/>
                  </a:lnTo>
                  <a:lnTo>
                    <a:pt x="822" y="582"/>
                  </a:lnTo>
                  <a:lnTo>
                    <a:pt x="819" y="582"/>
                  </a:lnTo>
                  <a:lnTo>
                    <a:pt x="819" y="585"/>
                  </a:lnTo>
                  <a:lnTo>
                    <a:pt x="817" y="585"/>
                  </a:lnTo>
                  <a:lnTo>
                    <a:pt x="815" y="582"/>
                  </a:lnTo>
                  <a:lnTo>
                    <a:pt x="815" y="585"/>
                  </a:lnTo>
                  <a:lnTo>
                    <a:pt x="817" y="585"/>
                  </a:lnTo>
                  <a:lnTo>
                    <a:pt x="815" y="585"/>
                  </a:lnTo>
                  <a:lnTo>
                    <a:pt x="815" y="587"/>
                  </a:lnTo>
                  <a:lnTo>
                    <a:pt x="817" y="587"/>
                  </a:lnTo>
                  <a:lnTo>
                    <a:pt x="819" y="585"/>
                  </a:lnTo>
                  <a:lnTo>
                    <a:pt x="822" y="585"/>
                  </a:lnTo>
                  <a:lnTo>
                    <a:pt x="822" y="582"/>
                  </a:lnTo>
                  <a:lnTo>
                    <a:pt x="822" y="585"/>
                  </a:lnTo>
                  <a:lnTo>
                    <a:pt x="824" y="585"/>
                  </a:lnTo>
                  <a:lnTo>
                    <a:pt x="822" y="585"/>
                  </a:lnTo>
                  <a:lnTo>
                    <a:pt x="824" y="585"/>
                  </a:lnTo>
                  <a:lnTo>
                    <a:pt x="824" y="587"/>
                  </a:lnTo>
                  <a:lnTo>
                    <a:pt x="826" y="587"/>
                  </a:lnTo>
                  <a:lnTo>
                    <a:pt x="829" y="589"/>
                  </a:lnTo>
                  <a:lnTo>
                    <a:pt x="829" y="592"/>
                  </a:lnTo>
                  <a:lnTo>
                    <a:pt x="826" y="592"/>
                  </a:lnTo>
                  <a:lnTo>
                    <a:pt x="826" y="594"/>
                  </a:lnTo>
                  <a:lnTo>
                    <a:pt x="826" y="596"/>
                  </a:lnTo>
                  <a:lnTo>
                    <a:pt x="824" y="594"/>
                  </a:lnTo>
                  <a:lnTo>
                    <a:pt x="824" y="592"/>
                  </a:lnTo>
                  <a:lnTo>
                    <a:pt x="822" y="592"/>
                  </a:lnTo>
                  <a:lnTo>
                    <a:pt x="822" y="594"/>
                  </a:lnTo>
                  <a:lnTo>
                    <a:pt x="824" y="594"/>
                  </a:lnTo>
                  <a:lnTo>
                    <a:pt x="824" y="596"/>
                  </a:lnTo>
                  <a:lnTo>
                    <a:pt x="819" y="596"/>
                  </a:lnTo>
                  <a:lnTo>
                    <a:pt x="819" y="594"/>
                  </a:lnTo>
                  <a:lnTo>
                    <a:pt x="817" y="592"/>
                  </a:lnTo>
                  <a:lnTo>
                    <a:pt x="817" y="589"/>
                  </a:lnTo>
                  <a:lnTo>
                    <a:pt x="815" y="587"/>
                  </a:lnTo>
                  <a:lnTo>
                    <a:pt x="812" y="585"/>
                  </a:lnTo>
                  <a:lnTo>
                    <a:pt x="812" y="587"/>
                  </a:lnTo>
                  <a:lnTo>
                    <a:pt x="815" y="589"/>
                  </a:lnTo>
                  <a:lnTo>
                    <a:pt x="817" y="589"/>
                  </a:lnTo>
                  <a:lnTo>
                    <a:pt x="817" y="592"/>
                  </a:lnTo>
                  <a:lnTo>
                    <a:pt x="817" y="594"/>
                  </a:lnTo>
                  <a:lnTo>
                    <a:pt x="817" y="596"/>
                  </a:lnTo>
                  <a:lnTo>
                    <a:pt x="819" y="596"/>
                  </a:lnTo>
                  <a:lnTo>
                    <a:pt x="819" y="599"/>
                  </a:lnTo>
                  <a:lnTo>
                    <a:pt x="822" y="599"/>
                  </a:lnTo>
                  <a:lnTo>
                    <a:pt x="824" y="599"/>
                  </a:lnTo>
                  <a:lnTo>
                    <a:pt x="824" y="601"/>
                  </a:lnTo>
                  <a:lnTo>
                    <a:pt x="824" y="603"/>
                  </a:lnTo>
                  <a:lnTo>
                    <a:pt x="824" y="606"/>
                  </a:lnTo>
                  <a:lnTo>
                    <a:pt x="822" y="606"/>
                  </a:lnTo>
                  <a:lnTo>
                    <a:pt x="822" y="608"/>
                  </a:lnTo>
                  <a:lnTo>
                    <a:pt x="819" y="608"/>
                  </a:lnTo>
                  <a:lnTo>
                    <a:pt x="819" y="606"/>
                  </a:lnTo>
                  <a:lnTo>
                    <a:pt x="817" y="606"/>
                  </a:lnTo>
                  <a:lnTo>
                    <a:pt x="817" y="603"/>
                  </a:lnTo>
                  <a:lnTo>
                    <a:pt x="815" y="601"/>
                  </a:lnTo>
                  <a:lnTo>
                    <a:pt x="815" y="599"/>
                  </a:lnTo>
                  <a:lnTo>
                    <a:pt x="812" y="596"/>
                  </a:lnTo>
                  <a:lnTo>
                    <a:pt x="812" y="594"/>
                  </a:lnTo>
                  <a:lnTo>
                    <a:pt x="810" y="592"/>
                  </a:lnTo>
                  <a:lnTo>
                    <a:pt x="810" y="594"/>
                  </a:lnTo>
                  <a:lnTo>
                    <a:pt x="808" y="594"/>
                  </a:lnTo>
                  <a:lnTo>
                    <a:pt x="810" y="596"/>
                  </a:lnTo>
                  <a:lnTo>
                    <a:pt x="810" y="599"/>
                  </a:lnTo>
                  <a:lnTo>
                    <a:pt x="812" y="599"/>
                  </a:lnTo>
                  <a:lnTo>
                    <a:pt x="810" y="599"/>
                  </a:lnTo>
                  <a:lnTo>
                    <a:pt x="810" y="601"/>
                  </a:lnTo>
                  <a:lnTo>
                    <a:pt x="810" y="603"/>
                  </a:lnTo>
                  <a:lnTo>
                    <a:pt x="808" y="603"/>
                  </a:lnTo>
                  <a:lnTo>
                    <a:pt x="805" y="603"/>
                  </a:lnTo>
                  <a:lnTo>
                    <a:pt x="803" y="603"/>
                  </a:lnTo>
                  <a:lnTo>
                    <a:pt x="805" y="601"/>
                  </a:lnTo>
                  <a:lnTo>
                    <a:pt x="803" y="601"/>
                  </a:lnTo>
                  <a:lnTo>
                    <a:pt x="803" y="599"/>
                  </a:lnTo>
                  <a:lnTo>
                    <a:pt x="803" y="596"/>
                  </a:lnTo>
                  <a:lnTo>
                    <a:pt x="805" y="599"/>
                  </a:lnTo>
                  <a:lnTo>
                    <a:pt x="805" y="601"/>
                  </a:lnTo>
                  <a:lnTo>
                    <a:pt x="805" y="599"/>
                  </a:lnTo>
                  <a:lnTo>
                    <a:pt x="803" y="596"/>
                  </a:lnTo>
                  <a:lnTo>
                    <a:pt x="803" y="594"/>
                  </a:lnTo>
                  <a:lnTo>
                    <a:pt x="805" y="594"/>
                  </a:lnTo>
                  <a:lnTo>
                    <a:pt x="803" y="594"/>
                  </a:lnTo>
                  <a:lnTo>
                    <a:pt x="803" y="592"/>
                  </a:lnTo>
                  <a:lnTo>
                    <a:pt x="803" y="594"/>
                  </a:lnTo>
                  <a:lnTo>
                    <a:pt x="803" y="592"/>
                  </a:lnTo>
                  <a:lnTo>
                    <a:pt x="805" y="592"/>
                  </a:lnTo>
                  <a:lnTo>
                    <a:pt x="803" y="589"/>
                  </a:lnTo>
                  <a:lnTo>
                    <a:pt x="803" y="587"/>
                  </a:lnTo>
                  <a:lnTo>
                    <a:pt x="803" y="585"/>
                  </a:lnTo>
                  <a:lnTo>
                    <a:pt x="801" y="585"/>
                  </a:lnTo>
                  <a:lnTo>
                    <a:pt x="803" y="582"/>
                  </a:lnTo>
                  <a:lnTo>
                    <a:pt x="803" y="580"/>
                  </a:lnTo>
                  <a:lnTo>
                    <a:pt x="805" y="580"/>
                  </a:lnTo>
                  <a:lnTo>
                    <a:pt x="805" y="585"/>
                  </a:lnTo>
                  <a:lnTo>
                    <a:pt x="808" y="587"/>
                  </a:lnTo>
                  <a:lnTo>
                    <a:pt x="808" y="585"/>
                  </a:lnTo>
                  <a:lnTo>
                    <a:pt x="808" y="582"/>
                  </a:lnTo>
                  <a:lnTo>
                    <a:pt x="805" y="582"/>
                  </a:lnTo>
                  <a:lnTo>
                    <a:pt x="805" y="580"/>
                  </a:lnTo>
                  <a:lnTo>
                    <a:pt x="805" y="578"/>
                  </a:lnTo>
                  <a:lnTo>
                    <a:pt x="805" y="575"/>
                  </a:lnTo>
                  <a:lnTo>
                    <a:pt x="808" y="575"/>
                  </a:lnTo>
                  <a:lnTo>
                    <a:pt x="808" y="578"/>
                  </a:lnTo>
                  <a:lnTo>
                    <a:pt x="808" y="575"/>
                  </a:lnTo>
                  <a:lnTo>
                    <a:pt x="808" y="573"/>
                  </a:lnTo>
                  <a:lnTo>
                    <a:pt x="810" y="573"/>
                  </a:lnTo>
                  <a:lnTo>
                    <a:pt x="810" y="575"/>
                  </a:lnTo>
                  <a:lnTo>
                    <a:pt x="810" y="578"/>
                  </a:lnTo>
                  <a:lnTo>
                    <a:pt x="808" y="578"/>
                  </a:lnTo>
                  <a:lnTo>
                    <a:pt x="810" y="580"/>
                  </a:lnTo>
                  <a:lnTo>
                    <a:pt x="810" y="578"/>
                  </a:lnTo>
                  <a:lnTo>
                    <a:pt x="810" y="575"/>
                  </a:lnTo>
                  <a:lnTo>
                    <a:pt x="812" y="575"/>
                  </a:lnTo>
                  <a:lnTo>
                    <a:pt x="812" y="578"/>
                  </a:lnTo>
                  <a:lnTo>
                    <a:pt x="815" y="578"/>
                  </a:lnTo>
                  <a:lnTo>
                    <a:pt x="815" y="575"/>
                  </a:lnTo>
                  <a:lnTo>
                    <a:pt x="817" y="575"/>
                  </a:lnTo>
                  <a:lnTo>
                    <a:pt x="819" y="578"/>
                  </a:lnTo>
                  <a:close/>
                  <a:moveTo>
                    <a:pt x="815" y="575"/>
                  </a:moveTo>
                  <a:lnTo>
                    <a:pt x="812" y="573"/>
                  </a:lnTo>
                  <a:lnTo>
                    <a:pt x="815" y="573"/>
                  </a:lnTo>
                  <a:lnTo>
                    <a:pt x="815" y="575"/>
                  </a:lnTo>
                  <a:close/>
                  <a:moveTo>
                    <a:pt x="563" y="415"/>
                  </a:moveTo>
                  <a:lnTo>
                    <a:pt x="563" y="417"/>
                  </a:lnTo>
                  <a:lnTo>
                    <a:pt x="563" y="415"/>
                  </a:lnTo>
                  <a:lnTo>
                    <a:pt x="563" y="417"/>
                  </a:lnTo>
                  <a:lnTo>
                    <a:pt x="561" y="417"/>
                  </a:lnTo>
                  <a:lnTo>
                    <a:pt x="561" y="415"/>
                  </a:lnTo>
                  <a:lnTo>
                    <a:pt x="563" y="415"/>
                  </a:lnTo>
                  <a:close/>
                  <a:moveTo>
                    <a:pt x="840" y="587"/>
                  </a:moveTo>
                  <a:lnTo>
                    <a:pt x="840" y="589"/>
                  </a:lnTo>
                  <a:lnTo>
                    <a:pt x="838" y="587"/>
                  </a:lnTo>
                  <a:lnTo>
                    <a:pt x="836" y="587"/>
                  </a:lnTo>
                  <a:lnTo>
                    <a:pt x="836" y="585"/>
                  </a:lnTo>
                  <a:lnTo>
                    <a:pt x="836" y="582"/>
                  </a:lnTo>
                  <a:lnTo>
                    <a:pt x="838" y="585"/>
                  </a:lnTo>
                  <a:lnTo>
                    <a:pt x="838" y="582"/>
                  </a:lnTo>
                  <a:lnTo>
                    <a:pt x="840" y="585"/>
                  </a:lnTo>
                  <a:lnTo>
                    <a:pt x="840" y="587"/>
                  </a:lnTo>
                  <a:close/>
                  <a:moveTo>
                    <a:pt x="822" y="575"/>
                  </a:moveTo>
                  <a:lnTo>
                    <a:pt x="819" y="575"/>
                  </a:lnTo>
                  <a:lnTo>
                    <a:pt x="822" y="573"/>
                  </a:lnTo>
                  <a:lnTo>
                    <a:pt x="824" y="575"/>
                  </a:lnTo>
                  <a:lnTo>
                    <a:pt x="822" y="575"/>
                  </a:lnTo>
                  <a:close/>
                  <a:moveTo>
                    <a:pt x="833" y="580"/>
                  </a:moveTo>
                  <a:lnTo>
                    <a:pt x="833" y="582"/>
                  </a:lnTo>
                  <a:lnTo>
                    <a:pt x="833" y="585"/>
                  </a:lnTo>
                  <a:lnTo>
                    <a:pt x="833" y="587"/>
                  </a:lnTo>
                  <a:lnTo>
                    <a:pt x="836" y="589"/>
                  </a:lnTo>
                  <a:lnTo>
                    <a:pt x="838" y="589"/>
                  </a:lnTo>
                  <a:lnTo>
                    <a:pt x="838" y="592"/>
                  </a:lnTo>
                  <a:lnTo>
                    <a:pt x="840" y="592"/>
                  </a:lnTo>
                  <a:lnTo>
                    <a:pt x="843" y="592"/>
                  </a:lnTo>
                  <a:lnTo>
                    <a:pt x="843" y="594"/>
                  </a:lnTo>
                  <a:lnTo>
                    <a:pt x="840" y="592"/>
                  </a:lnTo>
                  <a:lnTo>
                    <a:pt x="840" y="594"/>
                  </a:lnTo>
                  <a:lnTo>
                    <a:pt x="843" y="596"/>
                  </a:lnTo>
                  <a:lnTo>
                    <a:pt x="840" y="599"/>
                  </a:lnTo>
                  <a:lnTo>
                    <a:pt x="843" y="599"/>
                  </a:lnTo>
                  <a:lnTo>
                    <a:pt x="843" y="601"/>
                  </a:lnTo>
                  <a:lnTo>
                    <a:pt x="840" y="601"/>
                  </a:lnTo>
                  <a:lnTo>
                    <a:pt x="840" y="603"/>
                  </a:lnTo>
                  <a:lnTo>
                    <a:pt x="843" y="606"/>
                  </a:lnTo>
                  <a:lnTo>
                    <a:pt x="840" y="606"/>
                  </a:lnTo>
                  <a:lnTo>
                    <a:pt x="840" y="608"/>
                  </a:lnTo>
                  <a:lnTo>
                    <a:pt x="840" y="610"/>
                  </a:lnTo>
                  <a:lnTo>
                    <a:pt x="840" y="613"/>
                  </a:lnTo>
                  <a:lnTo>
                    <a:pt x="840" y="610"/>
                  </a:lnTo>
                  <a:lnTo>
                    <a:pt x="838" y="608"/>
                  </a:lnTo>
                  <a:lnTo>
                    <a:pt x="838" y="606"/>
                  </a:lnTo>
                  <a:lnTo>
                    <a:pt x="840" y="606"/>
                  </a:lnTo>
                  <a:lnTo>
                    <a:pt x="840" y="603"/>
                  </a:lnTo>
                  <a:lnTo>
                    <a:pt x="838" y="603"/>
                  </a:lnTo>
                  <a:lnTo>
                    <a:pt x="838" y="601"/>
                  </a:lnTo>
                  <a:lnTo>
                    <a:pt x="840" y="601"/>
                  </a:lnTo>
                  <a:lnTo>
                    <a:pt x="840" y="599"/>
                  </a:lnTo>
                  <a:lnTo>
                    <a:pt x="840" y="596"/>
                  </a:lnTo>
                  <a:lnTo>
                    <a:pt x="840" y="594"/>
                  </a:lnTo>
                  <a:lnTo>
                    <a:pt x="838" y="594"/>
                  </a:lnTo>
                  <a:lnTo>
                    <a:pt x="838" y="596"/>
                  </a:lnTo>
                  <a:lnTo>
                    <a:pt x="838" y="594"/>
                  </a:lnTo>
                  <a:lnTo>
                    <a:pt x="838" y="596"/>
                  </a:lnTo>
                  <a:lnTo>
                    <a:pt x="838" y="599"/>
                  </a:lnTo>
                  <a:lnTo>
                    <a:pt x="836" y="599"/>
                  </a:lnTo>
                  <a:lnTo>
                    <a:pt x="836" y="601"/>
                  </a:lnTo>
                  <a:lnTo>
                    <a:pt x="838" y="601"/>
                  </a:lnTo>
                  <a:lnTo>
                    <a:pt x="838" y="608"/>
                  </a:lnTo>
                  <a:lnTo>
                    <a:pt x="836" y="608"/>
                  </a:lnTo>
                  <a:lnTo>
                    <a:pt x="838" y="608"/>
                  </a:lnTo>
                  <a:lnTo>
                    <a:pt x="838" y="610"/>
                  </a:lnTo>
                  <a:lnTo>
                    <a:pt x="838" y="613"/>
                  </a:lnTo>
                  <a:lnTo>
                    <a:pt x="838" y="615"/>
                  </a:lnTo>
                  <a:lnTo>
                    <a:pt x="836" y="615"/>
                  </a:lnTo>
                  <a:lnTo>
                    <a:pt x="836" y="613"/>
                  </a:lnTo>
                  <a:lnTo>
                    <a:pt x="833" y="613"/>
                  </a:lnTo>
                  <a:lnTo>
                    <a:pt x="836" y="613"/>
                  </a:lnTo>
                  <a:lnTo>
                    <a:pt x="836" y="615"/>
                  </a:lnTo>
                  <a:lnTo>
                    <a:pt x="833" y="613"/>
                  </a:lnTo>
                  <a:lnTo>
                    <a:pt x="833" y="615"/>
                  </a:lnTo>
                  <a:lnTo>
                    <a:pt x="836" y="615"/>
                  </a:lnTo>
                  <a:lnTo>
                    <a:pt x="833" y="615"/>
                  </a:lnTo>
                  <a:lnTo>
                    <a:pt x="836" y="617"/>
                  </a:lnTo>
                  <a:lnTo>
                    <a:pt x="836" y="620"/>
                  </a:lnTo>
                  <a:lnTo>
                    <a:pt x="833" y="620"/>
                  </a:lnTo>
                  <a:lnTo>
                    <a:pt x="833" y="617"/>
                  </a:lnTo>
                  <a:lnTo>
                    <a:pt x="831" y="617"/>
                  </a:lnTo>
                  <a:lnTo>
                    <a:pt x="831" y="615"/>
                  </a:lnTo>
                  <a:lnTo>
                    <a:pt x="831" y="617"/>
                  </a:lnTo>
                  <a:lnTo>
                    <a:pt x="831" y="620"/>
                  </a:lnTo>
                  <a:lnTo>
                    <a:pt x="831" y="617"/>
                  </a:lnTo>
                  <a:lnTo>
                    <a:pt x="831" y="620"/>
                  </a:lnTo>
                  <a:lnTo>
                    <a:pt x="829" y="622"/>
                  </a:lnTo>
                  <a:lnTo>
                    <a:pt x="826" y="622"/>
                  </a:lnTo>
                  <a:lnTo>
                    <a:pt x="824" y="622"/>
                  </a:lnTo>
                  <a:lnTo>
                    <a:pt x="824" y="624"/>
                  </a:lnTo>
                  <a:lnTo>
                    <a:pt x="822" y="624"/>
                  </a:lnTo>
                  <a:lnTo>
                    <a:pt x="819" y="624"/>
                  </a:lnTo>
                  <a:lnTo>
                    <a:pt x="819" y="622"/>
                  </a:lnTo>
                  <a:lnTo>
                    <a:pt x="819" y="620"/>
                  </a:lnTo>
                  <a:lnTo>
                    <a:pt x="822" y="620"/>
                  </a:lnTo>
                  <a:lnTo>
                    <a:pt x="822" y="617"/>
                  </a:lnTo>
                  <a:lnTo>
                    <a:pt x="824" y="617"/>
                  </a:lnTo>
                  <a:lnTo>
                    <a:pt x="822" y="617"/>
                  </a:lnTo>
                  <a:lnTo>
                    <a:pt x="822" y="615"/>
                  </a:lnTo>
                  <a:lnTo>
                    <a:pt x="824" y="615"/>
                  </a:lnTo>
                  <a:lnTo>
                    <a:pt x="826" y="615"/>
                  </a:lnTo>
                  <a:lnTo>
                    <a:pt x="824" y="615"/>
                  </a:lnTo>
                  <a:lnTo>
                    <a:pt x="824" y="613"/>
                  </a:lnTo>
                  <a:lnTo>
                    <a:pt x="826" y="613"/>
                  </a:lnTo>
                  <a:lnTo>
                    <a:pt x="826" y="615"/>
                  </a:lnTo>
                  <a:lnTo>
                    <a:pt x="829" y="615"/>
                  </a:lnTo>
                  <a:lnTo>
                    <a:pt x="829" y="617"/>
                  </a:lnTo>
                  <a:lnTo>
                    <a:pt x="829" y="615"/>
                  </a:lnTo>
                  <a:lnTo>
                    <a:pt x="826" y="613"/>
                  </a:lnTo>
                  <a:lnTo>
                    <a:pt x="826" y="610"/>
                  </a:lnTo>
                  <a:lnTo>
                    <a:pt x="829" y="610"/>
                  </a:lnTo>
                  <a:lnTo>
                    <a:pt x="831" y="610"/>
                  </a:lnTo>
                  <a:lnTo>
                    <a:pt x="831" y="608"/>
                  </a:lnTo>
                  <a:lnTo>
                    <a:pt x="829" y="608"/>
                  </a:lnTo>
                  <a:lnTo>
                    <a:pt x="826" y="608"/>
                  </a:lnTo>
                  <a:lnTo>
                    <a:pt x="826" y="606"/>
                  </a:lnTo>
                  <a:lnTo>
                    <a:pt x="826" y="603"/>
                  </a:lnTo>
                  <a:lnTo>
                    <a:pt x="826" y="601"/>
                  </a:lnTo>
                  <a:lnTo>
                    <a:pt x="829" y="601"/>
                  </a:lnTo>
                  <a:lnTo>
                    <a:pt x="829" y="599"/>
                  </a:lnTo>
                  <a:lnTo>
                    <a:pt x="829" y="596"/>
                  </a:lnTo>
                  <a:lnTo>
                    <a:pt x="831" y="594"/>
                  </a:lnTo>
                  <a:lnTo>
                    <a:pt x="831" y="592"/>
                  </a:lnTo>
                  <a:lnTo>
                    <a:pt x="831" y="589"/>
                  </a:lnTo>
                  <a:lnTo>
                    <a:pt x="833" y="589"/>
                  </a:lnTo>
                  <a:lnTo>
                    <a:pt x="833" y="587"/>
                  </a:lnTo>
                  <a:lnTo>
                    <a:pt x="833" y="589"/>
                  </a:lnTo>
                  <a:lnTo>
                    <a:pt x="831" y="589"/>
                  </a:lnTo>
                  <a:lnTo>
                    <a:pt x="831" y="587"/>
                  </a:lnTo>
                  <a:lnTo>
                    <a:pt x="831" y="585"/>
                  </a:lnTo>
                  <a:lnTo>
                    <a:pt x="831" y="582"/>
                  </a:lnTo>
                  <a:lnTo>
                    <a:pt x="833" y="580"/>
                  </a:lnTo>
                  <a:lnTo>
                    <a:pt x="833" y="578"/>
                  </a:lnTo>
                  <a:lnTo>
                    <a:pt x="833" y="580"/>
                  </a:lnTo>
                  <a:close/>
                  <a:moveTo>
                    <a:pt x="568" y="415"/>
                  </a:moveTo>
                  <a:lnTo>
                    <a:pt x="570" y="415"/>
                  </a:lnTo>
                  <a:lnTo>
                    <a:pt x="570" y="417"/>
                  </a:lnTo>
                  <a:lnTo>
                    <a:pt x="568" y="417"/>
                  </a:lnTo>
                  <a:lnTo>
                    <a:pt x="570" y="417"/>
                  </a:lnTo>
                  <a:lnTo>
                    <a:pt x="568" y="419"/>
                  </a:lnTo>
                  <a:lnTo>
                    <a:pt x="570" y="419"/>
                  </a:lnTo>
                  <a:lnTo>
                    <a:pt x="568" y="422"/>
                  </a:lnTo>
                  <a:lnTo>
                    <a:pt x="570" y="422"/>
                  </a:lnTo>
                  <a:lnTo>
                    <a:pt x="570" y="419"/>
                  </a:lnTo>
                  <a:lnTo>
                    <a:pt x="573" y="419"/>
                  </a:lnTo>
                  <a:lnTo>
                    <a:pt x="573" y="422"/>
                  </a:lnTo>
                  <a:lnTo>
                    <a:pt x="575" y="422"/>
                  </a:lnTo>
                  <a:lnTo>
                    <a:pt x="575" y="424"/>
                  </a:lnTo>
                  <a:lnTo>
                    <a:pt x="573" y="424"/>
                  </a:lnTo>
                  <a:lnTo>
                    <a:pt x="570" y="424"/>
                  </a:lnTo>
                  <a:lnTo>
                    <a:pt x="570" y="426"/>
                  </a:lnTo>
                  <a:lnTo>
                    <a:pt x="573" y="424"/>
                  </a:lnTo>
                  <a:lnTo>
                    <a:pt x="573" y="426"/>
                  </a:lnTo>
                  <a:lnTo>
                    <a:pt x="575" y="424"/>
                  </a:lnTo>
                  <a:lnTo>
                    <a:pt x="575" y="426"/>
                  </a:lnTo>
                  <a:lnTo>
                    <a:pt x="573" y="426"/>
                  </a:lnTo>
                  <a:lnTo>
                    <a:pt x="573" y="429"/>
                  </a:lnTo>
                  <a:lnTo>
                    <a:pt x="570" y="429"/>
                  </a:lnTo>
                  <a:lnTo>
                    <a:pt x="568" y="426"/>
                  </a:lnTo>
                  <a:lnTo>
                    <a:pt x="570" y="424"/>
                  </a:lnTo>
                  <a:lnTo>
                    <a:pt x="568" y="424"/>
                  </a:lnTo>
                  <a:lnTo>
                    <a:pt x="568" y="426"/>
                  </a:lnTo>
                  <a:lnTo>
                    <a:pt x="568" y="424"/>
                  </a:lnTo>
                  <a:lnTo>
                    <a:pt x="566" y="424"/>
                  </a:lnTo>
                  <a:lnTo>
                    <a:pt x="568" y="424"/>
                  </a:lnTo>
                  <a:lnTo>
                    <a:pt x="568" y="426"/>
                  </a:lnTo>
                  <a:lnTo>
                    <a:pt x="566" y="426"/>
                  </a:lnTo>
                  <a:lnTo>
                    <a:pt x="563" y="426"/>
                  </a:lnTo>
                  <a:lnTo>
                    <a:pt x="563" y="424"/>
                  </a:lnTo>
                  <a:lnTo>
                    <a:pt x="563" y="426"/>
                  </a:lnTo>
                  <a:lnTo>
                    <a:pt x="561" y="426"/>
                  </a:lnTo>
                  <a:lnTo>
                    <a:pt x="561" y="424"/>
                  </a:lnTo>
                  <a:lnTo>
                    <a:pt x="563" y="424"/>
                  </a:lnTo>
                  <a:lnTo>
                    <a:pt x="563" y="422"/>
                  </a:lnTo>
                  <a:lnTo>
                    <a:pt x="563" y="424"/>
                  </a:lnTo>
                  <a:lnTo>
                    <a:pt x="561" y="424"/>
                  </a:lnTo>
                  <a:lnTo>
                    <a:pt x="559" y="424"/>
                  </a:lnTo>
                  <a:lnTo>
                    <a:pt x="556" y="424"/>
                  </a:lnTo>
                  <a:lnTo>
                    <a:pt x="556" y="426"/>
                  </a:lnTo>
                  <a:lnTo>
                    <a:pt x="554" y="424"/>
                  </a:lnTo>
                  <a:lnTo>
                    <a:pt x="554" y="422"/>
                  </a:lnTo>
                  <a:lnTo>
                    <a:pt x="554" y="419"/>
                  </a:lnTo>
                  <a:lnTo>
                    <a:pt x="556" y="419"/>
                  </a:lnTo>
                  <a:lnTo>
                    <a:pt x="554" y="419"/>
                  </a:lnTo>
                  <a:lnTo>
                    <a:pt x="554" y="417"/>
                  </a:lnTo>
                  <a:lnTo>
                    <a:pt x="554" y="415"/>
                  </a:lnTo>
                  <a:lnTo>
                    <a:pt x="556" y="415"/>
                  </a:lnTo>
                  <a:lnTo>
                    <a:pt x="556" y="417"/>
                  </a:lnTo>
                  <a:lnTo>
                    <a:pt x="556" y="419"/>
                  </a:lnTo>
                  <a:lnTo>
                    <a:pt x="559" y="417"/>
                  </a:lnTo>
                  <a:lnTo>
                    <a:pt x="559" y="419"/>
                  </a:lnTo>
                  <a:lnTo>
                    <a:pt x="559" y="417"/>
                  </a:lnTo>
                  <a:lnTo>
                    <a:pt x="559" y="415"/>
                  </a:lnTo>
                  <a:lnTo>
                    <a:pt x="561" y="415"/>
                  </a:lnTo>
                  <a:lnTo>
                    <a:pt x="561" y="417"/>
                  </a:lnTo>
                  <a:lnTo>
                    <a:pt x="563" y="417"/>
                  </a:lnTo>
                  <a:lnTo>
                    <a:pt x="563" y="419"/>
                  </a:lnTo>
                  <a:lnTo>
                    <a:pt x="563" y="417"/>
                  </a:lnTo>
                  <a:lnTo>
                    <a:pt x="563" y="415"/>
                  </a:lnTo>
                  <a:lnTo>
                    <a:pt x="563" y="417"/>
                  </a:lnTo>
                  <a:lnTo>
                    <a:pt x="563" y="415"/>
                  </a:lnTo>
                  <a:lnTo>
                    <a:pt x="563" y="412"/>
                  </a:lnTo>
                  <a:lnTo>
                    <a:pt x="566" y="415"/>
                  </a:lnTo>
                  <a:lnTo>
                    <a:pt x="568" y="415"/>
                  </a:lnTo>
                  <a:lnTo>
                    <a:pt x="566" y="415"/>
                  </a:lnTo>
                  <a:lnTo>
                    <a:pt x="568" y="415"/>
                  </a:lnTo>
                  <a:close/>
                  <a:moveTo>
                    <a:pt x="570" y="415"/>
                  </a:moveTo>
                  <a:lnTo>
                    <a:pt x="570" y="412"/>
                  </a:lnTo>
                  <a:lnTo>
                    <a:pt x="573" y="412"/>
                  </a:lnTo>
                  <a:lnTo>
                    <a:pt x="575" y="412"/>
                  </a:lnTo>
                  <a:lnTo>
                    <a:pt x="575" y="415"/>
                  </a:lnTo>
                  <a:lnTo>
                    <a:pt x="573" y="415"/>
                  </a:lnTo>
                  <a:lnTo>
                    <a:pt x="570" y="415"/>
                  </a:lnTo>
                  <a:close/>
                  <a:moveTo>
                    <a:pt x="468" y="324"/>
                  </a:moveTo>
                  <a:lnTo>
                    <a:pt x="470" y="324"/>
                  </a:lnTo>
                  <a:lnTo>
                    <a:pt x="470" y="322"/>
                  </a:lnTo>
                  <a:lnTo>
                    <a:pt x="470" y="324"/>
                  </a:lnTo>
                  <a:lnTo>
                    <a:pt x="468" y="324"/>
                  </a:lnTo>
                  <a:close/>
                  <a:moveTo>
                    <a:pt x="468" y="322"/>
                  </a:moveTo>
                  <a:lnTo>
                    <a:pt x="468" y="319"/>
                  </a:lnTo>
                  <a:lnTo>
                    <a:pt x="470" y="319"/>
                  </a:lnTo>
                  <a:lnTo>
                    <a:pt x="470" y="322"/>
                  </a:lnTo>
                  <a:lnTo>
                    <a:pt x="468" y="322"/>
                  </a:lnTo>
                  <a:close/>
                  <a:moveTo>
                    <a:pt x="461" y="317"/>
                  </a:moveTo>
                  <a:lnTo>
                    <a:pt x="461" y="319"/>
                  </a:lnTo>
                  <a:lnTo>
                    <a:pt x="459" y="319"/>
                  </a:lnTo>
                  <a:lnTo>
                    <a:pt x="456" y="317"/>
                  </a:lnTo>
                  <a:lnTo>
                    <a:pt x="456" y="315"/>
                  </a:lnTo>
                  <a:lnTo>
                    <a:pt x="459" y="315"/>
                  </a:lnTo>
                  <a:lnTo>
                    <a:pt x="459" y="312"/>
                  </a:lnTo>
                  <a:lnTo>
                    <a:pt x="459" y="315"/>
                  </a:lnTo>
                  <a:lnTo>
                    <a:pt x="461" y="312"/>
                  </a:lnTo>
                  <a:lnTo>
                    <a:pt x="461" y="315"/>
                  </a:lnTo>
                  <a:lnTo>
                    <a:pt x="463" y="315"/>
                  </a:lnTo>
                  <a:lnTo>
                    <a:pt x="466" y="315"/>
                  </a:lnTo>
                  <a:lnTo>
                    <a:pt x="468" y="315"/>
                  </a:lnTo>
                  <a:lnTo>
                    <a:pt x="466" y="315"/>
                  </a:lnTo>
                  <a:lnTo>
                    <a:pt x="463" y="317"/>
                  </a:lnTo>
                  <a:lnTo>
                    <a:pt x="461" y="317"/>
                  </a:lnTo>
                  <a:close/>
                  <a:moveTo>
                    <a:pt x="587" y="408"/>
                  </a:moveTo>
                  <a:lnTo>
                    <a:pt x="584" y="408"/>
                  </a:lnTo>
                  <a:lnTo>
                    <a:pt x="587" y="408"/>
                  </a:lnTo>
                  <a:close/>
                  <a:moveTo>
                    <a:pt x="584" y="405"/>
                  </a:moveTo>
                  <a:lnTo>
                    <a:pt x="584" y="408"/>
                  </a:lnTo>
                  <a:lnTo>
                    <a:pt x="584" y="405"/>
                  </a:lnTo>
                  <a:lnTo>
                    <a:pt x="582" y="405"/>
                  </a:lnTo>
                  <a:lnTo>
                    <a:pt x="582" y="403"/>
                  </a:lnTo>
                  <a:lnTo>
                    <a:pt x="584" y="405"/>
                  </a:lnTo>
                  <a:close/>
                  <a:moveTo>
                    <a:pt x="596" y="408"/>
                  </a:moveTo>
                  <a:lnTo>
                    <a:pt x="594" y="408"/>
                  </a:lnTo>
                  <a:lnTo>
                    <a:pt x="594" y="405"/>
                  </a:lnTo>
                  <a:lnTo>
                    <a:pt x="596" y="405"/>
                  </a:lnTo>
                  <a:lnTo>
                    <a:pt x="596" y="408"/>
                  </a:lnTo>
                  <a:close/>
                  <a:moveTo>
                    <a:pt x="598" y="410"/>
                  </a:moveTo>
                  <a:lnTo>
                    <a:pt x="598" y="408"/>
                  </a:lnTo>
                  <a:lnTo>
                    <a:pt x="598" y="410"/>
                  </a:lnTo>
                  <a:close/>
                  <a:moveTo>
                    <a:pt x="594" y="405"/>
                  </a:moveTo>
                  <a:lnTo>
                    <a:pt x="594" y="403"/>
                  </a:lnTo>
                  <a:lnTo>
                    <a:pt x="594" y="405"/>
                  </a:lnTo>
                  <a:close/>
                  <a:moveTo>
                    <a:pt x="612" y="412"/>
                  </a:moveTo>
                  <a:lnTo>
                    <a:pt x="612" y="410"/>
                  </a:lnTo>
                  <a:lnTo>
                    <a:pt x="615" y="410"/>
                  </a:lnTo>
                  <a:lnTo>
                    <a:pt x="615" y="412"/>
                  </a:lnTo>
                  <a:lnTo>
                    <a:pt x="612" y="412"/>
                  </a:lnTo>
                  <a:close/>
                  <a:moveTo>
                    <a:pt x="575" y="382"/>
                  </a:moveTo>
                  <a:lnTo>
                    <a:pt x="573" y="382"/>
                  </a:lnTo>
                  <a:lnTo>
                    <a:pt x="575" y="380"/>
                  </a:lnTo>
                  <a:lnTo>
                    <a:pt x="577" y="380"/>
                  </a:lnTo>
                  <a:lnTo>
                    <a:pt x="577" y="382"/>
                  </a:lnTo>
                  <a:lnTo>
                    <a:pt x="575" y="382"/>
                  </a:lnTo>
                  <a:close/>
                  <a:moveTo>
                    <a:pt x="677" y="452"/>
                  </a:moveTo>
                  <a:lnTo>
                    <a:pt x="677" y="450"/>
                  </a:lnTo>
                  <a:lnTo>
                    <a:pt x="677" y="452"/>
                  </a:lnTo>
                  <a:close/>
                  <a:moveTo>
                    <a:pt x="622" y="412"/>
                  </a:moveTo>
                  <a:lnTo>
                    <a:pt x="619" y="412"/>
                  </a:lnTo>
                  <a:lnTo>
                    <a:pt x="617" y="412"/>
                  </a:lnTo>
                  <a:lnTo>
                    <a:pt x="619" y="410"/>
                  </a:lnTo>
                  <a:lnTo>
                    <a:pt x="622" y="412"/>
                  </a:lnTo>
                  <a:close/>
                  <a:moveTo>
                    <a:pt x="710" y="457"/>
                  </a:moveTo>
                  <a:lnTo>
                    <a:pt x="710" y="454"/>
                  </a:lnTo>
                  <a:lnTo>
                    <a:pt x="712" y="454"/>
                  </a:lnTo>
                  <a:lnTo>
                    <a:pt x="715" y="454"/>
                  </a:lnTo>
                  <a:lnTo>
                    <a:pt x="717" y="454"/>
                  </a:lnTo>
                  <a:lnTo>
                    <a:pt x="719" y="454"/>
                  </a:lnTo>
                  <a:lnTo>
                    <a:pt x="717" y="454"/>
                  </a:lnTo>
                  <a:lnTo>
                    <a:pt x="715" y="454"/>
                  </a:lnTo>
                  <a:lnTo>
                    <a:pt x="712" y="454"/>
                  </a:lnTo>
                  <a:lnTo>
                    <a:pt x="710" y="457"/>
                  </a:lnTo>
                  <a:close/>
                  <a:moveTo>
                    <a:pt x="666" y="419"/>
                  </a:moveTo>
                  <a:lnTo>
                    <a:pt x="661" y="419"/>
                  </a:lnTo>
                  <a:lnTo>
                    <a:pt x="659" y="419"/>
                  </a:lnTo>
                  <a:lnTo>
                    <a:pt x="661" y="419"/>
                  </a:lnTo>
                  <a:lnTo>
                    <a:pt x="661" y="417"/>
                  </a:lnTo>
                  <a:lnTo>
                    <a:pt x="661" y="419"/>
                  </a:lnTo>
                  <a:lnTo>
                    <a:pt x="664" y="419"/>
                  </a:lnTo>
                  <a:lnTo>
                    <a:pt x="664" y="417"/>
                  </a:lnTo>
                  <a:lnTo>
                    <a:pt x="666" y="417"/>
                  </a:lnTo>
                  <a:lnTo>
                    <a:pt x="666" y="419"/>
                  </a:lnTo>
                  <a:close/>
                  <a:moveTo>
                    <a:pt x="664" y="422"/>
                  </a:moveTo>
                  <a:lnTo>
                    <a:pt x="664" y="419"/>
                  </a:lnTo>
                  <a:lnTo>
                    <a:pt x="666" y="419"/>
                  </a:lnTo>
                  <a:lnTo>
                    <a:pt x="668" y="419"/>
                  </a:lnTo>
                  <a:lnTo>
                    <a:pt x="666" y="419"/>
                  </a:lnTo>
                  <a:lnTo>
                    <a:pt x="666" y="422"/>
                  </a:lnTo>
                  <a:lnTo>
                    <a:pt x="664" y="422"/>
                  </a:lnTo>
                  <a:close/>
                  <a:moveTo>
                    <a:pt x="668" y="417"/>
                  </a:moveTo>
                  <a:lnTo>
                    <a:pt x="666" y="417"/>
                  </a:lnTo>
                  <a:lnTo>
                    <a:pt x="668" y="417"/>
                  </a:lnTo>
                  <a:lnTo>
                    <a:pt x="666" y="417"/>
                  </a:lnTo>
                  <a:lnTo>
                    <a:pt x="664" y="417"/>
                  </a:lnTo>
                  <a:lnTo>
                    <a:pt x="661" y="417"/>
                  </a:lnTo>
                  <a:lnTo>
                    <a:pt x="664" y="417"/>
                  </a:lnTo>
                  <a:lnTo>
                    <a:pt x="666" y="417"/>
                  </a:lnTo>
                  <a:lnTo>
                    <a:pt x="668" y="415"/>
                  </a:lnTo>
                  <a:lnTo>
                    <a:pt x="668" y="417"/>
                  </a:lnTo>
                  <a:close/>
                  <a:moveTo>
                    <a:pt x="603" y="371"/>
                  </a:moveTo>
                  <a:lnTo>
                    <a:pt x="603" y="368"/>
                  </a:lnTo>
                  <a:lnTo>
                    <a:pt x="603" y="371"/>
                  </a:lnTo>
                  <a:close/>
                  <a:moveTo>
                    <a:pt x="666" y="415"/>
                  </a:moveTo>
                  <a:lnTo>
                    <a:pt x="664" y="415"/>
                  </a:lnTo>
                  <a:lnTo>
                    <a:pt x="664" y="417"/>
                  </a:lnTo>
                  <a:lnTo>
                    <a:pt x="661" y="417"/>
                  </a:lnTo>
                  <a:lnTo>
                    <a:pt x="661" y="415"/>
                  </a:lnTo>
                  <a:lnTo>
                    <a:pt x="661" y="417"/>
                  </a:lnTo>
                  <a:lnTo>
                    <a:pt x="661" y="415"/>
                  </a:lnTo>
                  <a:lnTo>
                    <a:pt x="664" y="415"/>
                  </a:lnTo>
                  <a:lnTo>
                    <a:pt x="661" y="415"/>
                  </a:lnTo>
                  <a:lnTo>
                    <a:pt x="666" y="415"/>
                  </a:lnTo>
                  <a:lnTo>
                    <a:pt x="666" y="412"/>
                  </a:lnTo>
                  <a:lnTo>
                    <a:pt x="668" y="412"/>
                  </a:lnTo>
                  <a:lnTo>
                    <a:pt x="666" y="415"/>
                  </a:lnTo>
                  <a:close/>
                  <a:moveTo>
                    <a:pt x="675" y="417"/>
                  </a:moveTo>
                  <a:lnTo>
                    <a:pt x="677" y="417"/>
                  </a:lnTo>
                  <a:lnTo>
                    <a:pt x="680" y="417"/>
                  </a:lnTo>
                  <a:lnTo>
                    <a:pt x="677" y="417"/>
                  </a:lnTo>
                  <a:lnTo>
                    <a:pt x="675" y="417"/>
                  </a:lnTo>
                  <a:close/>
                  <a:moveTo>
                    <a:pt x="682" y="417"/>
                  </a:moveTo>
                  <a:lnTo>
                    <a:pt x="684" y="419"/>
                  </a:lnTo>
                  <a:lnTo>
                    <a:pt x="682" y="419"/>
                  </a:lnTo>
                  <a:lnTo>
                    <a:pt x="684" y="422"/>
                  </a:lnTo>
                  <a:lnTo>
                    <a:pt x="682" y="422"/>
                  </a:lnTo>
                  <a:lnTo>
                    <a:pt x="677" y="422"/>
                  </a:lnTo>
                  <a:lnTo>
                    <a:pt x="675" y="424"/>
                  </a:lnTo>
                  <a:lnTo>
                    <a:pt x="673" y="424"/>
                  </a:lnTo>
                  <a:lnTo>
                    <a:pt x="673" y="426"/>
                  </a:lnTo>
                  <a:lnTo>
                    <a:pt x="670" y="426"/>
                  </a:lnTo>
                  <a:lnTo>
                    <a:pt x="668" y="429"/>
                  </a:lnTo>
                  <a:lnTo>
                    <a:pt x="668" y="426"/>
                  </a:lnTo>
                  <a:lnTo>
                    <a:pt x="666" y="426"/>
                  </a:lnTo>
                  <a:lnTo>
                    <a:pt x="666" y="429"/>
                  </a:lnTo>
                  <a:lnTo>
                    <a:pt x="666" y="426"/>
                  </a:lnTo>
                  <a:lnTo>
                    <a:pt x="664" y="426"/>
                  </a:lnTo>
                  <a:lnTo>
                    <a:pt x="661" y="426"/>
                  </a:lnTo>
                  <a:lnTo>
                    <a:pt x="661" y="424"/>
                  </a:lnTo>
                  <a:lnTo>
                    <a:pt x="664" y="424"/>
                  </a:lnTo>
                  <a:lnTo>
                    <a:pt x="666" y="424"/>
                  </a:lnTo>
                  <a:lnTo>
                    <a:pt x="668" y="424"/>
                  </a:lnTo>
                  <a:lnTo>
                    <a:pt x="668" y="422"/>
                  </a:lnTo>
                  <a:lnTo>
                    <a:pt x="673" y="422"/>
                  </a:lnTo>
                  <a:lnTo>
                    <a:pt x="675" y="422"/>
                  </a:lnTo>
                  <a:lnTo>
                    <a:pt x="675" y="419"/>
                  </a:lnTo>
                  <a:lnTo>
                    <a:pt x="677" y="419"/>
                  </a:lnTo>
                  <a:lnTo>
                    <a:pt x="680" y="419"/>
                  </a:lnTo>
                  <a:lnTo>
                    <a:pt x="682" y="419"/>
                  </a:lnTo>
                  <a:lnTo>
                    <a:pt x="682" y="417"/>
                  </a:lnTo>
                  <a:lnTo>
                    <a:pt x="684" y="417"/>
                  </a:lnTo>
                  <a:lnTo>
                    <a:pt x="682" y="417"/>
                  </a:lnTo>
                  <a:close/>
                  <a:moveTo>
                    <a:pt x="670" y="410"/>
                  </a:moveTo>
                  <a:lnTo>
                    <a:pt x="668" y="410"/>
                  </a:lnTo>
                  <a:lnTo>
                    <a:pt x="668" y="408"/>
                  </a:lnTo>
                  <a:lnTo>
                    <a:pt x="670" y="408"/>
                  </a:lnTo>
                  <a:lnTo>
                    <a:pt x="670" y="410"/>
                  </a:lnTo>
                  <a:close/>
                  <a:moveTo>
                    <a:pt x="710" y="438"/>
                  </a:moveTo>
                  <a:lnTo>
                    <a:pt x="710" y="436"/>
                  </a:lnTo>
                  <a:lnTo>
                    <a:pt x="708" y="436"/>
                  </a:lnTo>
                  <a:lnTo>
                    <a:pt x="710" y="436"/>
                  </a:lnTo>
                  <a:lnTo>
                    <a:pt x="712" y="436"/>
                  </a:lnTo>
                  <a:lnTo>
                    <a:pt x="712" y="433"/>
                  </a:lnTo>
                  <a:lnTo>
                    <a:pt x="712" y="436"/>
                  </a:lnTo>
                  <a:lnTo>
                    <a:pt x="710" y="438"/>
                  </a:lnTo>
                  <a:close/>
                  <a:moveTo>
                    <a:pt x="438" y="212"/>
                  </a:moveTo>
                  <a:lnTo>
                    <a:pt x="438" y="215"/>
                  </a:lnTo>
                  <a:lnTo>
                    <a:pt x="440" y="215"/>
                  </a:lnTo>
                  <a:lnTo>
                    <a:pt x="440" y="217"/>
                  </a:lnTo>
                  <a:lnTo>
                    <a:pt x="440" y="219"/>
                  </a:lnTo>
                  <a:lnTo>
                    <a:pt x="438" y="219"/>
                  </a:lnTo>
                  <a:lnTo>
                    <a:pt x="438" y="222"/>
                  </a:lnTo>
                  <a:lnTo>
                    <a:pt x="438" y="224"/>
                  </a:lnTo>
                  <a:lnTo>
                    <a:pt x="435" y="224"/>
                  </a:lnTo>
                  <a:lnTo>
                    <a:pt x="435" y="226"/>
                  </a:lnTo>
                  <a:lnTo>
                    <a:pt x="433" y="226"/>
                  </a:lnTo>
                  <a:lnTo>
                    <a:pt x="433" y="229"/>
                  </a:lnTo>
                  <a:lnTo>
                    <a:pt x="435" y="229"/>
                  </a:lnTo>
                  <a:lnTo>
                    <a:pt x="433" y="229"/>
                  </a:lnTo>
                  <a:lnTo>
                    <a:pt x="431" y="229"/>
                  </a:lnTo>
                  <a:lnTo>
                    <a:pt x="431" y="226"/>
                  </a:lnTo>
                  <a:lnTo>
                    <a:pt x="428" y="226"/>
                  </a:lnTo>
                  <a:lnTo>
                    <a:pt x="428" y="224"/>
                  </a:lnTo>
                  <a:lnTo>
                    <a:pt x="426" y="224"/>
                  </a:lnTo>
                  <a:lnTo>
                    <a:pt x="428" y="226"/>
                  </a:lnTo>
                  <a:lnTo>
                    <a:pt x="426" y="226"/>
                  </a:lnTo>
                  <a:lnTo>
                    <a:pt x="426" y="224"/>
                  </a:lnTo>
                  <a:lnTo>
                    <a:pt x="424" y="224"/>
                  </a:lnTo>
                  <a:lnTo>
                    <a:pt x="424" y="222"/>
                  </a:lnTo>
                  <a:lnTo>
                    <a:pt x="421" y="224"/>
                  </a:lnTo>
                  <a:lnTo>
                    <a:pt x="424" y="224"/>
                  </a:lnTo>
                  <a:lnTo>
                    <a:pt x="424" y="226"/>
                  </a:lnTo>
                  <a:lnTo>
                    <a:pt x="421" y="226"/>
                  </a:lnTo>
                  <a:lnTo>
                    <a:pt x="421" y="224"/>
                  </a:lnTo>
                  <a:lnTo>
                    <a:pt x="421" y="222"/>
                  </a:lnTo>
                  <a:lnTo>
                    <a:pt x="421" y="219"/>
                  </a:lnTo>
                  <a:lnTo>
                    <a:pt x="419" y="219"/>
                  </a:lnTo>
                  <a:lnTo>
                    <a:pt x="419" y="217"/>
                  </a:lnTo>
                  <a:lnTo>
                    <a:pt x="419" y="215"/>
                  </a:lnTo>
                  <a:lnTo>
                    <a:pt x="417" y="210"/>
                  </a:lnTo>
                  <a:lnTo>
                    <a:pt x="419" y="210"/>
                  </a:lnTo>
                  <a:lnTo>
                    <a:pt x="417" y="210"/>
                  </a:lnTo>
                  <a:lnTo>
                    <a:pt x="417" y="208"/>
                  </a:lnTo>
                  <a:lnTo>
                    <a:pt x="417" y="210"/>
                  </a:lnTo>
                  <a:lnTo>
                    <a:pt x="417" y="208"/>
                  </a:lnTo>
                  <a:lnTo>
                    <a:pt x="417" y="205"/>
                  </a:lnTo>
                  <a:lnTo>
                    <a:pt x="417" y="203"/>
                  </a:lnTo>
                  <a:lnTo>
                    <a:pt x="417" y="201"/>
                  </a:lnTo>
                  <a:lnTo>
                    <a:pt x="419" y="198"/>
                  </a:lnTo>
                  <a:lnTo>
                    <a:pt x="419" y="201"/>
                  </a:lnTo>
                  <a:lnTo>
                    <a:pt x="421" y="201"/>
                  </a:lnTo>
                  <a:lnTo>
                    <a:pt x="421" y="203"/>
                  </a:lnTo>
                  <a:lnTo>
                    <a:pt x="424" y="208"/>
                  </a:lnTo>
                  <a:lnTo>
                    <a:pt x="426" y="208"/>
                  </a:lnTo>
                  <a:lnTo>
                    <a:pt x="426" y="205"/>
                  </a:lnTo>
                  <a:lnTo>
                    <a:pt x="428" y="205"/>
                  </a:lnTo>
                  <a:lnTo>
                    <a:pt x="431" y="205"/>
                  </a:lnTo>
                  <a:lnTo>
                    <a:pt x="431" y="208"/>
                  </a:lnTo>
                  <a:lnTo>
                    <a:pt x="433" y="208"/>
                  </a:lnTo>
                  <a:lnTo>
                    <a:pt x="433" y="210"/>
                  </a:lnTo>
                  <a:lnTo>
                    <a:pt x="435" y="210"/>
                  </a:lnTo>
                  <a:lnTo>
                    <a:pt x="438" y="210"/>
                  </a:lnTo>
                  <a:lnTo>
                    <a:pt x="438" y="212"/>
                  </a:lnTo>
                  <a:lnTo>
                    <a:pt x="438" y="210"/>
                  </a:lnTo>
                  <a:lnTo>
                    <a:pt x="438" y="212"/>
                  </a:lnTo>
                  <a:close/>
                  <a:moveTo>
                    <a:pt x="694" y="419"/>
                  </a:moveTo>
                  <a:lnTo>
                    <a:pt x="694" y="422"/>
                  </a:lnTo>
                  <a:lnTo>
                    <a:pt x="696" y="422"/>
                  </a:lnTo>
                  <a:lnTo>
                    <a:pt x="694" y="424"/>
                  </a:lnTo>
                  <a:lnTo>
                    <a:pt x="696" y="424"/>
                  </a:lnTo>
                  <a:lnTo>
                    <a:pt x="698" y="424"/>
                  </a:lnTo>
                  <a:lnTo>
                    <a:pt x="696" y="424"/>
                  </a:lnTo>
                  <a:lnTo>
                    <a:pt x="698" y="426"/>
                  </a:lnTo>
                  <a:lnTo>
                    <a:pt x="696" y="426"/>
                  </a:lnTo>
                  <a:lnTo>
                    <a:pt x="694" y="424"/>
                  </a:lnTo>
                  <a:lnTo>
                    <a:pt x="691" y="424"/>
                  </a:lnTo>
                  <a:lnTo>
                    <a:pt x="689" y="426"/>
                  </a:lnTo>
                  <a:lnTo>
                    <a:pt x="689" y="424"/>
                  </a:lnTo>
                  <a:lnTo>
                    <a:pt x="687" y="424"/>
                  </a:lnTo>
                  <a:lnTo>
                    <a:pt x="689" y="424"/>
                  </a:lnTo>
                  <a:lnTo>
                    <a:pt x="691" y="424"/>
                  </a:lnTo>
                  <a:lnTo>
                    <a:pt x="691" y="422"/>
                  </a:lnTo>
                  <a:lnTo>
                    <a:pt x="689" y="422"/>
                  </a:lnTo>
                  <a:lnTo>
                    <a:pt x="689" y="419"/>
                  </a:lnTo>
                  <a:lnTo>
                    <a:pt x="691" y="419"/>
                  </a:lnTo>
                  <a:lnTo>
                    <a:pt x="694" y="419"/>
                  </a:lnTo>
                  <a:close/>
                  <a:moveTo>
                    <a:pt x="677" y="408"/>
                  </a:moveTo>
                  <a:lnTo>
                    <a:pt x="677" y="410"/>
                  </a:lnTo>
                  <a:lnTo>
                    <a:pt x="675" y="410"/>
                  </a:lnTo>
                  <a:lnTo>
                    <a:pt x="675" y="412"/>
                  </a:lnTo>
                  <a:lnTo>
                    <a:pt x="677" y="412"/>
                  </a:lnTo>
                  <a:lnTo>
                    <a:pt x="675" y="412"/>
                  </a:lnTo>
                  <a:lnTo>
                    <a:pt x="675" y="415"/>
                  </a:lnTo>
                  <a:lnTo>
                    <a:pt x="673" y="415"/>
                  </a:lnTo>
                  <a:lnTo>
                    <a:pt x="670" y="417"/>
                  </a:lnTo>
                  <a:lnTo>
                    <a:pt x="670" y="415"/>
                  </a:lnTo>
                  <a:lnTo>
                    <a:pt x="670" y="412"/>
                  </a:lnTo>
                  <a:lnTo>
                    <a:pt x="673" y="412"/>
                  </a:lnTo>
                  <a:lnTo>
                    <a:pt x="673" y="410"/>
                  </a:lnTo>
                  <a:lnTo>
                    <a:pt x="673" y="412"/>
                  </a:lnTo>
                  <a:lnTo>
                    <a:pt x="673" y="410"/>
                  </a:lnTo>
                  <a:lnTo>
                    <a:pt x="675" y="410"/>
                  </a:lnTo>
                  <a:lnTo>
                    <a:pt x="673" y="410"/>
                  </a:lnTo>
                  <a:lnTo>
                    <a:pt x="675" y="408"/>
                  </a:lnTo>
                  <a:lnTo>
                    <a:pt x="677" y="408"/>
                  </a:lnTo>
                  <a:lnTo>
                    <a:pt x="675" y="408"/>
                  </a:lnTo>
                  <a:lnTo>
                    <a:pt x="675" y="410"/>
                  </a:lnTo>
                  <a:lnTo>
                    <a:pt x="677" y="410"/>
                  </a:lnTo>
                  <a:lnTo>
                    <a:pt x="677" y="408"/>
                  </a:lnTo>
                  <a:close/>
                  <a:moveTo>
                    <a:pt x="615" y="371"/>
                  </a:moveTo>
                  <a:lnTo>
                    <a:pt x="615" y="368"/>
                  </a:lnTo>
                  <a:lnTo>
                    <a:pt x="615" y="371"/>
                  </a:lnTo>
                  <a:lnTo>
                    <a:pt x="617" y="368"/>
                  </a:lnTo>
                  <a:lnTo>
                    <a:pt x="619" y="368"/>
                  </a:lnTo>
                  <a:lnTo>
                    <a:pt x="619" y="366"/>
                  </a:lnTo>
                  <a:lnTo>
                    <a:pt x="619" y="368"/>
                  </a:lnTo>
                  <a:lnTo>
                    <a:pt x="617" y="368"/>
                  </a:lnTo>
                  <a:lnTo>
                    <a:pt x="617" y="371"/>
                  </a:lnTo>
                  <a:lnTo>
                    <a:pt x="615" y="371"/>
                  </a:lnTo>
                  <a:close/>
                  <a:moveTo>
                    <a:pt x="366" y="131"/>
                  </a:moveTo>
                  <a:lnTo>
                    <a:pt x="368" y="133"/>
                  </a:lnTo>
                  <a:lnTo>
                    <a:pt x="368" y="135"/>
                  </a:lnTo>
                  <a:lnTo>
                    <a:pt x="368" y="138"/>
                  </a:lnTo>
                  <a:lnTo>
                    <a:pt x="368" y="135"/>
                  </a:lnTo>
                  <a:lnTo>
                    <a:pt x="366" y="135"/>
                  </a:lnTo>
                  <a:lnTo>
                    <a:pt x="366" y="133"/>
                  </a:lnTo>
                  <a:lnTo>
                    <a:pt x="363" y="131"/>
                  </a:lnTo>
                  <a:lnTo>
                    <a:pt x="363" y="128"/>
                  </a:lnTo>
                  <a:lnTo>
                    <a:pt x="363" y="126"/>
                  </a:lnTo>
                  <a:lnTo>
                    <a:pt x="363" y="121"/>
                  </a:lnTo>
                  <a:lnTo>
                    <a:pt x="366" y="121"/>
                  </a:lnTo>
                  <a:lnTo>
                    <a:pt x="368" y="121"/>
                  </a:lnTo>
                  <a:lnTo>
                    <a:pt x="366" y="121"/>
                  </a:lnTo>
                  <a:lnTo>
                    <a:pt x="366" y="124"/>
                  </a:lnTo>
                  <a:lnTo>
                    <a:pt x="366" y="126"/>
                  </a:lnTo>
                  <a:lnTo>
                    <a:pt x="366" y="131"/>
                  </a:lnTo>
                  <a:close/>
                  <a:moveTo>
                    <a:pt x="701" y="424"/>
                  </a:moveTo>
                  <a:lnTo>
                    <a:pt x="696" y="422"/>
                  </a:lnTo>
                  <a:lnTo>
                    <a:pt x="698" y="422"/>
                  </a:lnTo>
                  <a:lnTo>
                    <a:pt x="701" y="422"/>
                  </a:lnTo>
                  <a:lnTo>
                    <a:pt x="703" y="422"/>
                  </a:lnTo>
                  <a:lnTo>
                    <a:pt x="705" y="422"/>
                  </a:lnTo>
                  <a:lnTo>
                    <a:pt x="708" y="422"/>
                  </a:lnTo>
                  <a:lnTo>
                    <a:pt x="708" y="424"/>
                  </a:lnTo>
                  <a:lnTo>
                    <a:pt x="705" y="424"/>
                  </a:lnTo>
                  <a:lnTo>
                    <a:pt x="703" y="424"/>
                  </a:lnTo>
                  <a:lnTo>
                    <a:pt x="701" y="424"/>
                  </a:lnTo>
                  <a:close/>
                  <a:moveTo>
                    <a:pt x="366" y="119"/>
                  </a:moveTo>
                  <a:lnTo>
                    <a:pt x="366" y="117"/>
                  </a:lnTo>
                  <a:lnTo>
                    <a:pt x="368" y="117"/>
                  </a:lnTo>
                  <a:lnTo>
                    <a:pt x="368" y="119"/>
                  </a:lnTo>
                  <a:lnTo>
                    <a:pt x="366" y="119"/>
                  </a:lnTo>
                  <a:close/>
                  <a:moveTo>
                    <a:pt x="684" y="405"/>
                  </a:moveTo>
                  <a:lnTo>
                    <a:pt x="687" y="405"/>
                  </a:lnTo>
                  <a:lnTo>
                    <a:pt x="687" y="408"/>
                  </a:lnTo>
                  <a:lnTo>
                    <a:pt x="684" y="408"/>
                  </a:lnTo>
                  <a:lnTo>
                    <a:pt x="684" y="405"/>
                  </a:lnTo>
                  <a:close/>
                  <a:moveTo>
                    <a:pt x="680" y="398"/>
                  </a:moveTo>
                  <a:lnTo>
                    <a:pt x="680" y="401"/>
                  </a:lnTo>
                  <a:lnTo>
                    <a:pt x="680" y="398"/>
                  </a:lnTo>
                  <a:lnTo>
                    <a:pt x="680" y="401"/>
                  </a:lnTo>
                  <a:lnTo>
                    <a:pt x="677" y="401"/>
                  </a:lnTo>
                  <a:lnTo>
                    <a:pt x="677" y="398"/>
                  </a:lnTo>
                  <a:lnTo>
                    <a:pt x="677" y="401"/>
                  </a:lnTo>
                  <a:lnTo>
                    <a:pt x="677" y="398"/>
                  </a:lnTo>
                  <a:lnTo>
                    <a:pt x="680" y="398"/>
                  </a:lnTo>
                  <a:close/>
                  <a:moveTo>
                    <a:pt x="675" y="398"/>
                  </a:moveTo>
                  <a:lnTo>
                    <a:pt x="675" y="401"/>
                  </a:lnTo>
                  <a:lnTo>
                    <a:pt x="675" y="398"/>
                  </a:lnTo>
                  <a:lnTo>
                    <a:pt x="675" y="396"/>
                  </a:lnTo>
                  <a:lnTo>
                    <a:pt x="677" y="396"/>
                  </a:lnTo>
                  <a:lnTo>
                    <a:pt x="677" y="398"/>
                  </a:lnTo>
                  <a:lnTo>
                    <a:pt x="675" y="398"/>
                  </a:lnTo>
                  <a:close/>
                  <a:moveTo>
                    <a:pt x="696" y="408"/>
                  </a:moveTo>
                  <a:lnTo>
                    <a:pt x="696" y="405"/>
                  </a:lnTo>
                  <a:lnTo>
                    <a:pt x="698" y="405"/>
                  </a:lnTo>
                  <a:lnTo>
                    <a:pt x="698" y="408"/>
                  </a:lnTo>
                  <a:lnTo>
                    <a:pt x="696" y="408"/>
                  </a:lnTo>
                  <a:close/>
                  <a:moveTo>
                    <a:pt x="694" y="401"/>
                  </a:moveTo>
                  <a:lnTo>
                    <a:pt x="694" y="403"/>
                  </a:lnTo>
                  <a:lnTo>
                    <a:pt x="694" y="401"/>
                  </a:lnTo>
                  <a:lnTo>
                    <a:pt x="694" y="403"/>
                  </a:lnTo>
                  <a:lnTo>
                    <a:pt x="691" y="403"/>
                  </a:lnTo>
                  <a:lnTo>
                    <a:pt x="694" y="403"/>
                  </a:lnTo>
                  <a:lnTo>
                    <a:pt x="691" y="403"/>
                  </a:lnTo>
                  <a:lnTo>
                    <a:pt x="691" y="401"/>
                  </a:lnTo>
                  <a:lnTo>
                    <a:pt x="691" y="403"/>
                  </a:lnTo>
                  <a:lnTo>
                    <a:pt x="691" y="401"/>
                  </a:lnTo>
                  <a:lnTo>
                    <a:pt x="689" y="401"/>
                  </a:lnTo>
                  <a:lnTo>
                    <a:pt x="691" y="401"/>
                  </a:lnTo>
                  <a:lnTo>
                    <a:pt x="694" y="401"/>
                  </a:lnTo>
                  <a:lnTo>
                    <a:pt x="691" y="401"/>
                  </a:lnTo>
                  <a:lnTo>
                    <a:pt x="694" y="401"/>
                  </a:lnTo>
                  <a:close/>
                  <a:moveTo>
                    <a:pt x="682" y="394"/>
                  </a:moveTo>
                  <a:lnTo>
                    <a:pt x="682" y="396"/>
                  </a:lnTo>
                  <a:lnTo>
                    <a:pt x="680" y="396"/>
                  </a:lnTo>
                  <a:lnTo>
                    <a:pt x="677" y="396"/>
                  </a:lnTo>
                  <a:lnTo>
                    <a:pt x="677" y="394"/>
                  </a:lnTo>
                  <a:lnTo>
                    <a:pt x="680" y="394"/>
                  </a:lnTo>
                  <a:lnTo>
                    <a:pt x="680" y="392"/>
                  </a:lnTo>
                  <a:lnTo>
                    <a:pt x="682" y="394"/>
                  </a:lnTo>
                  <a:close/>
                  <a:moveTo>
                    <a:pt x="654" y="366"/>
                  </a:moveTo>
                  <a:lnTo>
                    <a:pt x="657" y="366"/>
                  </a:lnTo>
                  <a:lnTo>
                    <a:pt x="654" y="366"/>
                  </a:lnTo>
                  <a:close/>
                  <a:moveTo>
                    <a:pt x="480" y="175"/>
                  </a:moveTo>
                  <a:lnTo>
                    <a:pt x="480" y="173"/>
                  </a:lnTo>
                  <a:lnTo>
                    <a:pt x="482" y="173"/>
                  </a:lnTo>
                  <a:lnTo>
                    <a:pt x="480" y="173"/>
                  </a:lnTo>
                  <a:lnTo>
                    <a:pt x="480" y="175"/>
                  </a:lnTo>
                  <a:close/>
                  <a:moveTo>
                    <a:pt x="463" y="105"/>
                  </a:moveTo>
                  <a:lnTo>
                    <a:pt x="466" y="103"/>
                  </a:lnTo>
                  <a:lnTo>
                    <a:pt x="466" y="101"/>
                  </a:lnTo>
                  <a:lnTo>
                    <a:pt x="466" y="103"/>
                  </a:lnTo>
                  <a:lnTo>
                    <a:pt x="466" y="105"/>
                  </a:lnTo>
                  <a:lnTo>
                    <a:pt x="463" y="105"/>
                  </a:lnTo>
                  <a:close/>
                  <a:moveTo>
                    <a:pt x="475" y="101"/>
                  </a:moveTo>
                  <a:lnTo>
                    <a:pt x="477" y="103"/>
                  </a:lnTo>
                  <a:lnTo>
                    <a:pt x="475" y="101"/>
                  </a:lnTo>
                  <a:close/>
                  <a:moveTo>
                    <a:pt x="466" y="91"/>
                  </a:moveTo>
                  <a:lnTo>
                    <a:pt x="463" y="94"/>
                  </a:lnTo>
                  <a:lnTo>
                    <a:pt x="466" y="94"/>
                  </a:lnTo>
                  <a:lnTo>
                    <a:pt x="466" y="91"/>
                  </a:lnTo>
                  <a:lnTo>
                    <a:pt x="463" y="87"/>
                  </a:lnTo>
                  <a:lnTo>
                    <a:pt x="466" y="89"/>
                  </a:lnTo>
                  <a:lnTo>
                    <a:pt x="466" y="91"/>
                  </a:lnTo>
                  <a:close/>
                  <a:moveTo>
                    <a:pt x="461" y="82"/>
                  </a:moveTo>
                  <a:lnTo>
                    <a:pt x="463" y="84"/>
                  </a:lnTo>
                  <a:lnTo>
                    <a:pt x="463" y="82"/>
                  </a:lnTo>
                  <a:lnTo>
                    <a:pt x="461" y="82"/>
                  </a:lnTo>
                  <a:close/>
                  <a:moveTo>
                    <a:pt x="466" y="77"/>
                  </a:moveTo>
                  <a:lnTo>
                    <a:pt x="466" y="75"/>
                  </a:lnTo>
                  <a:lnTo>
                    <a:pt x="466" y="77"/>
                  </a:lnTo>
                  <a:close/>
                  <a:moveTo>
                    <a:pt x="559" y="175"/>
                  </a:moveTo>
                  <a:lnTo>
                    <a:pt x="559" y="177"/>
                  </a:lnTo>
                  <a:lnTo>
                    <a:pt x="556" y="175"/>
                  </a:lnTo>
                  <a:lnTo>
                    <a:pt x="554" y="175"/>
                  </a:lnTo>
                  <a:lnTo>
                    <a:pt x="554" y="173"/>
                  </a:lnTo>
                  <a:lnTo>
                    <a:pt x="556" y="173"/>
                  </a:lnTo>
                  <a:lnTo>
                    <a:pt x="559" y="173"/>
                  </a:lnTo>
                  <a:lnTo>
                    <a:pt x="559" y="175"/>
                  </a:lnTo>
                  <a:lnTo>
                    <a:pt x="561" y="175"/>
                  </a:lnTo>
                  <a:lnTo>
                    <a:pt x="559" y="175"/>
                  </a:lnTo>
                  <a:close/>
                  <a:moveTo>
                    <a:pt x="466" y="66"/>
                  </a:moveTo>
                  <a:lnTo>
                    <a:pt x="463" y="68"/>
                  </a:lnTo>
                  <a:lnTo>
                    <a:pt x="463" y="73"/>
                  </a:lnTo>
                  <a:lnTo>
                    <a:pt x="463" y="70"/>
                  </a:lnTo>
                  <a:lnTo>
                    <a:pt x="461" y="70"/>
                  </a:lnTo>
                  <a:lnTo>
                    <a:pt x="461" y="73"/>
                  </a:lnTo>
                  <a:lnTo>
                    <a:pt x="463" y="73"/>
                  </a:lnTo>
                  <a:lnTo>
                    <a:pt x="463" y="75"/>
                  </a:lnTo>
                  <a:lnTo>
                    <a:pt x="463" y="73"/>
                  </a:lnTo>
                  <a:lnTo>
                    <a:pt x="466" y="75"/>
                  </a:lnTo>
                  <a:lnTo>
                    <a:pt x="466" y="77"/>
                  </a:lnTo>
                  <a:lnTo>
                    <a:pt x="466" y="80"/>
                  </a:lnTo>
                  <a:lnTo>
                    <a:pt x="468" y="80"/>
                  </a:lnTo>
                  <a:lnTo>
                    <a:pt x="470" y="80"/>
                  </a:lnTo>
                  <a:lnTo>
                    <a:pt x="473" y="80"/>
                  </a:lnTo>
                  <a:lnTo>
                    <a:pt x="473" y="82"/>
                  </a:lnTo>
                  <a:lnTo>
                    <a:pt x="475" y="82"/>
                  </a:lnTo>
                  <a:lnTo>
                    <a:pt x="475" y="84"/>
                  </a:lnTo>
                  <a:lnTo>
                    <a:pt x="477" y="84"/>
                  </a:lnTo>
                  <a:lnTo>
                    <a:pt x="475" y="84"/>
                  </a:lnTo>
                  <a:lnTo>
                    <a:pt x="475" y="87"/>
                  </a:lnTo>
                  <a:lnTo>
                    <a:pt x="477" y="89"/>
                  </a:lnTo>
                  <a:lnTo>
                    <a:pt x="475" y="89"/>
                  </a:lnTo>
                  <a:lnTo>
                    <a:pt x="475" y="91"/>
                  </a:lnTo>
                  <a:lnTo>
                    <a:pt x="473" y="91"/>
                  </a:lnTo>
                  <a:lnTo>
                    <a:pt x="475" y="94"/>
                  </a:lnTo>
                  <a:lnTo>
                    <a:pt x="475" y="96"/>
                  </a:lnTo>
                  <a:lnTo>
                    <a:pt x="475" y="98"/>
                  </a:lnTo>
                  <a:lnTo>
                    <a:pt x="477" y="98"/>
                  </a:lnTo>
                  <a:lnTo>
                    <a:pt x="475" y="98"/>
                  </a:lnTo>
                  <a:lnTo>
                    <a:pt x="475" y="101"/>
                  </a:lnTo>
                  <a:lnTo>
                    <a:pt x="475" y="103"/>
                  </a:lnTo>
                  <a:lnTo>
                    <a:pt x="477" y="103"/>
                  </a:lnTo>
                  <a:lnTo>
                    <a:pt x="477" y="105"/>
                  </a:lnTo>
                  <a:lnTo>
                    <a:pt x="477" y="107"/>
                  </a:lnTo>
                  <a:lnTo>
                    <a:pt x="480" y="107"/>
                  </a:lnTo>
                  <a:lnTo>
                    <a:pt x="480" y="105"/>
                  </a:lnTo>
                  <a:lnTo>
                    <a:pt x="477" y="105"/>
                  </a:lnTo>
                  <a:lnTo>
                    <a:pt x="480" y="107"/>
                  </a:lnTo>
                  <a:lnTo>
                    <a:pt x="482" y="112"/>
                  </a:lnTo>
                  <a:lnTo>
                    <a:pt x="480" y="112"/>
                  </a:lnTo>
                  <a:lnTo>
                    <a:pt x="480" y="114"/>
                  </a:lnTo>
                  <a:lnTo>
                    <a:pt x="477" y="114"/>
                  </a:lnTo>
                  <a:lnTo>
                    <a:pt x="477" y="112"/>
                  </a:lnTo>
                  <a:lnTo>
                    <a:pt x="475" y="112"/>
                  </a:lnTo>
                  <a:lnTo>
                    <a:pt x="475" y="110"/>
                  </a:lnTo>
                  <a:lnTo>
                    <a:pt x="473" y="107"/>
                  </a:lnTo>
                  <a:lnTo>
                    <a:pt x="475" y="110"/>
                  </a:lnTo>
                  <a:lnTo>
                    <a:pt x="473" y="107"/>
                  </a:lnTo>
                  <a:lnTo>
                    <a:pt x="470" y="107"/>
                  </a:lnTo>
                  <a:lnTo>
                    <a:pt x="468" y="107"/>
                  </a:lnTo>
                  <a:lnTo>
                    <a:pt x="466" y="107"/>
                  </a:lnTo>
                  <a:lnTo>
                    <a:pt x="466" y="110"/>
                  </a:lnTo>
                  <a:lnTo>
                    <a:pt x="463" y="110"/>
                  </a:lnTo>
                  <a:lnTo>
                    <a:pt x="463" y="107"/>
                  </a:lnTo>
                  <a:lnTo>
                    <a:pt x="463" y="105"/>
                  </a:lnTo>
                  <a:lnTo>
                    <a:pt x="463" y="107"/>
                  </a:lnTo>
                  <a:lnTo>
                    <a:pt x="466" y="107"/>
                  </a:lnTo>
                  <a:lnTo>
                    <a:pt x="466" y="105"/>
                  </a:lnTo>
                  <a:lnTo>
                    <a:pt x="466" y="103"/>
                  </a:lnTo>
                  <a:lnTo>
                    <a:pt x="466" y="101"/>
                  </a:lnTo>
                  <a:lnTo>
                    <a:pt x="466" y="98"/>
                  </a:lnTo>
                  <a:lnTo>
                    <a:pt x="463" y="98"/>
                  </a:lnTo>
                  <a:lnTo>
                    <a:pt x="463" y="96"/>
                  </a:lnTo>
                  <a:lnTo>
                    <a:pt x="466" y="96"/>
                  </a:lnTo>
                  <a:lnTo>
                    <a:pt x="466" y="94"/>
                  </a:lnTo>
                  <a:lnTo>
                    <a:pt x="466" y="91"/>
                  </a:lnTo>
                  <a:lnTo>
                    <a:pt x="466" y="87"/>
                  </a:lnTo>
                  <a:lnTo>
                    <a:pt x="463" y="84"/>
                  </a:lnTo>
                  <a:lnTo>
                    <a:pt x="463" y="82"/>
                  </a:lnTo>
                  <a:lnTo>
                    <a:pt x="461" y="80"/>
                  </a:lnTo>
                  <a:lnTo>
                    <a:pt x="461" y="82"/>
                  </a:lnTo>
                  <a:lnTo>
                    <a:pt x="461" y="80"/>
                  </a:lnTo>
                  <a:lnTo>
                    <a:pt x="459" y="80"/>
                  </a:lnTo>
                  <a:lnTo>
                    <a:pt x="456" y="80"/>
                  </a:lnTo>
                  <a:lnTo>
                    <a:pt x="454" y="80"/>
                  </a:lnTo>
                  <a:lnTo>
                    <a:pt x="454" y="77"/>
                  </a:lnTo>
                  <a:lnTo>
                    <a:pt x="454" y="75"/>
                  </a:lnTo>
                  <a:lnTo>
                    <a:pt x="454" y="73"/>
                  </a:lnTo>
                  <a:lnTo>
                    <a:pt x="454" y="70"/>
                  </a:lnTo>
                  <a:lnTo>
                    <a:pt x="456" y="70"/>
                  </a:lnTo>
                  <a:lnTo>
                    <a:pt x="456" y="68"/>
                  </a:lnTo>
                  <a:lnTo>
                    <a:pt x="459" y="68"/>
                  </a:lnTo>
                  <a:lnTo>
                    <a:pt x="461" y="68"/>
                  </a:lnTo>
                  <a:lnTo>
                    <a:pt x="463" y="66"/>
                  </a:lnTo>
                  <a:lnTo>
                    <a:pt x="466" y="66"/>
                  </a:lnTo>
                  <a:close/>
                  <a:moveTo>
                    <a:pt x="554" y="63"/>
                  </a:moveTo>
                  <a:lnTo>
                    <a:pt x="556" y="63"/>
                  </a:lnTo>
                  <a:lnTo>
                    <a:pt x="554" y="63"/>
                  </a:lnTo>
                  <a:close/>
                  <a:moveTo>
                    <a:pt x="559" y="63"/>
                  </a:moveTo>
                  <a:lnTo>
                    <a:pt x="559" y="66"/>
                  </a:lnTo>
                  <a:lnTo>
                    <a:pt x="556" y="66"/>
                  </a:lnTo>
                  <a:lnTo>
                    <a:pt x="556" y="63"/>
                  </a:lnTo>
                  <a:lnTo>
                    <a:pt x="559" y="63"/>
                  </a:lnTo>
                  <a:lnTo>
                    <a:pt x="559" y="66"/>
                  </a:lnTo>
                  <a:lnTo>
                    <a:pt x="559" y="63"/>
                  </a:lnTo>
                  <a:close/>
                  <a:moveTo>
                    <a:pt x="566" y="66"/>
                  </a:moveTo>
                  <a:lnTo>
                    <a:pt x="573" y="66"/>
                  </a:lnTo>
                  <a:lnTo>
                    <a:pt x="570" y="66"/>
                  </a:lnTo>
                  <a:lnTo>
                    <a:pt x="568" y="66"/>
                  </a:lnTo>
                  <a:lnTo>
                    <a:pt x="566" y="66"/>
                  </a:lnTo>
                  <a:close/>
                  <a:moveTo>
                    <a:pt x="575" y="68"/>
                  </a:moveTo>
                  <a:lnTo>
                    <a:pt x="573" y="68"/>
                  </a:lnTo>
                  <a:lnTo>
                    <a:pt x="573" y="66"/>
                  </a:lnTo>
                  <a:lnTo>
                    <a:pt x="575" y="66"/>
                  </a:lnTo>
                  <a:lnTo>
                    <a:pt x="582" y="68"/>
                  </a:lnTo>
                  <a:lnTo>
                    <a:pt x="584" y="70"/>
                  </a:lnTo>
                  <a:lnTo>
                    <a:pt x="582" y="70"/>
                  </a:lnTo>
                  <a:lnTo>
                    <a:pt x="582" y="68"/>
                  </a:lnTo>
                  <a:lnTo>
                    <a:pt x="580" y="68"/>
                  </a:lnTo>
                  <a:lnTo>
                    <a:pt x="577" y="68"/>
                  </a:lnTo>
                  <a:lnTo>
                    <a:pt x="575" y="68"/>
                  </a:lnTo>
                  <a:close/>
                  <a:moveTo>
                    <a:pt x="584" y="70"/>
                  </a:moveTo>
                  <a:lnTo>
                    <a:pt x="587" y="70"/>
                  </a:lnTo>
                  <a:lnTo>
                    <a:pt x="584" y="70"/>
                  </a:lnTo>
                  <a:close/>
                  <a:moveTo>
                    <a:pt x="587" y="70"/>
                  </a:moveTo>
                  <a:lnTo>
                    <a:pt x="589" y="70"/>
                  </a:lnTo>
                  <a:lnTo>
                    <a:pt x="591" y="70"/>
                  </a:lnTo>
                  <a:lnTo>
                    <a:pt x="589" y="70"/>
                  </a:lnTo>
                  <a:lnTo>
                    <a:pt x="587" y="70"/>
                  </a:lnTo>
                  <a:close/>
                  <a:moveTo>
                    <a:pt x="596" y="73"/>
                  </a:moveTo>
                  <a:lnTo>
                    <a:pt x="594" y="70"/>
                  </a:lnTo>
                  <a:lnTo>
                    <a:pt x="596" y="73"/>
                  </a:lnTo>
                  <a:close/>
                  <a:moveTo>
                    <a:pt x="598" y="73"/>
                  </a:moveTo>
                  <a:lnTo>
                    <a:pt x="596" y="73"/>
                  </a:lnTo>
                  <a:lnTo>
                    <a:pt x="598" y="73"/>
                  </a:lnTo>
                  <a:close/>
                  <a:moveTo>
                    <a:pt x="598" y="73"/>
                  </a:moveTo>
                  <a:lnTo>
                    <a:pt x="603" y="75"/>
                  </a:lnTo>
                  <a:lnTo>
                    <a:pt x="608" y="75"/>
                  </a:lnTo>
                  <a:lnTo>
                    <a:pt x="605" y="75"/>
                  </a:lnTo>
                  <a:lnTo>
                    <a:pt x="603" y="75"/>
                  </a:lnTo>
                  <a:lnTo>
                    <a:pt x="601" y="73"/>
                  </a:lnTo>
                  <a:lnTo>
                    <a:pt x="598" y="73"/>
                  </a:lnTo>
                  <a:close/>
                  <a:moveTo>
                    <a:pt x="701" y="12"/>
                  </a:moveTo>
                  <a:lnTo>
                    <a:pt x="698" y="14"/>
                  </a:lnTo>
                  <a:lnTo>
                    <a:pt x="698" y="12"/>
                  </a:lnTo>
                  <a:lnTo>
                    <a:pt x="701" y="12"/>
                  </a:lnTo>
                  <a:lnTo>
                    <a:pt x="701" y="10"/>
                  </a:lnTo>
                  <a:lnTo>
                    <a:pt x="703" y="10"/>
                  </a:lnTo>
                  <a:lnTo>
                    <a:pt x="705" y="10"/>
                  </a:lnTo>
                  <a:lnTo>
                    <a:pt x="703" y="10"/>
                  </a:lnTo>
                  <a:lnTo>
                    <a:pt x="701" y="10"/>
                  </a:lnTo>
                  <a:lnTo>
                    <a:pt x="701" y="12"/>
                  </a:lnTo>
                  <a:close/>
                  <a:moveTo>
                    <a:pt x="931" y="180"/>
                  </a:moveTo>
                  <a:lnTo>
                    <a:pt x="931" y="177"/>
                  </a:lnTo>
                  <a:lnTo>
                    <a:pt x="931" y="175"/>
                  </a:lnTo>
                  <a:lnTo>
                    <a:pt x="929" y="175"/>
                  </a:lnTo>
                  <a:lnTo>
                    <a:pt x="929" y="173"/>
                  </a:lnTo>
                  <a:lnTo>
                    <a:pt x="931" y="177"/>
                  </a:lnTo>
                  <a:lnTo>
                    <a:pt x="931" y="180"/>
                  </a:lnTo>
                  <a:close/>
                  <a:moveTo>
                    <a:pt x="705" y="7"/>
                  </a:moveTo>
                  <a:lnTo>
                    <a:pt x="708" y="7"/>
                  </a:lnTo>
                  <a:lnTo>
                    <a:pt x="710" y="5"/>
                  </a:lnTo>
                  <a:lnTo>
                    <a:pt x="715" y="5"/>
                  </a:lnTo>
                  <a:lnTo>
                    <a:pt x="712" y="5"/>
                  </a:lnTo>
                  <a:lnTo>
                    <a:pt x="710" y="5"/>
                  </a:lnTo>
                  <a:lnTo>
                    <a:pt x="708" y="7"/>
                  </a:lnTo>
                  <a:lnTo>
                    <a:pt x="705" y="7"/>
                  </a:lnTo>
                  <a:close/>
                  <a:moveTo>
                    <a:pt x="715" y="5"/>
                  </a:moveTo>
                  <a:lnTo>
                    <a:pt x="717" y="5"/>
                  </a:lnTo>
                  <a:lnTo>
                    <a:pt x="717" y="3"/>
                  </a:lnTo>
                  <a:lnTo>
                    <a:pt x="719" y="3"/>
                  </a:lnTo>
                  <a:lnTo>
                    <a:pt x="717" y="3"/>
                  </a:lnTo>
                  <a:lnTo>
                    <a:pt x="717" y="5"/>
                  </a:lnTo>
                  <a:lnTo>
                    <a:pt x="715" y="5"/>
                  </a:lnTo>
                  <a:close/>
                  <a:moveTo>
                    <a:pt x="722" y="3"/>
                  </a:moveTo>
                  <a:lnTo>
                    <a:pt x="724" y="0"/>
                  </a:lnTo>
                  <a:lnTo>
                    <a:pt x="726" y="0"/>
                  </a:lnTo>
                  <a:lnTo>
                    <a:pt x="729" y="3"/>
                  </a:lnTo>
                  <a:lnTo>
                    <a:pt x="726" y="0"/>
                  </a:lnTo>
                  <a:lnTo>
                    <a:pt x="722" y="3"/>
                  </a:lnTo>
                  <a:close/>
                  <a:moveTo>
                    <a:pt x="733" y="3"/>
                  </a:moveTo>
                  <a:lnTo>
                    <a:pt x="736" y="5"/>
                  </a:lnTo>
                  <a:lnTo>
                    <a:pt x="733" y="3"/>
                  </a:lnTo>
                  <a:lnTo>
                    <a:pt x="731" y="3"/>
                  </a:lnTo>
                  <a:lnTo>
                    <a:pt x="733" y="3"/>
                  </a:lnTo>
                  <a:close/>
                  <a:moveTo>
                    <a:pt x="864" y="98"/>
                  </a:moveTo>
                  <a:lnTo>
                    <a:pt x="864" y="101"/>
                  </a:lnTo>
                  <a:lnTo>
                    <a:pt x="866" y="101"/>
                  </a:lnTo>
                  <a:lnTo>
                    <a:pt x="866" y="103"/>
                  </a:lnTo>
                  <a:lnTo>
                    <a:pt x="864" y="103"/>
                  </a:lnTo>
                  <a:lnTo>
                    <a:pt x="864" y="101"/>
                  </a:lnTo>
                  <a:lnTo>
                    <a:pt x="864" y="98"/>
                  </a:lnTo>
                  <a:lnTo>
                    <a:pt x="861" y="98"/>
                  </a:lnTo>
                  <a:lnTo>
                    <a:pt x="864" y="98"/>
                  </a:lnTo>
                  <a:close/>
                  <a:moveTo>
                    <a:pt x="812" y="17"/>
                  </a:moveTo>
                  <a:lnTo>
                    <a:pt x="812" y="19"/>
                  </a:lnTo>
                  <a:lnTo>
                    <a:pt x="810" y="19"/>
                  </a:lnTo>
                  <a:lnTo>
                    <a:pt x="810" y="17"/>
                  </a:lnTo>
                  <a:lnTo>
                    <a:pt x="808" y="17"/>
                  </a:lnTo>
                  <a:lnTo>
                    <a:pt x="808" y="19"/>
                  </a:lnTo>
                  <a:lnTo>
                    <a:pt x="808" y="21"/>
                  </a:lnTo>
                  <a:lnTo>
                    <a:pt x="810" y="24"/>
                  </a:lnTo>
                  <a:lnTo>
                    <a:pt x="810" y="26"/>
                  </a:lnTo>
                  <a:lnTo>
                    <a:pt x="808" y="26"/>
                  </a:lnTo>
                  <a:lnTo>
                    <a:pt x="810" y="26"/>
                  </a:lnTo>
                  <a:lnTo>
                    <a:pt x="812" y="26"/>
                  </a:lnTo>
                  <a:lnTo>
                    <a:pt x="810" y="28"/>
                  </a:lnTo>
                  <a:lnTo>
                    <a:pt x="812" y="28"/>
                  </a:lnTo>
                  <a:lnTo>
                    <a:pt x="815" y="31"/>
                  </a:lnTo>
                  <a:lnTo>
                    <a:pt x="812" y="31"/>
                  </a:lnTo>
                  <a:lnTo>
                    <a:pt x="812" y="33"/>
                  </a:lnTo>
                  <a:lnTo>
                    <a:pt x="810" y="33"/>
                  </a:lnTo>
                  <a:lnTo>
                    <a:pt x="808" y="35"/>
                  </a:lnTo>
                  <a:lnTo>
                    <a:pt x="808" y="33"/>
                  </a:lnTo>
                  <a:lnTo>
                    <a:pt x="808" y="35"/>
                  </a:lnTo>
                  <a:lnTo>
                    <a:pt x="805" y="33"/>
                  </a:lnTo>
                  <a:lnTo>
                    <a:pt x="803" y="33"/>
                  </a:lnTo>
                  <a:lnTo>
                    <a:pt x="805" y="33"/>
                  </a:lnTo>
                  <a:lnTo>
                    <a:pt x="803" y="33"/>
                  </a:lnTo>
                  <a:lnTo>
                    <a:pt x="803" y="35"/>
                  </a:lnTo>
                  <a:lnTo>
                    <a:pt x="803" y="33"/>
                  </a:lnTo>
                  <a:lnTo>
                    <a:pt x="801" y="33"/>
                  </a:lnTo>
                  <a:lnTo>
                    <a:pt x="803" y="33"/>
                  </a:lnTo>
                  <a:lnTo>
                    <a:pt x="803" y="35"/>
                  </a:lnTo>
                  <a:lnTo>
                    <a:pt x="803" y="38"/>
                  </a:lnTo>
                  <a:lnTo>
                    <a:pt x="801" y="38"/>
                  </a:lnTo>
                  <a:lnTo>
                    <a:pt x="801" y="40"/>
                  </a:lnTo>
                  <a:lnTo>
                    <a:pt x="801" y="38"/>
                  </a:lnTo>
                  <a:lnTo>
                    <a:pt x="803" y="38"/>
                  </a:lnTo>
                  <a:lnTo>
                    <a:pt x="803" y="40"/>
                  </a:lnTo>
                  <a:lnTo>
                    <a:pt x="805" y="40"/>
                  </a:lnTo>
                  <a:lnTo>
                    <a:pt x="808" y="40"/>
                  </a:lnTo>
                  <a:lnTo>
                    <a:pt x="808" y="38"/>
                  </a:lnTo>
                  <a:lnTo>
                    <a:pt x="810" y="38"/>
                  </a:lnTo>
                  <a:lnTo>
                    <a:pt x="812" y="38"/>
                  </a:lnTo>
                  <a:lnTo>
                    <a:pt x="812" y="40"/>
                  </a:lnTo>
                  <a:lnTo>
                    <a:pt x="815" y="38"/>
                  </a:lnTo>
                  <a:lnTo>
                    <a:pt x="815" y="35"/>
                  </a:lnTo>
                  <a:lnTo>
                    <a:pt x="817" y="35"/>
                  </a:lnTo>
                  <a:lnTo>
                    <a:pt x="817" y="38"/>
                  </a:lnTo>
                  <a:lnTo>
                    <a:pt x="817" y="35"/>
                  </a:lnTo>
                  <a:lnTo>
                    <a:pt x="819" y="35"/>
                  </a:lnTo>
                  <a:lnTo>
                    <a:pt x="817" y="35"/>
                  </a:lnTo>
                  <a:lnTo>
                    <a:pt x="817" y="38"/>
                  </a:lnTo>
                  <a:lnTo>
                    <a:pt x="815" y="38"/>
                  </a:lnTo>
                  <a:lnTo>
                    <a:pt x="815" y="40"/>
                  </a:lnTo>
                  <a:lnTo>
                    <a:pt x="817" y="40"/>
                  </a:lnTo>
                  <a:lnTo>
                    <a:pt x="817" y="38"/>
                  </a:lnTo>
                  <a:lnTo>
                    <a:pt x="819" y="38"/>
                  </a:lnTo>
                  <a:lnTo>
                    <a:pt x="819" y="40"/>
                  </a:lnTo>
                  <a:lnTo>
                    <a:pt x="819" y="42"/>
                  </a:lnTo>
                  <a:lnTo>
                    <a:pt x="819" y="45"/>
                  </a:lnTo>
                  <a:lnTo>
                    <a:pt x="817" y="45"/>
                  </a:lnTo>
                  <a:lnTo>
                    <a:pt x="815" y="45"/>
                  </a:lnTo>
                  <a:lnTo>
                    <a:pt x="815" y="47"/>
                  </a:lnTo>
                  <a:lnTo>
                    <a:pt x="815" y="49"/>
                  </a:lnTo>
                  <a:lnTo>
                    <a:pt x="817" y="49"/>
                  </a:lnTo>
                  <a:lnTo>
                    <a:pt x="817" y="52"/>
                  </a:lnTo>
                  <a:lnTo>
                    <a:pt x="817" y="54"/>
                  </a:lnTo>
                  <a:lnTo>
                    <a:pt x="819" y="54"/>
                  </a:lnTo>
                  <a:lnTo>
                    <a:pt x="822" y="54"/>
                  </a:lnTo>
                  <a:lnTo>
                    <a:pt x="824" y="52"/>
                  </a:lnTo>
                  <a:lnTo>
                    <a:pt x="826" y="56"/>
                  </a:lnTo>
                  <a:lnTo>
                    <a:pt x="829" y="56"/>
                  </a:lnTo>
                  <a:lnTo>
                    <a:pt x="831" y="56"/>
                  </a:lnTo>
                  <a:lnTo>
                    <a:pt x="831" y="59"/>
                  </a:lnTo>
                  <a:lnTo>
                    <a:pt x="833" y="59"/>
                  </a:lnTo>
                  <a:lnTo>
                    <a:pt x="833" y="61"/>
                  </a:lnTo>
                  <a:lnTo>
                    <a:pt x="833" y="63"/>
                  </a:lnTo>
                  <a:lnTo>
                    <a:pt x="836" y="63"/>
                  </a:lnTo>
                  <a:lnTo>
                    <a:pt x="836" y="61"/>
                  </a:lnTo>
                  <a:lnTo>
                    <a:pt x="838" y="63"/>
                  </a:lnTo>
                  <a:lnTo>
                    <a:pt x="838" y="66"/>
                  </a:lnTo>
                  <a:lnTo>
                    <a:pt x="838" y="68"/>
                  </a:lnTo>
                  <a:lnTo>
                    <a:pt x="836" y="68"/>
                  </a:lnTo>
                  <a:lnTo>
                    <a:pt x="833" y="68"/>
                  </a:lnTo>
                  <a:lnTo>
                    <a:pt x="831" y="70"/>
                  </a:lnTo>
                  <a:lnTo>
                    <a:pt x="831" y="73"/>
                  </a:lnTo>
                  <a:lnTo>
                    <a:pt x="833" y="75"/>
                  </a:lnTo>
                  <a:lnTo>
                    <a:pt x="836" y="75"/>
                  </a:lnTo>
                  <a:lnTo>
                    <a:pt x="833" y="75"/>
                  </a:lnTo>
                  <a:lnTo>
                    <a:pt x="831" y="73"/>
                  </a:lnTo>
                  <a:lnTo>
                    <a:pt x="829" y="73"/>
                  </a:lnTo>
                  <a:lnTo>
                    <a:pt x="831" y="73"/>
                  </a:lnTo>
                  <a:lnTo>
                    <a:pt x="836" y="77"/>
                  </a:lnTo>
                  <a:lnTo>
                    <a:pt x="838" y="80"/>
                  </a:lnTo>
                  <a:lnTo>
                    <a:pt x="836" y="80"/>
                  </a:lnTo>
                  <a:lnTo>
                    <a:pt x="833" y="80"/>
                  </a:lnTo>
                  <a:lnTo>
                    <a:pt x="836" y="82"/>
                  </a:lnTo>
                  <a:lnTo>
                    <a:pt x="838" y="84"/>
                  </a:lnTo>
                  <a:lnTo>
                    <a:pt x="838" y="87"/>
                  </a:lnTo>
                  <a:lnTo>
                    <a:pt x="838" y="89"/>
                  </a:lnTo>
                  <a:lnTo>
                    <a:pt x="840" y="89"/>
                  </a:lnTo>
                  <a:lnTo>
                    <a:pt x="840" y="87"/>
                  </a:lnTo>
                  <a:lnTo>
                    <a:pt x="843" y="89"/>
                  </a:lnTo>
                  <a:lnTo>
                    <a:pt x="843" y="87"/>
                  </a:lnTo>
                  <a:lnTo>
                    <a:pt x="845" y="89"/>
                  </a:lnTo>
                  <a:lnTo>
                    <a:pt x="847" y="89"/>
                  </a:lnTo>
                  <a:lnTo>
                    <a:pt x="850" y="89"/>
                  </a:lnTo>
                  <a:lnTo>
                    <a:pt x="850" y="91"/>
                  </a:lnTo>
                  <a:lnTo>
                    <a:pt x="847" y="94"/>
                  </a:lnTo>
                  <a:lnTo>
                    <a:pt x="850" y="94"/>
                  </a:lnTo>
                  <a:lnTo>
                    <a:pt x="852" y="94"/>
                  </a:lnTo>
                  <a:lnTo>
                    <a:pt x="857" y="94"/>
                  </a:lnTo>
                  <a:lnTo>
                    <a:pt x="857" y="96"/>
                  </a:lnTo>
                  <a:lnTo>
                    <a:pt x="859" y="96"/>
                  </a:lnTo>
                  <a:lnTo>
                    <a:pt x="859" y="98"/>
                  </a:lnTo>
                  <a:lnTo>
                    <a:pt x="861" y="98"/>
                  </a:lnTo>
                  <a:lnTo>
                    <a:pt x="864" y="103"/>
                  </a:lnTo>
                  <a:lnTo>
                    <a:pt x="864" y="105"/>
                  </a:lnTo>
                  <a:lnTo>
                    <a:pt x="866" y="105"/>
                  </a:lnTo>
                  <a:lnTo>
                    <a:pt x="866" y="107"/>
                  </a:lnTo>
                  <a:lnTo>
                    <a:pt x="866" y="110"/>
                  </a:lnTo>
                  <a:lnTo>
                    <a:pt x="866" y="112"/>
                  </a:lnTo>
                  <a:lnTo>
                    <a:pt x="868" y="112"/>
                  </a:lnTo>
                  <a:lnTo>
                    <a:pt x="871" y="112"/>
                  </a:lnTo>
                  <a:lnTo>
                    <a:pt x="871" y="114"/>
                  </a:lnTo>
                  <a:lnTo>
                    <a:pt x="873" y="114"/>
                  </a:lnTo>
                  <a:lnTo>
                    <a:pt x="873" y="117"/>
                  </a:lnTo>
                  <a:lnTo>
                    <a:pt x="871" y="117"/>
                  </a:lnTo>
                  <a:lnTo>
                    <a:pt x="871" y="119"/>
                  </a:lnTo>
                  <a:lnTo>
                    <a:pt x="873" y="119"/>
                  </a:lnTo>
                  <a:lnTo>
                    <a:pt x="875" y="121"/>
                  </a:lnTo>
                  <a:lnTo>
                    <a:pt x="875" y="124"/>
                  </a:lnTo>
                  <a:lnTo>
                    <a:pt x="878" y="124"/>
                  </a:lnTo>
                  <a:lnTo>
                    <a:pt x="878" y="126"/>
                  </a:lnTo>
                  <a:lnTo>
                    <a:pt x="880" y="126"/>
                  </a:lnTo>
                  <a:lnTo>
                    <a:pt x="882" y="126"/>
                  </a:lnTo>
                  <a:lnTo>
                    <a:pt x="885" y="128"/>
                  </a:lnTo>
                  <a:lnTo>
                    <a:pt x="887" y="131"/>
                  </a:lnTo>
                  <a:lnTo>
                    <a:pt x="889" y="133"/>
                  </a:lnTo>
                  <a:lnTo>
                    <a:pt x="892" y="135"/>
                  </a:lnTo>
                  <a:lnTo>
                    <a:pt x="892" y="133"/>
                  </a:lnTo>
                  <a:lnTo>
                    <a:pt x="892" y="135"/>
                  </a:lnTo>
                  <a:lnTo>
                    <a:pt x="892" y="138"/>
                  </a:lnTo>
                  <a:lnTo>
                    <a:pt x="894" y="138"/>
                  </a:lnTo>
                  <a:lnTo>
                    <a:pt x="894" y="140"/>
                  </a:lnTo>
                  <a:lnTo>
                    <a:pt x="894" y="142"/>
                  </a:lnTo>
                  <a:lnTo>
                    <a:pt x="896" y="142"/>
                  </a:lnTo>
                  <a:lnTo>
                    <a:pt x="894" y="142"/>
                  </a:lnTo>
                  <a:lnTo>
                    <a:pt x="894" y="145"/>
                  </a:lnTo>
                  <a:lnTo>
                    <a:pt x="896" y="145"/>
                  </a:lnTo>
                  <a:lnTo>
                    <a:pt x="896" y="147"/>
                  </a:lnTo>
                  <a:lnTo>
                    <a:pt x="899" y="147"/>
                  </a:lnTo>
                  <a:lnTo>
                    <a:pt x="901" y="149"/>
                  </a:lnTo>
                  <a:lnTo>
                    <a:pt x="903" y="147"/>
                  </a:lnTo>
                  <a:lnTo>
                    <a:pt x="906" y="147"/>
                  </a:lnTo>
                  <a:lnTo>
                    <a:pt x="908" y="149"/>
                  </a:lnTo>
                  <a:lnTo>
                    <a:pt x="908" y="152"/>
                  </a:lnTo>
                  <a:lnTo>
                    <a:pt x="908" y="149"/>
                  </a:lnTo>
                  <a:lnTo>
                    <a:pt x="910" y="149"/>
                  </a:lnTo>
                  <a:lnTo>
                    <a:pt x="913" y="149"/>
                  </a:lnTo>
                  <a:lnTo>
                    <a:pt x="913" y="152"/>
                  </a:lnTo>
                  <a:lnTo>
                    <a:pt x="915" y="152"/>
                  </a:lnTo>
                  <a:lnTo>
                    <a:pt x="917" y="154"/>
                  </a:lnTo>
                  <a:lnTo>
                    <a:pt x="917" y="156"/>
                  </a:lnTo>
                  <a:lnTo>
                    <a:pt x="917" y="154"/>
                  </a:lnTo>
                  <a:lnTo>
                    <a:pt x="920" y="154"/>
                  </a:lnTo>
                  <a:lnTo>
                    <a:pt x="920" y="156"/>
                  </a:lnTo>
                  <a:lnTo>
                    <a:pt x="922" y="156"/>
                  </a:lnTo>
                  <a:lnTo>
                    <a:pt x="924" y="161"/>
                  </a:lnTo>
                  <a:lnTo>
                    <a:pt x="922" y="161"/>
                  </a:lnTo>
                  <a:lnTo>
                    <a:pt x="922" y="163"/>
                  </a:lnTo>
                  <a:lnTo>
                    <a:pt x="924" y="163"/>
                  </a:lnTo>
                  <a:lnTo>
                    <a:pt x="924" y="166"/>
                  </a:lnTo>
                  <a:lnTo>
                    <a:pt x="924" y="168"/>
                  </a:lnTo>
                  <a:lnTo>
                    <a:pt x="926" y="170"/>
                  </a:lnTo>
                  <a:lnTo>
                    <a:pt x="926" y="173"/>
                  </a:lnTo>
                  <a:lnTo>
                    <a:pt x="929" y="173"/>
                  </a:lnTo>
                  <a:lnTo>
                    <a:pt x="929" y="175"/>
                  </a:lnTo>
                  <a:lnTo>
                    <a:pt x="929" y="177"/>
                  </a:lnTo>
                  <a:lnTo>
                    <a:pt x="931" y="177"/>
                  </a:lnTo>
                  <a:lnTo>
                    <a:pt x="931" y="180"/>
                  </a:lnTo>
                  <a:lnTo>
                    <a:pt x="931" y="182"/>
                  </a:lnTo>
                  <a:lnTo>
                    <a:pt x="933" y="182"/>
                  </a:lnTo>
                  <a:lnTo>
                    <a:pt x="933" y="180"/>
                  </a:lnTo>
                  <a:lnTo>
                    <a:pt x="931" y="180"/>
                  </a:lnTo>
                  <a:lnTo>
                    <a:pt x="936" y="182"/>
                  </a:lnTo>
                  <a:lnTo>
                    <a:pt x="936" y="184"/>
                  </a:lnTo>
                  <a:lnTo>
                    <a:pt x="931" y="189"/>
                  </a:lnTo>
                  <a:lnTo>
                    <a:pt x="929" y="194"/>
                  </a:lnTo>
                  <a:lnTo>
                    <a:pt x="926" y="198"/>
                  </a:lnTo>
                  <a:lnTo>
                    <a:pt x="924" y="203"/>
                  </a:lnTo>
                  <a:lnTo>
                    <a:pt x="922" y="208"/>
                  </a:lnTo>
                  <a:lnTo>
                    <a:pt x="920" y="212"/>
                  </a:lnTo>
                  <a:lnTo>
                    <a:pt x="915" y="217"/>
                  </a:lnTo>
                  <a:lnTo>
                    <a:pt x="913" y="222"/>
                  </a:lnTo>
                  <a:lnTo>
                    <a:pt x="910" y="226"/>
                  </a:lnTo>
                  <a:lnTo>
                    <a:pt x="908" y="231"/>
                  </a:lnTo>
                  <a:lnTo>
                    <a:pt x="906" y="236"/>
                  </a:lnTo>
                  <a:lnTo>
                    <a:pt x="903" y="240"/>
                  </a:lnTo>
                  <a:lnTo>
                    <a:pt x="901" y="245"/>
                  </a:lnTo>
                  <a:lnTo>
                    <a:pt x="899" y="249"/>
                  </a:lnTo>
                  <a:lnTo>
                    <a:pt x="894" y="254"/>
                  </a:lnTo>
                  <a:lnTo>
                    <a:pt x="892" y="259"/>
                  </a:lnTo>
                  <a:lnTo>
                    <a:pt x="889" y="263"/>
                  </a:lnTo>
                  <a:lnTo>
                    <a:pt x="887" y="268"/>
                  </a:lnTo>
                  <a:lnTo>
                    <a:pt x="885" y="273"/>
                  </a:lnTo>
                  <a:lnTo>
                    <a:pt x="882" y="277"/>
                  </a:lnTo>
                  <a:lnTo>
                    <a:pt x="880" y="282"/>
                  </a:lnTo>
                  <a:lnTo>
                    <a:pt x="878" y="287"/>
                  </a:lnTo>
                  <a:lnTo>
                    <a:pt x="873" y="291"/>
                  </a:lnTo>
                  <a:lnTo>
                    <a:pt x="871" y="296"/>
                  </a:lnTo>
                  <a:lnTo>
                    <a:pt x="868" y="301"/>
                  </a:lnTo>
                  <a:lnTo>
                    <a:pt x="866" y="305"/>
                  </a:lnTo>
                  <a:lnTo>
                    <a:pt x="864" y="310"/>
                  </a:lnTo>
                  <a:lnTo>
                    <a:pt x="861" y="312"/>
                  </a:lnTo>
                  <a:lnTo>
                    <a:pt x="859" y="317"/>
                  </a:lnTo>
                  <a:lnTo>
                    <a:pt x="857" y="322"/>
                  </a:lnTo>
                  <a:lnTo>
                    <a:pt x="854" y="326"/>
                  </a:lnTo>
                  <a:lnTo>
                    <a:pt x="850" y="331"/>
                  </a:lnTo>
                  <a:lnTo>
                    <a:pt x="847" y="336"/>
                  </a:lnTo>
                  <a:lnTo>
                    <a:pt x="845" y="340"/>
                  </a:lnTo>
                  <a:lnTo>
                    <a:pt x="843" y="345"/>
                  </a:lnTo>
                  <a:lnTo>
                    <a:pt x="840" y="350"/>
                  </a:lnTo>
                  <a:lnTo>
                    <a:pt x="838" y="354"/>
                  </a:lnTo>
                  <a:lnTo>
                    <a:pt x="836" y="359"/>
                  </a:lnTo>
                  <a:lnTo>
                    <a:pt x="833" y="364"/>
                  </a:lnTo>
                  <a:lnTo>
                    <a:pt x="831" y="368"/>
                  </a:lnTo>
                  <a:lnTo>
                    <a:pt x="829" y="373"/>
                  </a:lnTo>
                  <a:lnTo>
                    <a:pt x="826" y="375"/>
                  </a:lnTo>
                  <a:lnTo>
                    <a:pt x="822" y="380"/>
                  </a:lnTo>
                  <a:lnTo>
                    <a:pt x="819" y="385"/>
                  </a:lnTo>
                  <a:lnTo>
                    <a:pt x="817" y="389"/>
                  </a:lnTo>
                  <a:lnTo>
                    <a:pt x="815" y="394"/>
                  </a:lnTo>
                  <a:lnTo>
                    <a:pt x="812" y="398"/>
                  </a:lnTo>
                  <a:lnTo>
                    <a:pt x="810" y="403"/>
                  </a:lnTo>
                  <a:lnTo>
                    <a:pt x="808" y="408"/>
                  </a:lnTo>
                  <a:lnTo>
                    <a:pt x="805" y="412"/>
                  </a:lnTo>
                  <a:lnTo>
                    <a:pt x="803" y="417"/>
                  </a:lnTo>
                  <a:lnTo>
                    <a:pt x="801" y="419"/>
                  </a:lnTo>
                  <a:lnTo>
                    <a:pt x="798" y="424"/>
                  </a:lnTo>
                  <a:lnTo>
                    <a:pt x="796" y="429"/>
                  </a:lnTo>
                  <a:lnTo>
                    <a:pt x="794" y="433"/>
                  </a:lnTo>
                  <a:lnTo>
                    <a:pt x="792" y="438"/>
                  </a:lnTo>
                  <a:lnTo>
                    <a:pt x="787" y="443"/>
                  </a:lnTo>
                  <a:lnTo>
                    <a:pt x="785" y="447"/>
                  </a:lnTo>
                  <a:lnTo>
                    <a:pt x="782" y="452"/>
                  </a:lnTo>
                  <a:lnTo>
                    <a:pt x="780" y="454"/>
                  </a:lnTo>
                  <a:lnTo>
                    <a:pt x="778" y="459"/>
                  </a:lnTo>
                  <a:lnTo>
                    <a:pt x="775" y="464"/>
                  </a:lnTo>
                  <a:lnTo>
                    <a:pt x="773" y="468"/>
                  </a:lnTo>
                  <a:lnTo>
                    <a:pt x="771" y="473"/>
                  </a:lnTo>
                  <a:lnTo>
                    <a:pt x="771" y="475"/>
                  </a:lnTo>
                  <a:lnTo>
                    <a:pt x="773" y="478"/>
                  </a:lnTo>
                  <a:lnTo>
                    <a:pt x="775" y="478"/>
                  </a:lnTo>
                  <a:lnTo>
                    <a:pt x="775" y="480"/>
                  </a:lnTo>
                  <a:lnTo>
                    <a:pt x="778" y="480"/>
                  </a:lnTo>
                  <a:lnTo>
                    <a:pt x="778" y="478"/>
                  </a:lnTo>
                  <a:lnTo>
                    <a:pt x="780" y="480"/>
                  </a:lnTo>
                  <a:lnTo>
                    <a:pt x="782" y="482"/>
                  </a:lnTo>
                  <a:lnTo>
                    <a:pt x="782" y="485"/>
                  </a:lnTo>
                  <a:lnTo>
                    <a:pt x="785" y="485"/>
                  </a:lnTo>
                  <a:lnTo>
                    <a:pt x="787" y="485"/>
                  </a:lnTo>
                  <a:lnTo>
                    <a:pt x="789" y="485"/>
                  </a:lnTo>
                  <a:lnTo>
                    <a:pt x="792" y="485"/>
                  </a:lnTo>
                  <a:lnTo>
                    <a:pt x="794" y="485"/>
                  </a:lnTo>
                  <a:lnTo>
                    <a:pt x="796" y="487"/>
                  </a:lnTo>
                  <a:lnTo>
                    <a:pt x="798" y="487"/>
                  </a:lnTo>
                  <a:lnTo>
                    <a:pt x="798" y="489"/>
                  </a:lnTo>
                  <a:lnTo>
                    <a:pt x="796" y="492"/>
                  </a:lnTo>
                  <a:lnTo>
                    <a:pt x="796" y="494"/>
                  </a:lnTo>
                  <a:lnTo>
                    <a:pt x="794" y="494"/>
                  </a:lnTo>
                  <a:lnTo>
                    <a:pt x="794" y="496"/>
                  </a:lnTo>
                  <a:lnTo>
                    <a:pt x="794" y="499"/>
                  </a:lnTo>
                  <a:lnTo>
                    <a:pt x="796" y="501"/>
                  </a:lnTo>
                  <a:lnTo>
                    <a:pt x="798" y="503"/>
                  </a:lnTo>
                  <a:lnTo>
                    <a:pt x="798" y="506"/>
                  </a:lnTo>
                  <a:lnTo>
                    <a:pt x="796" y="508"/>
                  </a:lnTo>
                  <a:lnTo>
                    <a:pt x="796" y="510"/>
                  </a:lnTo>
                  <a:lnTo>
                    <a:pt x="798" y="513"/>
                  </a:lnTo>
                  <a:lnTo>
                    <a:pt x="798" y="515"/>
                  </a:lnTo>
                  <a:lnTo>
                    <a:pt x="801" y="520"/>
                  </a:lnTo>
                  <a:lnTo>
                    <a:pt x="801" y="522"/>
                  </a:lnTo>
                  <a:lnTo>
                    <a:pt x="803" y="527"/>
                  </a:lnTo>
                  <a:lnTo>
                    <a:pt x="803" y="529"/>
                  </a:lnTo>
                  <a:lnTo>
                    <a:pt x="803" y="534"/>
                  </a:lnTo>
                  <a:lnTo>
                    <a:pt x="803" y="536"/>
                  </a:lnTo>
                  <a:lnTo>
                    <a:pt x="803" y="538"/>
                  </a:lnTo>
                  <a:lnTo>
                    <a:pt x="803" y="540"/>
                  </a:lnTo>
                  <a:lnTo>
                    <a:pt x="801" y="543"/>
                  </a:lnTo>
                  <a:lnTo>
                    <a:pt x="801" y="545"/>
                  </a:lnTo>
                  <a:lnTo>
                    <a:pt x="803" y="543"/>
                  </a:lnTo>
                  <a:lnTo>
                    <a:pt x="805" y="543"/>
                  </a:lnTo>
                  <a:lnTo>
                    <a:pt x="808" y="543"/>
                  </a:lnTo>
                  <a:lnTo>
                    <a:pt x="810" y="543"/>
                  </a:lnTo>
                  <a:lnTo>
                    <a:pt x="812" y="543"/>
                  </a:lnTo>
                  <a:lnTo>
                    <a:pt x="815" y="540"/>
                  </a:lnTo>
                  <a:lnTo>
                    <a:pt x="815" y="543"/>
                  </a:lnTo>
                  <a:lnTo>
                    <a:pt x="817" y="543"/>
                  </a:lnTo>
                  <a:lnTo>
                    <a:pt x="819" y="543"/>
                  </a:lnTo>
                  <a:lnTo>
                    <a:pt x="822" y="540"/>
                  </a:lnTo>
                  <a:lnTo>
                    <a:pt x="824" y="538"/>
                  </a:lnTo>
                  <a:lnTo>
                    <a:pt x="824" y="536"/>
                  </a:lnTo>
                  <a:lnTo>
                    <a:pt x="826" y="536"/>
                  </a:lnTo>
                  <a:lnTo>
                    <a:pt x="829" y="536"/>
                  </a:lnTo>
                  <a:lnTo>
                    <a:pt x="829" y="534"/>
                  </a:lnTo>
                  <a:lnTo>
                    <a:pt x="829" y="531"/>
                  </a:lnTo>
                  <a:lnTo>
                    <a:pt x="831" y="531"/>
                  </a:lnTo>
                  <a:lnTo>
                    <a:pt x="833" y="531"/>
                  </a:lnTo>
                  <a:lnTo>
                    <a:pt x="836" y="534"/>
                  </a:lnTo>
                  <a:lnTo>
                    <a:pt x="838" y="534"/>
                  </a:lnTo>
                  <a:lnTo>
                    <a:pt x="843" y="534"/>
                  </a:lnTo>
                  <a:lnTo>
                    <a:pt x="845" y="534"/>
                  </a:lnTo>
                  <a:lnTo>
                    <a:pt x="847" y="536"/>
                  </a:lnTo>
                  <a:lnTo>
                    <a:pt x="847" y="538"/>
                  </a:lnTo>
                  <a:lnTo>
                    <a:pt x="847" y="540"/>
                  </a:lnTo>
                  <a:lnTo>
                    <a:pt x="850" y="540"/>
                  </a:lnTo>
                  <a:lnTo>
                    <a:pt x="850" y="543"/>
                  </a:lnTo>
                  <a:lnTo>
                    <a:pt x="847" y="545"/>
                  </a:lnTo>
                  <a:lnTo>
                    <a:pt x="847" y="547"/>
                  </a:lnTo>
                  <a:lnTo>
                    <a:pt x="845" y="547"/>
                  </a:lnTo>
                  <a:lnTo>
                    <a:pt x="847" y="550"/>
                  </a:lnTo>
                  <a:lnTo>
                    <a:pt x="845" y="550"/>
                  </a:lnTo>
                  <a:lnTo>
                    <a:pt x="845" y="552"/>
                  </a:lnTo>
                  <a:lnTo>
                    <a:pt x="847" y="552"/>
                  </a:lnTo>
                  <a:lnTo>
                    <a:pt x="847" y="554"/>
                  </a:lnTo>
                  <a:lnTo>
                    <a:pt x="850" y="554"/>
                  </a:lnTo>
                  <a:lnTo>
                    <a:pt x="850" y="557"/>
                  </a:lnTo>
                  <a:lnTo>
                    <a:pt x="850" y="559"/>
                  </a:lnTo>
                  <a:lnTo>
                    <a:pt x="852" y="561"/>
                  </a:lnTo>
                  <a:lnTo>
                    <a:pt x="852" y="564"/>
                  </a:lnTo>
                  <a:lnTo>
                    <a:pt x="850" y="566"/>
                  </a:lnTo>
                  <a:lnTo>
                    <a:pt x="852" y="566"/>
                  </a:lnTo>
                  <a:lnTo>
                    <a:pt x="850" y="568"/>
                  </a:lnTo>
                  <a:lnTo>
                    <a:pt x="852" y="571"/>
                  </a:lnTo>
                  <a:lnTo>
                    <a:pt x="852" y="573"/>
                  </a:lnTo>
                  <a:lnTo>
                    <a:pt x="854" y="575"/>
                  </a:lnTo>
                  <a:lnTo>
                    <a:pt x="854" y="578"/>
                  </a:lnTo>
                  <a:lnTo>
                    <a:pt x="857" y="578"/>
                  </a:lnTo>
                  <a:lnTo>
                    <a:pt x="857" y="582"/>
                  </a:lnTo>
                  <a:lnTo>
                    <a:pt x="857" y="585"/>
                  </a:lnTo>
                  <a:lnTo>
                    <a:pt x="857" y="587"/>
                  </a:lnTo>
                  <a:lnTo>
                    <a:pt x="859" y="587"/>
                  </a:lnTo>
                  <a:lnTo>
                    <a:pt x="859" y="589"/>
                  </a:lnTo>
                  <a:lnTo>
                    <a:pt x="857" y="592"/>
                  </a:lnTo>
                  <a:lnTo>
                    <a:pt x="857" y="594"/>
                  </a:lnTo>
                  <a:lnTo>
                    <a:pt x="857" y="596"/>
                  </a:lnTo>
                  <a:lnTo>
                    <a:pt x="859" y="601"/>
                  </a:lnTo>
                  <a:lnTo>
                    <a:pt x="859" y="603"/>
                  </a:lnTo>
                  <a:lnTo>
                    <a:pt x="859" y="606"/>
                  </a:lnTo>
                  <a:lnTo>
                    <a:pt x="859" y="608"/>
                  </a:lnTo>
                  <a:lnTo>
                    <a:pt x="859" y="610"/>
                  </a:lnTo>
                  <a:lnTo>
                    <a:pt x="859" y="613"/>
                  </a:lnTo>
                  <a:lnTo>
                    <a:pt x="859" y="617"/>
                  </a:lnTo>
                  <a:lnTo>
                    <a:pt x="859" y="622"/>
                  </a:lnTo>
                  <a:lnTo>
                    <a:pt x="859" y="624"/>
                  </a:lnTo>
                  <a:lnTo>
                    <a:pt x="859" y="627"/>
                  </a:lnTo>
                  <a:lnTo>
                    <a:pt x="861" y="631"/>
                  </a:lnTo>
                  <a:lnTo>
                    <a:pt x="861" y="634"/>
                  </a:lnTo>
                  <a:lnTo>
                    <a:pt x="861" y="636"/>
                  </a:lnTo>
                  <a:lnTo>
                    <a:pt x="859" y="636"/>
                  </a:lnTo>
                  <a:lnTo>
                    <a:pt x="857" y="638"/>
                  </a:lnTo>
                  <a:lnTo>
                    <a:pt x="859" y="641"/>
                  </a:lnTo>
                  <a:lnTo>
                    <a:pt x="861" y="643"/>
                  </a:lnTo>
                  <a:lnTo>
                    <a:pt x="859" y="648"/>
                  </a:lnTo>
                  <a:lnTo>
                    <a:pt x="861" y="650"/>
                  </a:lnTo>
                  <a:lnTo>
                    <a:pt x="861" y="652"/>
                  </a:lnTo>
                  <a:lnTo>
                    <a:pt x="861" y="655"/>
                  </a:lnTo>
                  <a:lnTo>
                    <a:pt x="859" y="655"/>
                  </a:lnTo>
                  <a:lnTo>
                    <a:pt x="859" y="657"/>
                  </a:lnTo>
                  <a:lnTo>
                    <a:pt x="861" y="659"/>
                  </a:lnTo>
                  <a:lnTo>
                    <a:pt x="864" y="659"/>
                  </a:lnTo>
                  <a:lnTo>
                    <a:pt x="864" y="662"/>
                  </a:lnTo>
                  <a:lnTo>
                    <a:pt x="866" y="664"/>
                  </a:lnTo>
                  <a:lnTo>
                    <a:pt x="868" y="666"/>
                  </a:lnTo>
                  <a:lnTo>
                    <a:pt x="868" y="669"/>
                  </a:lnTo>
                  <a:lnTo>
                    <a:pt x="871" y="669"/>
                  </a:lnTo>
                  <a:lnTo>
                    <a:pt x="873" y="671"/>
                  </a:lnTo>
                  <a:lnTo>
                    <a:pt x="873" y="673"/>
                  </a:lnTo>
                  <a:lnTo>
                    <a:pt x="875" y="676"/>
                  </a:lnTo>
                  <a:lnTo>
                    <a:pt x="875" y="678"/>
                  </a:lnTo>
                  <a:lnTo>
                    <a:pt x="878" y="678"/>
                  </a:lnTo>
                  <a:lnTo>
                    <a:pt x="878" y="680"/>
                  </a:lnTo>
                  <a:lnTo>
                    <a:pt x="878" y="682"/>
                  </a:lnTo>
                  <a:lnTo>
                    <a:pt x="880" y="682"/>
                  </a:lnTo>
                  <a:lnTo>
                    <a:pt x="880" y="685"/>
                  </a:lnTo>
                  <a:lnTo>
                    <a:pt x="882" y="685"/>
                  </a:lnTo>
                  <a:lnTo>
                    <a:pt x="882" y="687"/>
                  </a:lnTo>
                  <a:lnTo>
                    <a:pt x="882" y="689"/>
                  </a:lnTo>
                  <a:lnTo>
                    <a:pt x="882" y="692"/>
                  </a:lnTo>
                  <a:lnTo>
                    <a:pt x="880" y="692"/>
                  </a:lnTo>
                  <a:lnTo>
                    <a:pt x="878" y="694"/>
                  </a:lnTo>
                  <a:lnTo>
                    <a:pt x="878" y="696"/>
                  </a:lnTo>
                  <a:lnTo>
                    <a:pt x="875" y="696"/>
                  </a:lnTo>
                  <a:lnTo>
                    <a:pt x="875" y="699"/>
                  </a:lnTo>
                  <a:lnTo>
                    <a:pt x="875" y="701"/>
                  </a:lnTo>
                  <a:lnTo>
                    <a:pt x="875" y="703"/>
                  </a:lnTo>
                  <a:lnTo>
                    <a:pt x="875" y="706"/>
                  </a:lnTo>
                  <a:lnTo>
                    <a:pt x="873" y="708"/>
                  </a:lnTo>
                  <a:lnTo>
                    <a:pt x="873" y="710"/>
                  </a:lnTo>
                  <a:lnTo>
                    <a:pt x="871" y="710"/>
                  </a:lnTo>
                  <a:lnTo>
                    <a:pt x="871" y="713"/>
                  </a:lnTo>
                  <a:lnTo>
                    <a:pt x="868" y="713"/>
                  </a:lnTo>
                  <a:lnTo>
                    <a:pt x="868" y="715"/>
                  </a:lnTo>
                  <a:lnTo>
                    <a:pt x="866" y="715"/>
                  </a:lnTo>
                  <a:lnTo>
                    <a:pt x="866" y="717"/>
                  </a:lnTo>
                  <a:lnTo>
                    <a:pt x="864" y="717"/>
                  </a:lnTo>
                  <a:lnTo>
                    <a:pt x="864" y="720"/>
                  </a:lnTo>
                  <a:lnTo>
                    <a:pt x="861" y="720"/>
                  </a:lnTo>
                  <a:lnTo>
                    <a:pt x="859" y="720"/>
                  </a:lnTo>
                  <a:lnTo>
                    <a:pt x="857" y="720"/>
                  </a:lnTo>
                  <a:lnTo>
                    <a:pt x="859" y="720"/>
                  </a:lnTo>
                  <a:lnTo>
                    <a:pt x="857" y="720"/>
                  </a:lnTo>
                  <a:lnTo>
                    <a:pt x="854" y="722"/>
                  </a:lnTo>
                  <a:lnTo>
                    <a:pt x="854" y="720"/>
                  </a:lnTo>
                  <a:lnTo>
                    <a:pt x="857" y="720"/>
                  </a:lnTo>
                  <a:lnTo>
                    <a:pt x="857" y="717"/>
                  </a:lnTo>
                  <a:lnTo>
                    <a:pt x="857" y="715"/>
                  </a:lnTo>
                  <a:lnTo>
                    <a:pt x="857" y="717"/>
                  </a:lnTo>
                  <a:lnTo>
                    <a:pt x="854" y="717"/>
                  </a:lnTo>
                  <a:lnTo>
                    <a:pt x="854" y="720"/>
                  </a:lnTo>
                  <a:lnTo>
                    <a:pt x="852" y="720"/>
                  </a:lnTo>
                  <a:lnTo>
                    <a:pt x="852" y="717"/>
                  </a:lnTo>
                  <a:lnTo>
                    <a:pt x="852" y="715"/>
                  </a:lnTo>
                  <a:lnTo>
                    <a:pt x="852" y="713"/>
                  </a:lnTo>
                  <a:lnTo>
                    <a:pt x="852" y="710"/>
                  </a:lnTo>
                  <a:lnTo>
                    <a:pt x="854" y="710"/>
                  </a:lnTo>
                  <a:lnTo>
                    <a:pt x="857" y="710"/>
                  </a:lnTo>
                  <a:lnTo>
                    <a:pt x="859" y="710"/>
                  </a:lnTo>
                  <a:lnTo>
                    <a:pt x="861" y="708"/>
                  </a:lnTo>
                  <a:lnTo>
                    <a:pt x="864" y="708"/>
                  </a:lnTo>
                  <a:lnTo>
                    <a:pt x="866" y="706"/>
                  </a:lnTo>
                  <a:lnTo>
                    <a:pt x="864" y="706"/>
                  </a:lnTo>
                  <a:lnTo>
                    <a:pt x="864" y="708"/>
                  </a:lnTo>
                  <a:lnTo>
                    <a:pt x="861" y="708"/>
                  </a:lnTo>
                  <a:lnTo>
                    <a:pt x="859" y="708"/>
                  </a:lnTo>
                  <a:lnTo>
                    <a:pt x="859" y="710"/>
                  </a:lnTo>
                  <a:lnTo>
                    <a:pt x="857" y="710"/>
                  </a:lnTo>
                  <a:lnTo>
                    <a:pt x="857" y="708"/>
                  </a:lnTo>
                  <a:lnTo>
                    <a:pt x="857" y="710"/>
                  </a:lnTo>
                  <a:lnTo>
                    <a:pt x="854" y="710"/>
                  </a:lnTo>
                  <a:lnTo>
                    <a:pt x="854" y="708"/>
                  </a:lnTo>
                  <a:lnTo>
                    <a:pt x="854" y="706"/>
                  </a:lnTo>
                  <a:lnTo>
                    <a:pt x="857" y="703"/>
                  </a:lnTo>
                  <a:lnTo>
                    <a:pt x="859" y="703"/>
                  </a:lnTo>
                  <a:lnTo>
                    <a:pt x="864" y="706"/>
                  </a:lnTo>
                  <a:lnTo>
                    <a:pt x="864" y="703"/>
                  </a:lnTo>
                  <a:lnTo>
                    <a:pt x="861" y="703"/>
                  </a:lnTo>
                  <a:lnTo>
                    <a:pt x="859" y="703"/>
                  </a:lnTo>
                  <a:lnTo>
                    <a:pt x="861" y="699"/>
                  </a:lnTo>
                  <a:lnTo>
                    <a:pt x="861" y="696"/>
                  </a:lnTo>
                  <a:lnTo>
                    <a:pt x="864" y="694"/>
                  </a:lnTo>
                  <a:lnTo>
                    <a:pt x="864" y="692"/>
                  </a:lnTo>
                  <a:lnTo>
                    <a:pt x="864" y="689"/>
                  </a:lnTo>
                  <a:lnTo>
                    <a:pt x="864" y="687"/>
                  </a:lnTo>
                  <a:lnTo>
                    <a:pt x="864" y="685"/>
                  </a:lnTo>
                  <a:lnTo>
                    <a:pt x="861" y="682"/>
                  </a:lnTo>
                  <a:lnTo>
                    <a:pt x="864" y="682"/>
                  </a:lnTo>
                  <a:lnTo>
                    <a:pt x="861" y="682"/>
                  </a:lnTo>
                  <a:lnTo>
                    <a:pt x="861" y="680"/>
                  </a:lnTo>
                  <a:lnTo>
                    <a:pt x="864" y="680"/>
                  </a:lnTo>
                  <a:lnTo>
                    <a:pt x="866" y="680"/>
                  </a:lnTo>
                  <a:lnTo>
                    <a:pt x="866" y="678"/>
                  </a:lnTo>
                  <a:lnTo>
                    <a:pt x="864" y="678"/>
                  </a:lnTo>
                  <a:lnTo>
                    <a:pt x="864" y="680"/>
                  </a:lnTo>
                  <a:lnTo>
                    <a:pt x="861" y="680"/>
                  </a:lnTo>
                  <a:lnTo>
                    <a:pt x="859" y="680"/>
                  </a:lnTo>
                  <a:lnTo>
                    <a:pt x="859" y="678"/>
                  </a:lnTo>
                  <a:lnTo>
                    <a:pt x="857" y="678"/>
                  </a:lnTo>
                  <a:lnTo>
                    <a:pt x="854" y="678"/>
                  </a:lnTo>
                  <a:lnTo>
                    <a:pt x="852" y="680"/>
                  </a:lnTo>
                  <a:lnTo>
                    <a:pt x="850" y="680"/>
                  </a:lnTo>
                  <a:lnTo>
                    <a:pt x="850" y="678"/>
                  </a:lnTo>
                  <a:lnTo>
                    <a:pt x="850" y="680"/>
                  </a:lnTo>
                  <a:lnTo>
                    <a:pt x="850" y="678"/>
                  </a:lnTo>
                  <a:lnTo>
                    <a:pt x="847" y="678"/>
                  </a:lnTo>
                  <a:lnTo>
                    <a:pt x="847" y="680"/>
                  </a:lnTo>
                  <a:lnTo>
                    <a:pt x="850" y="680"/>
                  </a:lnTo>
                  <a:lnTo>
                    <a:pt x="850" y="682"/>
                  </a:lnTo>
                  <a:lnTo>
                    <a:pt x="847" y="685"/>
                  </a:lnTo>
                  <a:lnTo>
                    <a:pt x="847" y="682"/>
                  </a:lnTo>
                  <a:lnTo>
                    <a:pt x="847" y="685"/>
                  </a:lnTo>
                  <a:lnTo>
                    <a:pt x="847" y="687"/>
                  </a:lnTo>
                  <a:lnTo>
                    <a:pt x="845" y="687"/>
                  </a:lnTo>
                  <a:lnTo>
                    <a:pt x="845" y="685"/>
                  </a:lnTo>
                  <a:lnTo>
                    <a:pt x="845" y="687"/>
                  </a:lnTo>
                  <a:lnTo>
                    <a:pt x="843" y="687"/>
                  </a:lnTo>
                  <a:lnTo>
                    <a:pt x="845" y="687"/>
                  </a:lnTo>
                  <a:lnTo>
                    <a:pt x="843" y="689"/>
                  </a:lnTo>
                  <a:lnTo>
                    <a:pt x="840" y="687"/>
                  </a:lnTo>
                  <a:lnTo>
                    <a:pt x="840" y="685"/>
                  </a:lnTo>
                  <a:lnTo>
                    <a:pt x="840" y="682"/>
                  </a:lnTo>
                  <a:lnTo>
                    <a:pt x="840" y="680"/>
                  </a:lnTo>
                  <a:lnTo>
                    <a:pt x="843" y="680"/>
                  </a:lnTo>
                  <a:lnTo>
                    <a:pt x="843" y="678"/>
                  </a:lnTo>
                  <a:lnTo>
                    <a:pt x="845" y="680"/>
                  </a:lnTo>
                  <a:lnTo>
                    <a:pt x="845" y="678"/>
                  </a:lnTo>
                  <a:lnTo>
                    <a:pt x="847" y="678"/>
                  </a:lnTo>
                  <a:lnTo>
                    <a:pt x="847" y="676"/>
                  </a:lnTo>
                  <a:lnTo>
                    <a:pt x="850" y="676"/>
                  </a:lnTo>
                  <a:lnTo>
                    <a:pt x="850" y="673"/>
                  </a:lnTo>
                  <a:lnTo>
                    <a:pt x="852" y="669"/>
                  </a:lnTo>
                  <a:lnTo>
                    <a:pt x="854" y="669"/>
                  </a:lnTo>
                  <a:lnTo>
                    <a:pt x="857" y="671"/>
                  </a:lnTo>
                  <a:lnTo>
                    <a:pt x="859" y="671"/>
                  </a:lnTo>
                  <a:lnTo>
                    <a:pt x="857" y="671"/>
                  </a:lnTo>
                  <a:lnTo>
                    <a:pt x="854" y="669"/>
                  </a:lnTo>
                  <a:lnTo>
                    <a:pt x="852" y="669"/>
                  </a:lnTo>
                  <a:lnTo>
                    <a:pt x="852" y="666"/>
                  </a:lnTo>
                  <a:lnTo>
                    <a:pt x="854" y="664"/>
                  </a:lnTo>
                  <a:lnTo>
                    <a:pt x="852" y="662"/>
                  </a:lnTo>
                  <a:lnTo>
                    <a:pt x="850" y="662"/>
                  </a:lnTo>
                  <a:lnTo>
                    <a:pt x="852" y="659"/>
                  </a:lnTo>
                  <a:lnTo>
                    <a:pt x="852" y="657"/>
                  </a:lnTo>
                  <a:lnTo>
                    <a:pt x="850" y="657"/>
                  </a:lnTo>
                  <a:lnTo>
                    <a:pt x="850" y="655"/>
                  </a:lnTo>
                  <a:lnTo>
                    <a:pt x="850" y="652"/>
                  </a:lnTo>
                  <a:lnTo>
                    <a:pt x="852" y="652"/>
                  </a:lnTo>
                  <a:lnTo>
                    <a:pt x="850" y="652"/>
                  </a:lnTo>
                  <a:lnTo>
                    <a:pt x="847" y="652"/>
                  </a:lnTo>
                  <a:lnTo>
                    <a:pt x="847" y="650"/>
                  </a:lnTo>
                  <a:lnTo>
                    <a:pt x="850" y="650"/>
                  </a:lnTo>
                  <a:lnTo>
                    <a:pt x="850" y="648"/>
                  </a:lnTo>
                  <a:lnTo>
                    <a:pt x="852" y="648"/>
                  </a:lnTo>
                  <a:lnTo>
                    <a:pt x="852" y="645"/>
                  </a:lnTo>
                  <a:lnTo>
                    <a:pt x="852" y="648"/>
                  </a:lnTo>
                  <a:lnTo>
                    <a:pt x="854" y="648"/>
                  </a:lnTo>
                  <a:lnTo>
                    <a:pt x="852" y="645"/>
                  </a:lnTo>
                  <a:lnTo>
                    <a:pt x="852" y="648"/>
                  </a:lnTo>
                  <a:lnTo>
                    <a:pt x="850" y="648"/>
                  </a:lnTo>
                  <a:lnTo>
                    <a:pt x="847" y="645"/>
                  </a:lnTo>
                  <a:lnTo>
                    <a:pt x="847" y="643"/>
                  </a:lnTo>
                  <a:lnTo>
                    <a:pt x="847" y="641"/>
                  </a:lnTo>
                  <a:lnTo>
                    <a:pt x="847" y="638"/>
                  </a:lnTo>
                  <a:lnTo>
                    <a:pt x="850" y="638"/>
                  </a:lnTo>
                  <a:lnTo>
                    <a:pt x="850" y="636"/>
                  </a:lnTo>
                  <a:lnTo>
                    <a:pt x="847" y="636"/>
                  </a:lnTo>
                  <a:lnTo>
                    <a:pt x="845" y="636"/>
                  </a:lnTo>
                  <a:lnTo>
                    <a:pt x="845" y="634"/>
                  </a:lnTo>
                  <a:lnTo>
                    <a:pt x="843" y="634"/>
                  </a:lnTo>
                  <a:lnTo>
                    <a:pt x="843" y="631"/>
                  </a:lnTo>
                  <a:lnTo>
                    <a:pt x="845" y="631"/>
                  </a:lnTo>
                  <a:lnTo>
                    <a:pt x="845" y="629"/>
                  </a:lnTo>
                  <a:lnTo>
                    <a:pt x="845" y="631"/>
                  </a:lnTo>
                  <a:lnTo>
                    <a:pt x="843" y="631"/>
                  </a:lnTo>
                  <a:lnTo>
                    <a:pt x="843" y="629"/>
                  </a:lnTo>
                  <a:lnTo>
                    <a:pt x="845" y="629"/>
                  </a:lnTo>
                  <a:lnTo>
                    <a:pt x="843" y="629"/>
                  </a:lnTo>
                  <a:lnTo>
                    <a:pt x="843" y="631"/>
                  </a:lnTo>
                  <a:lnTo>
                    <a:pt x="840" y="631"/>
                  </a:lnTo>
                  <a:lnTo>
                    <a:pt x="840" y="629"/>
                  </a:lnTo>
                  <a:lnTo>
                    <a:pt x="840" y="627"/>
                  </a:lnTo>
                  <a:lnTo>
                    <a:pt x="838" y="627"/>
                  </a:lnTo>
                  <a:lnTo>
                    <a:pt x="840" y="627"/>
                  </a:lnTo>
                  <a:lnTo>
                    <a:pt x="840" y="624"/>
                  </a:lnTo>
                  <a:lnTo>
                    <a:pt x="843" y="624"/>
                  </a:lnTo>
                  <a:lnTo>
                    <a:pt x="845" y="627"/>
                  </a:lnTo>
                  <a:lnTo>
                    <a:pt x="847" y="627"/>
                  </a:lnTo>
                  <a:lnTo>
                    <a:pt x="847" y="624"/>
                  </a:lnTo>
                  <a:lnTo>
                    <a:pt x="847" y="627"/>
                  </a:lnTo>
                  <a:lnTo>
                    <a:pt x="850" y="627"/>
                  </a:lnTo>
                  <a:lnTo>
                    <a:pt x="850" y="624"/>
                  </a:lnTo>
                  <a:lnTo>
                    <a:pt x="847" y="624"/>
                  </a:lnTo>
                  <a:lnTo>
                    <a:pt x="845" y="624"/>
                  </a:lnTo>
                  <a:lnTo>
                    <a:pt x="843" y="622"/>
                  </a:lnTo>
                  <a:lnTo>
                    <a:pt x="845" y="622"/>
                  </a:lnTo>
                  <a:lnTo>
                    <a:pt x="845" y="620"/>
                  </a:lnTo>
                  <a:lnTo>
                    <a:pt x="843" y="620"/>
                  </a:lnTo>
                  <a:lnTo>
                    <a:pt x="843" y="617"/>
                  </a:lnTo>
                  <a:lnTo>
                    <a:pt x="845" y="617"/>
                  </a:lnTo>
                  <a:lnTo>
                    <a:pt x="845" y="615"/>
                  </a:lnTo>
                  <a:lnTo>
                    <a:pt x="847" y="615"/>
                  </a:lnTo>
                  <a:lnTo>
                    <a:pt x="845" y="615"/>
                  </a:lnTo>
                  <a:lnTo>
                    <a:pt x="843" y="615"/>
                  </a:lnTo>
                  <a:lnTo>
                    <a:pt x="843" y="613"/>
                  </a:lnTo>
                  <a:lnTo>
                    <a:pt x="845" y="610"/>
                  </a:lnTo>
                  <a:lnTo>
                    <a:pt x="847" y="613"/>
                  </a:lnTo>
                  <a:lnTo>
                    <a:pt x="850" y="617"/>
                  </a:lnTo>
                  <a:lnTo>
                    <a:pt x="852" y="620"/>
                  </a:lnTo>
                  <a:lnTo>
                    <a:pt x="852" y="617"/>
                  </a:lnTo>
                  <a:lnTo>
                    <a:pt x="852" y="615"/>
                  </a:lnTo>
                  <a:lnTo>
                    <a:pt x="850" y="615"/>
                  </a:lnTo>
                  <a:lnTo>
                    <a:pt x="850" y="613"/>
                  </a:lnTo>
                  <a:lnTo>
                    <a:pt x="847" y="613"/>
                  </a:lnTo>
                  <a:lnTo>
                    <a:pt x="847" y="610"/>
                  </a:lnTo>
                  <a:lnTo>
                    <a:pt x="847" y="608"/>
                  </a:lnTo>
                  <a:lnTo>
                    <a:pt x="847" y="606"/>
                  </a:lnTo>
                  <a:lnTo>
                    <a:pt x="850" y="603"/>
                  </a:lnTo>
                  <a:lnTo>
                    <a:pt x="850" y="606"/>
                  </a:lnTo>
                  <a:lnTo>
                    <a:pt x="852" y="606"/>
                  </a:lnTo>
                  <a:lnTo>
                    <a:pt x="852" y="608"/>
                  </a:lnTo>
                  <a:lnTo>
                    <a:pt x="854" y="608"/>
                  </a:lnTo>
                  <a:lnTo>
                    <a:pt x="850" y="603"/>
                  </a:lnTo>
                  <a:lnTo>
                    <a:pt x="847" y="603"/>
                  </a:lnTo>
                  <a:lnTo>
                    <a:pt x="847" y="606"/>
                  </a:lnTo>
                  <a:lnTo>
                    <a:pt x="847" y="603"/>
                  </a:lnTo>
                  <a:lnTo>
                    <a:pt x="847" y="606"/>
                  </a:lnTo>
                  <a:lnTo>
                    <a:pt x="845" y="608"/>
                  </a:lnTo>
                  <a:lnTo>
                    <a:pt x="845" y="606"/>
                  </a:lnTo>
                  <a:lnTo>
                    <a:pt x="845" y="603"/>
                  </a:lnTo>
                  <a:lnTo>
                    <a:pt x="845" y="601"/>
                  </a:lnTo>
                  <a:lnTo>
                    <a:pt x="847" y="601"/>
                  </a:lnTo>
                  <a:lnTo>
                    <a:pt x="847" y="603"/>
                  </a:lnTo>
                  <a:lnTo>
                    <a:pt x="847" y="601"/>
                  </a:lnTo>
                  <a:lnTo>
                    <a:pt x="847" y="599"/>
                  </a:lnTo>
                  <a:lnTo>
                    <a:pt x="850" y="596"/>
                  </a:lnTo>
                  <a:lnTo>
                    <a:pt x="847" y="596"/>
                  </a:lnTo>
                  <a:lnTo>
                    <a:pt x="850" y="596"/>
                  </a:lnTo>
                  <a:lnTo>
                    <a:pt x="847" y="596"/>
                  </a:lnTo>
                  <a:lnTo>
                    <a:pt x="847" y="599"/>
                  </a:lnTo>
                  <a:lnTo>
                    <a:pt x="845" y="599"/>
                  </a:lnTo>
                  <a:lnTo>
                    <a:pt x="843" y="599"/>
                  </a:lnTo>
                  <a:lnTo>
                    <a:pt x="843" y="596"/>
                  </a:lnTo>
                  <a:lnTo>
                    <a:pt x="843" y="594"/>
                  </a:lnTo>
                  <a:lnTo>
                    <a:pt x="843" y="592"/>
                  </a:lnTo>
                  <a:lnTo>
                    <a:pt x="845" y="592"/>
                  </a:lnTo>
                  <a:lnTo>
                    <a:pt x="845" y="589"/>
                  </a:lnTo>
                  <a:lnTo>
                    <a:pt x="847" y="589"/>
                  </a:lnTo>
                  <a:lnTo>
                    <a:pt x="847" y="587"/>
                  </a:lnTo>
                  <a:lnTo>
                    <a:pt x="847" y="585"/>
                  </a:lnTo>
                  <a:lnTo>
                    <a:pt x="850" y="585"/>
                  </a:lnTo>
                  <a:lnTo>
                    <a:pt x="852" y="585"/>
                  </a:lnTo>
                  <a:lnTo>
                    <a:pt x="854" y="585"/>
                  </a:lnTo>
                  <a:lnTo>
                    <a:pt x="852" y="582"/>
                  </a:lnTo>
                  <a:lnTo>
                    <a:pt x="850" y="582"/>
                  </a:lnTo>
                  <a:lnTo>
                    <a:pt x="850" y="585"/>
                  </a:lnTo>
                  <a:lnTo>
                    <a:pt x="847" y="585"/>
                  </a:lnTo>
                  <a:lnTo>
                    <a:pt x="847" y="587"/>
                  </a:lnTo>
                  <a:lnTo>
                    <a:pt x="845" y="587"/>
                  </a:lnTo>
                  <a:lnTo>
                    <a:pt x="845" y="589"/>
                  </a:lnTo>
                  <a:lnTo>
                    <a:pt x="843" y="592"/>
                  </a:lnTo>
                  <a:lnTo>
                    <a:pt x="843" y="589"/>
                  </a:lnTo>
                  <a:lnTo>
                    <a:pt x="840" y="585"/>
                  </a:lnTo>
                  <a:lnTo>
                    <a:pt x="838" y="582"/>
                  </a:lnTo>
                  <a:lnTo>
                    <a:pt x="836" y="582"/>
                  </a:lnTo>
                  <a:lnTo>
                    <a:pt x="836" y="580"/>
                  </a:lnTo>
                  <a:lnTo>
                    <a:pt x="838" y="578"/>
                  </a:lnTo>
                  <a:lnTo>
                    <a:pt x="836" y="575"/>
                  </a:lnTo>
                  <a:lnTo>
                    <a:pt x="838" y="575"/>
                  </a:lnTo>
                  <a:lnTo>
                    <a:pt x="836" y="575"/>
                  </a:lnTo>
                  <a:lnTo>
                    <a:pt x="836" y="573"/>
                  </a:lnTo>
                  <a:lnTo>
                    <a:pt x="836" y="571"/>
                  </a:lnTo>
                  <a:lnTo>
                    <a:pt x="838" y="571"/>
                  </a:lnTo>
                  <a:lnTo>
                    <a:pt x="838" y="568"/>
                  </a:lnTo>
                  <a:lnTo>
                    <a:pt x="838" y="566"/>
                  </a:lnTo>
                  <a:lnTo>
                    <a:pt x="840" y="566"/>
                  </a:lnTo>
                  <a:lnTo>
                    <a:pt x="838" y="566"/>
                  </a:lnTo>
                  <a:lnTo>
                    <a:pt x="838" y="568"/>
                  </a:lnTo>
                  <a:lnTo>
                    <a:pt x="836" y="568"/>
                  </a:lnTo>
                  <a:lnTo>
                    <a:pt x="836" y="566"/>
                  </a:lnTo>
                  <a:lnTo>
                    <a:pt x="836" y="564"/>
                  </a:lnTo>
                  <a:lnTo>
                    <a:pt x="838" y="561"/>
                  </a:lnTo>
                  <a:lnTo>
                    <a:pt x="838" y="559"/>
                  </a:lnTo>
                  <a:lnTo>
                    <a:pt x="838" y="557"/>
                  </a:lnTo>
                  <a:lnTo>
                    <a:pt x="840" y="554"/>
                  </a:lnTo>
                  <a:lnTo>
                    <a:pt x="840" y="552"/>
                  </a:lnTo>
                  <a:lnTo>
                    <a:pt x="840" y="550"/>
                  </a:lnTo>
                  <a:lnTo>
                    <a:pt x="840" y="547"/>
                  </a:lnTo>
                  <a:lnTo>
                    <a:pt x="843" y="545"/>
                  </a:lnTo>
                  <a:lnTo>
                    <a:pt x="843" y="543"/>
                  </a:lnTo>
                  <a:lnTo>
                    <a:pt x="840" y="545"/>
                  </a:lnTo>
                  <a:lnTo>
                    <a:pt x="840" y="547"/>
                  </a:lnTo>
                  <a:lnTo>
                    <a:pt x="838" y="547"/>
                  </a:lnTo>
                  <a:lnTo>
                    <a:pt x="838" y="550"/>
                  </a:lnTo>
                  <a:lnTo>
                    <a:pt x="838" y="552"/>
                  </a:lnTo>
                  <a:lnTo>
                    <a:pt x="838" y="554"/>
                  </a:lnTo>
                  <a:lnTo>
                    <a:pt x="838" y="552"/>
                  </a:lnTo>
                  <a:lnTo>
                    <a:pt x="838" y="550"/>
                  </a:lnTo>
                  <a:lnTo>
                    <a:pt x="836" y="550"/>
                  </a:lnTo>
                  <a:lnTo>
                    <a:pt x="836" y="552"/>
                  </a:lnTo>
                  <a:lnTo>
                    <a:pt x="836" y="554"/>
                  </a:lnTo>
                  <a:lnTo>
                    <a:pt x="836" y="557"/>
                  </a:lnTo>
                  <a:lnTo>
                    <a:pt x="836" y="559"/>
                  </a:lnTo>
                  <a:lnTo>
                    <a:pt x="833" y="559"/>
                  </a:lnTo>
                  <a:lnTo>
                    <a:pt x="836" y="559"/>
                  </a:lnTo>
                  <a:lnTo>
                    <a:pt x="836" y="561"/>
                  </a:lnTo>
                  <a:lnTo>
                    <a:pt x="833" y="561"/>
                  </a:lnTo>
                  <a:lnTo>
                    <a:pt x="833" y="564"/>
                  </a:lnTo>
                  <a:lnTo>
                    <a:pt x="833" y="566"/>
                  </a:lnTo>
                  <a:lnTo>
                    <a:pt x="833" y="571"/>
                  </a:lnTo>
                  <a:lnTo>
                    <a:pt x="831" y="571"/>
                  </a:lnTo>
                  <a:lnTo>
                    <a:pt x="831" y="573"/>
                  </a:lnTo>
                  <a:lnTo>
                    <a:pt x="831" y="575"/>
                  </a:lnTo>
                  <a:lnTo>
                    <a:pt x="831" y="580"/>
                  </a:lnTo>
                  <a:lnTo>
                    <a:pt x="829" y="580"/>
                  </a:lnTo>
                  <a:lnTo>
                    <a:pt x="829" y="582"/>
                  </a:lnTo>
                  <a:lnTo>
                    <a:pt x="826" y="582"/>
                  </a:lnTo>
                  <a:lnTo>
                    <a:pt x="826" y="580"/>
                  </a:lnTo>
                  <a:lnTo>
                    <a:pt x="824" y="580"/>
                  </a:lnTo>
                  <a:lnTo>
                    <a:pt x="824" y="578"/>
                  </a:lnTo>
                  <a:lnTo>
                    <a:pt x="826" y="578"/>
                  </a:lnTo>
                  <a:lnTo>
                    <a:pt x="826" y="575"/>
                  </a:lnTo>
                  <a:lnTo>
                    <a:pt x="826" y="573"/>
                  </a:lnTo>
                  <a:lnTo>
                    <a:pt x="824" y="573"/>
                  </a:lnTo>
                  <a:lnTo>
                    <a:pt x="826" y="573"/>
                  </a:lnTo>
                  <a:lnTo>
                    <a:pt x="824" y="575"/>
                  </a:lnTo>
                  <a:lnTo>
                    <a:pt x="824" y="573"/>
                  </a:lnTo>
                  <a:lnTo>
                    <a:pt x="822" y="573"/>
                  </a:lnTo>
                  <a:lnTo>
                    <a:pt x="817" y="573"/>
                  </a:lnTo>
                  <a:lnTo>
                    <a:pt x="817" y="571"/>
                  </a:lnTo>
                  <a:lnTo>
                    <a:pt x="819" y="571"/>
                  </a:lnTo>
                  <a:lnTo>
                    <a:pt x="817" y="568"/>
                  </a:lnTo>
                  <a:lnTo>
                    <a:pt x="819" y="568"/>
                  </a:lnTo>
                  <a:lnTo>
                    <a:pt x="819" y="571"/>
                  </a:lnTo>
                  <a:lnTo>
                    <a:pt x="819" y="568"/>
                  </a:lnTo>
                  <a:lnTo>
                    <a:pt x="822" y="568"/>
                  </a:lnTo>
                  <a:lnTo>
                    <a:pt x="822" y="566"/>
                  </a:lnTo>
                  <a:lnTo>
                    <a:pt x="822" y="564"/>
                  </a:lnTo>
                  <a:lnTo>
                    <a:pt x="822" y="561"/>
                  </a:lnTo>
                  <a:lnTo>
                    <a:pt x="822" y="559"/>
                  </a:lnTo>
                  <a:lnTo>
                    <a:pt x="822" y="557"/>
                  </a:lnTo>
                  <a:lnTo>
                    <a:pt x="824" y="557"/>
                  </a:lnTo>
                  <a:lnTo>
                    <a:pt x="829" y="557"/>
                  </a:lnTo>
                  <a:lnTo>
                    <a:pt x="826" y="557"/>
                  </a:lnTo>
                  <a:lnTo>
                    <a:pt x="824" y="554"/>
                  </a:lnTo>
                  <a:lnTo>
                    <a:pt x="824" y="557"/>
                  </a:lnTo>
                  <a:lnTo>
                    <a:pt x="822" y="557"/>
                  </a:lnTo>
                  <a:lnTo>
                    <a:pt x="824" y="557"/>
                  </a:lnTo>
                  <a:lnTo>
                    <a:pt x="824" y="554"/>
                  </a:lnTo>
                  <a:lnTo>
                    <a:pt x="824" y="552"/>
                  </a:lnTo>
                  <a:lnTo>
                    <a:pt x="824" y="550"/>
                  </a:lnTo>
                  <a:lnTo>
                    <a:pt x="824" y="552"/>
                  </a:lnTo>
                  <a:lnTo>
                    <a:pt x="822" y="552"/>
                  </a:lnTo>
                  <a:lnTo>
                    <a:pt x="822" y="554"/>
                  </a:lnTo>
                  <a:lnTo>
                    <a:pt x="822" y="557"/>
                  </a:lnTo>
                  <a:lnTo>
                    <a:pt x="819" y="557"/>
                  </a:lnTo>
                  <a:lnTo>
                    <a:pt x="819" y="559"/>
                  </a:lnTo>
                  <a:lnTo>
                    <a:pt x="817" y="557"/>
                  </a:lnTo>
                  <a:lnTo>
                    <a:pt x="817" y="554"/>
                  </a:lnTo>
                  <a:lnTo>
                    <a:pt x="817" y="557"/>
                  </a:lnTo>
                  <a:lnTo>
                    <a:pt x="819" y="557"/>
                  </a:lnTo>
                  <a:lnTo>
                    <a:pt x="817" y="554"/>
                  </a:lnTo>
                  <a:lnTo>
                    <a:pt x="815" y="554"/>
                  </a:lnTo>
                  <a:lnTo>
                    <a:pt x="815" y="552"/>
                  </a:lnTo>
                  <a:lnTo>
                    <a:pt x="817" y="552"/>
                  </a:lnTo>
                  <a:lnTo>
                    <a:pt x="817" y="550"/>
                  </a:lnTo>
                  <a:lnTo>
                    <a:pt x="815" y="550"/>
                  </a:lnTo>
                  <a:lnTo>
                    <a:pt x="815" y="547"/>
                  </a:lnTo>
                  <a:lnTo>
                    <a:pt x="815" y="550"/>
                  </a:lnTo>
                  <a:lnTo>
                    <a:pt x="815" y="552"/>
                  </a:lnTo>
                  <a:lnTo>
                    <a:pt x="815" y="550"/>
                  </a:lnTo>
                  <a:lnTo>
                    <a:pt x="812" y="550"/>
                  </a:lnTo>
                  <a:lnTo>
                    <a:pt x="812" y="547"/>
                  </a:lnTo>
                  <a:lnTo>
                    <a:pt x="810" y="545"/>
                  </a:lnTo>
                  <a:lnTo>
                    <a:pt x="810" y="543"/>
                  </a:lnTo>
                  <a:lnTo>
                    <a:pt x="810" y="545"/>
                  </a:lnTo>
                  <a:lnTo>
                    <a:pt x="810" y="547"/>
                  </a:lnTo>
                  <a:lnTo>
                    <a:pt x="808" y="547"/>
                  </a:lnTo>
                  <a:lnTo>
                    <a:pt x="805" y="547"/>
                  </a:lnTo>
                  <a:lnTo>
                    <a:pt x="805" y="550"/>
                  </a:lnTo>
                  <a:lnTo>
                    <a:pt x="808" y="550"/>
                  </a:lnTo>
                  <a:lnTo>
                    <a:pt x="808" y="547"/>
                  </a:lnTo>
                  <a:lnTo>
                    <a:pt x="810" y="550"/>
                  </a:lnTo>
                  <a:lnTo>
                    <a:pt x="810" y="552"/>
                  </a:lnTo>
                  <a:lnTo>
                    <a:pt x="810" y="550"/>
                  </a:lnTo>
                  <a:lnTo>
                    <a:pt x="812" y="550"/>
                  </a:lnTo>
                  <a:lnTo>
                    <a:pt x="812" y="552"/>
                  </a:lnTo>
                  <a:lnTo>
                    <a:pt x="815" y="552"/>
                  </a:lnTo>
                  <a:lnTo>
                    <a:pt x="815" y="554"/>
                  </a:lnTo>
                  <a:lnTo>
                    <a:pt x="812" y="554"/>
                  </a:lnTo>
                  <a:lnTo>
                    <a:pt x="812" y="552"/>
                  </a:lnTo>
                  <a:lnTo>
                    <a:pt x="812" y="554"/>
                  </a:lnTo>
                  <a:lnTo>
                    <a:pt x="812" y="557"/>
                  </a:lnTo>
                  <a:lnTo>
                    <a:pt x="812" y="559"/>
                  </a:lnTo>
                  <a:lnTo>
                    <a:pt x="815" y="559"/>
                  </a:lnTo>
                  <a:lnTo>
                    <a:pt x="815" y="557"/>
                  </a:lnTo>
                  <a:lnTo>
                    <a:pt x="815" y="559"/>
                  </a:lnTo>
                  <a:lnTo>
                    <a:pt x="812" y="561"/>
                  </a:lnTo>
                  <a:lnTo>
                    <a:pt x="812" y="559"/>
                  </a:lnTo>
                  <a:lnTo>
                    <a:pt x="812" y="561"/>
                  </a:lnTo>
                  <a:lnTo>
                    <a:pt x="815" y="561"/>
                  </a:lnTo>
                  <a:lnTo>
                    <a:pt x="817" y="561"/>
                  </a:lnTo>
                  <a:lnTo>
                    <a:pt x="817" y="564"/>
                  </a:lnTo>
                  <a:lnTo>
                    <a:pt x="817" y="566"/>
                  </a:lnTo>
                  <a:lnTo>
                    <a:pt x="815" y="566"/>
                  </a:lnTo>
                  <a:lnTo>
                    <a:pt x="817" y="566"/>
                  </a:lnTo>
                  <a:lnTo>
                    <a:pt x="817" y="568"/>
                  </a:lnTo>
                  <a:lnTo>
                    <a:pt x="817" y="571"/>
                  </a:lnTo>
                  <a:lnTo>
                    <a:pt x="815" y="571"/>
                  </a:lnTo>
                  <a:lnTo>
                    <a:pt x="812" y="571"/>
                  </a:lnTo>
                  <a:lnTo>
                    <a:pt x="810" y="571"/>
                  </a:lnTo>
                  <a:lnTo>
                    <a:pt x="812" y="571"/>
                  </a:lnTo>
                  <a:lnTo>
                    <a:pt x="812" y="568"/>
                  </a:lnTo>
                  <a:lnTo>
                    <a:pt x="810" y="568"/>
                  </a:lnTo>
                  <a:lnTo>
                    <a:pt x="810" y="566"/>
                  </a:lnTo>
                  <a:lnTo>
                    <a:pt x="808" y="566"/>
                  </a:lnTo>
                  <a:lnTo>
                    <a:pt x="808" y="568"/>
                  </a:lnTo>
                  <a:lnTo>
                    <a:pt x="808" y="566"/>
                  </a:lnTo>
                  <a:lnTo>
                    <a:pt x="808" y="568"/>
                  </a:lnTo>
                  <a:lnTo>
                    <a:pt x="810" y="568"/>
                  </a:lnTo>
                  <a:lnTo>
                    <a:pt x="810" y="571"/>
                  </a:lnTo>
                  <a:lnTo>
                    <a:pt x="808" y="571"/>
                  </a:lnTo>
                  <a:lnTo>
                    <a:pt x="808" y="568"/>
                  </a:lnTo>
                  <a:lnTo>
                    <a:pt x="805" y="568"/>
                  </a:lnTo>
                  <a:lnTo>
                    <a:pt x="805" y="571"/>
                  </a:lnTo>
                  <a:lnTo>
                    <a:pt x="803" y="571"/>
                  </a:lnTo>
                  <a:lnTo>
                    <a:pt x="803" y="568"/>
                  </a:lnTo>
                  <a:lnTo>
                    <a:pt x="805" y="568"/>
                  </a:lnTo>
                  <a:lnTo>
                    <a:pt x="803" y="568"/>
                  </a:lnTo>
                  <a:lnTo>
                    <a:pt x="803" y="566"/>
                  </a:lnTo>
                  <a:lnTo>
                    <a:pt x="803" y="564"/>
                  </a:lnTo>
                  <a:lnTo>
                    <a:pt x="803" y="566"/>
                  </a:lnTo>
                  <a:lnTo>
                    <a:pt x="801" y="566"/>
                  </a:lnTo>
                  <a:lnTo>
                    <a:pt x="801" y="564"/>
                  </a:lnTo>
                  <a:lnTo>
                    <a:pt x="801" y="561"/>
                  </a:lnTo>
                  <a:lnTo>
                    <a:pt x="798" y="561"/>
                  </a:lnTo>
                  <a:lnTo>
                    <a:pt x="798" y="559"/>
                  </a:lnTo>
                  <a:lnTo>
                    <a:pt x="796" y="559"/>
                  </a:lnTo>
                  <a:lnTo>
                    <a:pt x="796" y="557"/>
                  </a:lnTo>
                  <a:lnTo>
                    <a:pt x="796" y="554"/>
                  </a:lnTo>
                  <a:lnTo>
                    <a:pt x="794" y="552"/>
                  </a:lnTo>
                  <a:lnTo>
                    <a:pt x="796" y="552"/>
                  </a:lnTo>
                  <a:lnTo>
                    <a:pt x="798" y="552"/>
                  </a:lnTo>
                  <a:lnTo>
                    <a:pt x="798" y="550"/>
                  </a:lnTo>
                  <a:lnTo>
                    <a:pt x="796" y="550"/>
                  </a:lnTo>
                  <a:lnTo>
                    <a:pt x="794" y="550"/>
                  </a:lnTo>
                  <a:lnTo>
                    <a:pt x="794" y="545"/>
                  </a:lnTo>
                  <a:lnTo>
                    <a:pt x="792" y="545"/>
                  </a:lnTo>
                  <a:lnTo>
                    <a:pt x="792" y="543"/>
                  </a:lnTo>
                  <a:lnTo>
                    <a:pt x="794" y="543"/>
                  </a:lnTo>
                  <a:lnTo>
                    <a:pt x="794" y="540"/>
                  </a:lnTo>
                  <a:lnTo>
                    <a:pt x="792" y="534"/>
                  </a:lnTo>
                  <a:lnTo>
                    <a:pt x="792" y="531"/>
                  </a:lnTo>
                  <a:lnTo>
                    <a:pt x="789" y="531"/>
                  </a:lnTo>
                  <a:lnTo>
                    <a:pt x="792" y="531"/>
                  </a:lnTo>
                  <a:lnTo>
                    <a:pt x="789" y="531"/>
                  </a:lnTo>
                  <a:lnTo>
                    <a:pt x="787" y="529"/>
                  </a:lnTo>
                  <a:lnTo>
                    <a:pt x="789" y="529"/>
                  </a:lnTo>
                  <a:lnTo>
                    <a:pt x="792" y="529"/>
                  </a:lnTo>
                  <a:lnTo>
                    <a:pt x="792" y="527"/>
                  </a:lnTo>
                  <a:lnTo>
                    <a:pt x="789" y="527"/>
                  </a:lnTo>
                  <a:lnTo>
                    <a:pt x="787" y="527"/>
                  </a:lnTo>
                  <a:lnTo>
                    <a:pt x="787" y="524"/>
                  </a:lnTo>
                  <a:lnTo>
                    <a:pt x="785" y="524"/>
                  </a:lnTo>
                  <a:lnTo>
                    <a:pt x="785" y="520"/>
                  </a:lnTo>
                  <a:lnTo>
                    <a:pt x="782" y="517"/>
                  </a:lnTo>
                  <a:lnTo>
                    <a:pt x="782" y="520"/>
                  </a:lnTo>
                  <a:lnTo>
                    <a:pt x="782" y="517"/>
                  </a:lnTo>
                  <a:lnTo>
                    <a:pt x="782" y="515"/>
                  </a:lnTo>
                  <a:lnTo>
                    <a:pt x="780" y="515"/>
                  </a:lnTo>
                  <a:lnTo>
                    <a:pt x="778" y="513"/>
                  </a:lnTo>
                  <a:lnTo>
                    <a:pt x="780" y="513"/>
                  </a:lnTo>
                  <a:lnTo>
                    <a:pt x="780" y="515"/>
                  </a:lnTo>
                  <a:lnTo>
                    <a:pt x="780" y="513"/>
                  </a:lnTo>
                  <a:lnTo>
                    <a:pt x="778" y="513"/>
                  </a:lnTo>
                  <a:lnTo>
                    <a:pt x="778" y="510"/>
                  </a:lnTo>
                  <a:lnTo>
                    <a:pt x="775" y="506"/>
                  </a:lnTo>
                  <a:lnTo>
                    <a:pt x="778" y="506"/>
                  </a:lnTo>
                  <a:lnTo>
                    <a:pt x="780" y="506"/>
                  </a:lnTo>
                  <a:lnTo>
                    <a:pt x="782" y="503"/>
                  </a:lnTo>
                  <a:lnTo>
                    <a:pt x="785" y="503"/>
                  </a:lnTo>
                  <a:lnTo>
                    <a:pt x="782" y="501"/>
                  </a:lnTo>
                  <a:lnTo>
                    <a:pt x="785" y="499"/>
                  </a:lnTo>
                  <a:lnTo>
                    <a:pt x="785" y="496"/>
                  </a:lnTo>
                  <a:lnTo>
                    <a:pt x="787" y="496"/>
                  </a:lnTo>
                  <a:lnTo>
                    <a:pt x="789" y="496"/>
                  </a:lnTo>
                  <a:lnTo>
                    <a:pt x="789" y="499"/>
                  </a:lnTo>
                  <a:lnTo>
                    <a:pt x="789" y="501"/>
                  </a:lnTo>
                  <a:lnTo>
                    <a:pt x="787" y="501"/>
                  </a:lnTo>
                  <a:lnTo>
                    <a:pt x="787" y="503"/>
                  </a:lnTo>
                  <a:lnTo>
                    <a:pt x="785" y="503"/>
                  </a:lnTo>
                  <a:lnTo>
                    <a:pt x="785" y="506"/>
                  </a:lnTo>
                  <a:lnTo>
                    <a:pt x="785" y="508"/>
                  </a:lnTo>
                  <a:lnTo>
                    <a:pt x="785" y="510"/>
                  </a:lnTo>
                  <a:lnTo>
                    <a:pt x="785" y="508"/>
                  </a:lnTo>
                  <a:lnTo>
                    <a:pt x="787" y="506"/>
                  </a:lnTo>
                  <a:lnTo>
                    <a:pt x="787" y="503"/>
                  </a:lnTo>
                  <a:lnTo>
                    <a:pt x="787" y="501"/>
                  </a:lnTo>
                  <a:lnTo>
                    <a:pt x="789" y="501"/>
                  </a:lnTo>
                  <a:lnTo>
                    <a:pt x="792" y="503"/>
                  </a:lnTo>
                  <a:lnTo>
                    <a:pt x="792" y="506"/>
                  </a:lnTo>
                  <a:lnTo>
                    <a:pt x="794" y="506"/>
                  </a:lnTo>
                  <a:lnTo>
                    <a:pt x="792" y="503"/>
                  </a:lnTo>
                  <a:lnTo>
                    <a:pt x="789" y="501"/>
                  </a:lnTo>
                  <a:lnTo>
                    <a:pt x="789" y="499"/>
                  </a:lnTo>
                  <a:lnTo>
                    <a:pt x="789" y="496"/>
                  </a:lnTo>
                  <a:lnTo>
                    <a:pt x="789" y="494"/>
                  </a:lnTo>
                  <a:lnTo>
                    <a:pt x="787" y="494"/>
                  </a:lnTo>
                  <a:lnTo>
                    <a:pt x="787" y="496"/>
                  </a:lnTo>
                  <a:lnTo>
                    <a:pt x="785" y="496"/>
                  </a:lnTo>
                  <a:lnTo>
                    <a:pt x="782" y="496"/>
                  </a:lnTo>
                  <a:lnTo>
                    <a:pt x="780" y="496"/>
                  </a:lnTo>
                  <a:lnTo>
                    <a:pt x="778" y="496"/>
                  </a:lnTo>
                  <a:lnTo>
                    <a:pt x="775" y="496"/>
                  </a:lnTo>
                  <a:lnTo>
                    <a:pt x="773" y="496"/>
                  </a:lnTo>
                  <a:lnTo>
                    <a:pt x="771" y="496"/>
                  </a:lnTo>
                  <a:lnTo>
                    <a:pt x="768" y="496"/>
                  </a:lnTo>
                  <a:lnTo>
                    <a:pt x="766" y="494"/>
                  </a:lnTo>
                  <a:lnTo>
                    <a:pt x="764" y="492"/>
                  </a:lnTo>
                  <a:lnTo>
                    <a:pt x="761" y="489"/>
                  </a:lnTo>
                  <a:lnTo>
                    <a:pt x="761" y="487"/>
                  </a:lnTo>
                  <a:lnTo>
                    <a:pt x="759" y="485"/>
                  </a:lnTo>
                  <a:lnTo>
                    <a:pt x="757" y="482"/>
                  </a:lnTo>
                  <a:lnTo>
                    <a:pt x="757" y="480"/>
                  </a:lnTo>
                  <a:lnTo>
                    <a:pt x="759" y="480"/>
                  </a:lnTo>
                  <a:lnTo>
                    <a:pt x="757" y="480"/>
                  </a:lnTo>
                  <a:lnTo>
                    <a:pt x="757" y="482"/>
                  </a:lnTo>
                  <a:lnTo>
                    <a:pt x="759" y="482"/>
                  </a:lnTo>
                  <a:lnTo>
                    <a:pt x="761" y="482"/>
                  </a:lnTo>
                  <a:lnTo>
                    <a:pt x="761" y="480"/>
                  </a:lnTo>
                  <a:lnTo>
                    <a:pt x="761" y="478"/>
                  </a:lnTo>
                  <a:lnTo>
                    <a:pt x="761" y="475"/>
                  </a:lnTo>
                  <a:lnTo>
                    <a:pt x="759" y="475"/>
                  </a:lnTo>
                  <a:lnTo>
                    <a:pt x="761" y="478"/>
                  </a:lnTo>
                  <a:lnTo>
                    <a:pt x="759" y="478"/>
                  </a:lnTo>
                  <a:lnTo>
                    <a:pt x="757" y="478"/>
                  </a:lnTo>
                  <a:lnTo>
                    <a:pt x="754" y="478"/>
                  </a:lnTo>
                  <a:lnTo>
                    <a:pt x="752" y="475"/>
                  </a:lnTo>
                  <a:lnTo>
                    <a:pt x="752" y="473"/>
                  </a:lnTo>
                  <a:lnTo>
                    <a:pt x="750" y="473"/>
                  </a:lnTo>
                  <a:lnTo>
                    <a:pt x="750" y="471"/>
                  </a:lnTo>
                  <a:lnTo>
                    <a:pt x="747" y="468"/>
                  </a:lnTo>
                  <a:lnTo>
                    <a:pt x="745" y="468"/>
                  </a:lnTo>
                  <a:lnTo>
                    <a:pt x="743" y="466"/>
                  </a:lnTo>
                  <a:lnTo>
                    <a:pt x="740" y="464"/>
                  </a:lnTo>
                  <a:lnTo>
                    <a:pt x="738" y="464"/>
                  </a:lnTo>
                  <a:lnTo>
                    <a:pt x="733" y="461"/>
                  </a:lnTo>
                  <a:lnTo>
                    <a:pt x="731" y="459"/>
                  </a:lnTo>
                  <a:lnTo>
                    <a:pt x="729" y="459"/>
                  </a:lnTo>
                  <a:lnTo>
                    <a:pt x="726" y="457"/>
                  </a:lnTo>
                  <a:lnTo>
                    <a:pt x="724" y="457"/>
                  </a:lnTo>
                  <a:lnTo>
                    <a:pt x="722" y="457"/>
                  </a:lnTo>
                  <a:lnTo>
                    <a:pt x="722" y="454"/>
                  </a:lnTo>
                  <a:lnTo>
                    <a:pt x="719" y="454"/>
                  </a:lnTo>
                  <a:lnTo>
                    <a:pt x="719" y="452"/>
                  </a:lnTo>
                  <a:lnTo>
                    <a:pt x="719" y="454"/>
                  </a:lnTo>
                  <a:lnTo>
                    <a:pt x="722" y="454"/>
                  </a:lnTo>
                  <a:lnTo>
                    <a:pt x="722" y="450"/>
                  </a:lnTo>
                  <a:lnTo>
                    <a:pt x="719" y="450"/>
                  </a:lnTo>
                  <a:lnTo>
                    <a:pt x="722" y="450"/>
                  </a:lnTo>
                  <a:lnTo>
                    <a:pt x="719" y="447"/>
                  </a:lnTo>
                  <a:lnTo>
                    <a:pt x="717" y="447"/>
                  </a:lnTo>
                  <a:lnTo>
                    <a:pt x="717" y="445"/>
                  </a:lnTo>
                  <a:lnTo>
                    <a:pt x="715" y="445"/>
                  </a:lnTo>
                  <a:lnTo>
                    <a:pt x="715" y="443"/>
                  </a:lnTo>
                  <a:lnTo>
                    <a:pt x="715" y="445"/>
                  </a:lnTo>
                  <a:lnTo>
                    <a:pt x="717" y="445"/>
                  </a:lnTo>
                  <a:lnTo>
                    <a:pt x="717" y="443"/>
                  </a:lnTo>
                  <a:lnTo>
                    <a:pt x="715" y="440"/>
                  </a:lnTo>
                  <a:lnTo>
                    <a:pt x="712" y="440"/>
                  </a:lnTo>
                  <a:lnTo>
                    <a:pt x="712" y="438"/>
                  </a:lnTo>
                  <a:lnTo>
                    <a:pt x="715" y="438"/>
                  </a:lnTo>
                  <a:lnTo>
                    <a:pt x="715" y="436"/>
                  </a:lnTo>
                  <a:lnTo>
                    <a:pt x="717" y="436"/>
                  </a:lnTo>
                  <a:lnTo>
                    <a:pt x="717" y="438"/>
                  </a:lnTo>
                  <a:lnTo>
                    <a:pt x="717" y="436"/>
                  </a:lnTo>
                  <a:lnTo>
                    <a:pt x="719" y="436"/>
                  </a:lnTo>
                  <a:lnTo>
                    <a:pt x="717" y="436"/>
                  </a:lnTo>
                  <a:lnTo>
                    <a:pt x="717" y="433"/>
                  </a:lnTo>
                  <a:lnTo>
                    <a:pt x="719" y="433"/>
                  </a:lnTo>
                  <a:lnTo>
                    <a:pt x="719" y="431"/>
                  </a:lnTo>
                  <a:lnTo>
                    <a:pt x="722" y="431"/>
                  </a:lnTo>
                  <a:lnTo>
                    <a:pt x="724" y="431"/>
                  </a:lnTo>
                  <a:lnTo>
                    <a:pt x="726" y="431"/>
                  </a:lnTo>
                  <a:lnTo>
                    <a:pt x="724" y="431"/>
                  </a:lnTo>
                  <a:lnTo>
                    <a:pt x="724" y="429"/>
                  </a:lnTo>
                  <a:lnTo>
                    <a:pt x="722" y="429"/>
                  </a:lnTo>
                  <a:lnTo>
                    <a:pt x="722" y="431"/>
                  </a:lnTo>
                  <a:lnTo>
                    <a:pt x="719" y="431"/>
                  </a:lnTo>
                  <a:lnTo>
                    <a:pt x="717" y="431"/>
                  </a:lnTo>
                  <a:lnTo>
                    <a:pt x="715" y="433"/>
                  </a:lnTo>
                  <a:lnTo>
                    <a:pt x="712" y="433"/>
                  </a:lnTo>
                  <a:lnTo>
                    <a:pt x="710" y="436"/>
                  </a:lnTo>
                  <a:lnTo>
                    <a:pt x="708" y="433"/>
                  </a:lnTo>
                  <a:lnTo>
                    <a:pt x="708" y="431"/>
                  </a:lnTo>
                  <a:lnTo>
                    <a:pt x="708" y="429"/>
                  </a:lnTo>
                  <a:lnTo>
                    <a:pt x="705" y="429"/>
                  </a:lnTo>
                  <a:lnTo>
                    <a:pt x="705" y="426"/>
                  </a:lnTo>
                  <a:lnTo>
                    <a:pt x="703" y="426"/>
                  </a:lnTo>
                  <a:lnTo>
                    <a:pt x="701" y="426"/>
                  </a:lnTo>
                  <a:lnTo>
                    <a:pt x="703" y="424"/>
                  </a:lnTo>
                  <a:lnTo>
                    <a:pt x="703" y="426"/>
                  </a:lnTo>
                  <a:lnTo>
                    <a:pt x="703" y="424"/>
                  </a:lnTo>
                  <a:lnTo>
                    <a:pt x="705" y="424"/>
                  </a:lnTo>
                  <a:lnTo>
                    <a:pt x="708" y="424"/>
                  </a:lnTo>
                  <a:lnTo>
                    <a:pt x="710" y="422"/>
                  </a:lnTo>
                  <a:lnTo>
                    <a:pt x="705" y="422"/>
                  </a:lnTo>
                  <a:lnTo>
                    <a:pt x="708" y="422"/>
                  </a:lnTo>
                  <a:lnTo>
                    <a:pt x="705" y="422"/>
                  </a:lnTo>
                  <a:lnTo>
                    <a:pt x="705" y="419"/>
                  </a:lnTo>
                  <a:lnTo>
                    <a:pt x="708" y="419"/>
                  </a:lnTo>
                  <a:lnTo>
                    <a:pt x="705" y="419"/>
                  </a:lnTo>
                  <a:lnTo>
                    <a:pt x="703" y="419"/>
                  </a:lnTo>
                  <a:lnTo>
                    <a:pt x="705" y="419"/>
                  </a:lnTo>
                  <a:lnTo>
                    <a:pt x="708" y="419"/>
                  </a:lnTo>
                  <a:lnTo>
                    <a:pt x="705" y="419"/>
                  </a:lnTo>
                  <a:lnTo>
                    <a:pt x="701" y="417"/>
                  </a:lnTo>
                  <a:lnTo>
                    <a:pt x="703" y="417"/>
                  </a:lnTo>
                  <a:lnTo>
                    <a:pt x="705" y="417"/>
                  </a:lnTo>
                  <a:lnTo>
                    <a:pt x="705" y="415"/>
                  </a:lnTo>
                  <a:lnTo>
                    <a:pt x="708" y="415"/>
                  </a:lnTo>
                  <a:lnTo>
                    <a:pt x="705" y="415"/>
                  </a:lnTo>
                  <a:lnTo>
                    <a:pt x="703" y="415"/>
                  </a:lnTo>
                  <a:lnTo>
                    <a:pt x="705" y="415"/>
                  </a:lnTo>
                  <a:lnTo>
                    <a:pt x="703" y="415"/>
                  </a:lnTo>
                  <a:lnTo>
                    <a:pt x="701" y="415"/>
                  </a:lnTo>
                  <a:lnTo>
                    <a:pt x="703" y="412"/>
                  </a:lnTo>
                  <a:lnTo>
                    <a:pt x="701" y="415"/>
                  </a:lnTo>
                  <a:lnTo>
                    <a:pt x="698" y="415"/>
                  </a:lnTo>
                  <a:lnTo>
                    <a:pt x="698" y="412"/>
                  </a:lnTo>
                  <a:lnTo>
                    <a:pt x="696" y="412"/>
                  </a:lnTo>
                  <a:lnTo>
                    <a:pt x="696" y="410"/>
                  </a:lnTo>
                  <a:lnTo>
                    <a:pt x="696" y="412"/>
                  </a:lnTo>
                  <a:lnTo>
                    <a:pt x="698" y="410"/>
                  </a:lnTo>
                  <a:lnTo>
                    <a:pt x="698" y="412"/>
                  </a:lnTo>
                  <a:lnTo>
                    <a:pt x="701" y="412"/>
                  </a:lnTo>
                  <a:lnTo>
                    <a:pt x="698" y="412"/>
                  </a:lnTo>
                  <a:lnTo>
                    <a:pt x="698" y="410"/>
                  </a:lnTo>
                  <a:lnTo>
                    <a:pt x="701" y="410"/>
                  </a:lnTo>
                  <a:lnTo>
                    <a:pt x="701" y="412"/>
                  </a:lnTo>
                  <a:lnTo>
                    <a:pt x="703" y="412"/>
                  </a:lnTo>
                  <a:lnTo>
                    <a:pt x="705" y="412"/>
                  </a:lnTo>
                  <a:lnTo>
                    <a:pt x="708" y="412"/>
                  </a:lnTo>
                  <a:lnTo>
                    <a:pt x="705" y="410"/>
                  </a:lnTo>
                  <a:lnTo>
                    <a:pt x="703" y="412"/>
                  </a:lnTo>
                  <a:lnTo>
                    <a:pt x="703" y="410"/>
                  </a:lnTo>
                  <a:lnTo>
                    <a:pt x="701" y="410"/>
                  </a:lnTo>
                  <a:lnTo>
                    <a:pt x="701" y="408"/>
                  </a:lnTo>
                  <a:lnTo>
                    <a:pt x="698" y="408"/>
                  </a:lnTo>
                  <a:lnTo>
                    <a:pt x="701" y="408"/>
                  </a:lnTo>
                  <a:lnTo>
                    <a:pt x="698" y="408"/>
                  </a:lnTo>
                  <a:lnTo>
                    <a:pt x="698" y="405"/>
                  </a:lnTo>
                  <a:lnTo>
                    <a:pt x="698" y="403"/>
                  </a:lnTo>
                  <a:lnTo>
                    <a:pt x="701" y="403"/>
                  </a:lnTo>
                  <a:lnTo>
                    <a:pt x="701" y="405"/>
                  </a:lnTo>
                  <a:lnTo>
                    <a:pt x="701" y="403"/>
                  </a:lnTo>
                  <a:lnTo>
                    <a:pt x="703" y="403"/>
                  </a:lnTo>
                  <a:lnTo>
                    <a:pt x="703" y="401"/>
                  </a:lnTo>
                  <a:lnTo>
                    <a:pt x="705" y="401"/>
                  </a:lnTo>
                  <a:lnTo>
                    <a:pt x="708" y="405"/>
                  </a:lnTo>
                  <a:lnTo>
                    <a:pt x="710" y="405"/>
                  </a:lnTo>
                  <a:lnTo>
                    <a:pt x="710" y="403"/>
                  </a:lnTo>
                  <a:lnTo>
                    <a:pt x="708" y="403"/>
                  </a:lnTo>
                  <a:lnTo>
                    <a:pt x="708" y="401"/>
                  </a:lnTo>
                  <a:lnTo>
                    <a:pt x="705" y="401"/>
                  </a:lnTo>
                  <a:lnTo>
                    <a:pt x="703" y="401"/>
                  </a:lnTo>
                  <a:lnTo>
                    <a:pt x="701" y="401"/>
                  </a:lnTo>
                  <a:lnTo>
                    <a:pt x="698" y="401"/>
                  </a:lnTo>
                  <a:lnTo>
                    <a:pt x="698" y="403"/>
                  </a:lnTo>
                  <a:lnTo>
                    <a:pt x="696" y="403"/>
                  </a:lnTo>
                  <a:lnTo>
                    <a:pt x="696" y="401"/>
                  </a:lnTo>
                  <a:lnTo>
                    <a:pt x="698" y="401"/>
                  </a:lnTo>
                  <a:lnTo>
                    <a:pt x="696" y="401"/>
                  </a:lnTo>
                  <a:lnTo>
                    <a:pt x="696" y="398"/>
                  </a:lnTo>
                  <a:lnTo>
                    <a:pt x="694" y="398"/>
                  </a:lnTo>
                  <a:lnTo>
                    <a:pt x="694" y="401"/>
                  </a:lnTo>
                  <a:lnTo>
                    <a:pt x="694" y="398"/>
                  </a:lnTo>
                  <a:lnTo>
                    <a:pt x="691" y="401"/>
                  </a:lnTo>
                  <a:lnTo>
                    <a:pt x="691" y="398"/>
                  </a:lnTo>
                  <a:lnTo>
                    <a:pt x="691" y="401"/>
                  </a:lnTo>
                  <a:lnTo>
                    <a:pt x="689" y="401"/>
                  </a:lnTo>
                  <a:lnTo>
                    <a:pt x="689" y="398"/>
                  </a:lnTo>
                  <a:lnTo>
                    <a:pt x="691" y="396"/>
                  </a:lnTo>
                  <a:lnTo>
                    <a:pt x="691" y="398"/>
                  </a:lnTo>
                  <a:lnTo>
                    <a:pt x="689" y="398"/>
                  </a:lnTo>
                  <a:lnTo>
                    <a:pt x="689" y="396"/>
                  </a:lnTo>
                  <a:lnTo>
                    <a:pt x="691" y="396"/>
                  </a:lnTo>
                  <a:lnTo>
                    <a:pt x="689" y="396"/>
                  </a:lnTo>
                  <a:lnTo>
                    <a:pt x="689" y="398"/>
                  </a:lnTo>
                  <a:lnTo>
                    <a:pt x="687" y="398"/>
                  </a:lnTo>
                  <a:lnTo>
                    <a:pt x="689" y="396"/>
                  </a:lnTo>
                  <a:lnTo>
                    <a:pt x="691" y="394"/>
                  </a:lnTo>
                  <a:lnTo>
                    <a:pt x="691" y="392"/>
                  </a:lnTo>
                  <a:lnTo>
                    <a:pt x="694" y="392"/>
                  </a:lnTo>
                  <a:lnTo>
                    <a:pt x="691" y="392"/>
                  </a:lnTo>
                  <a:lnTo>
                    <a:pt x="689" y="394"/>
                  </a:lnTo>
                  <a:lnTo>
                    <a:pt x="687" y="396"/>
                  </a:lnTo>
                  <a:lnTo>
                    <a:pt x="687" y="398"/>
                  </a:lnTo>
                  <a:lnTo>
                    <a:pt x="684" y="398"/>
                  </a:lnTo>
                  <a:lnTo>
                    <a:pt x="687" y="396"/>
                  </a:lnTo>
                  <a:lnTo>
                    <a:pt x="684" y="396"/>
                  </a:lnTo>
                  <a:lnTo>
                    <a:pt x="687" y="396"/>
                  </a:lnTo>
                  <a:lnTo>
                    <a:pt x="684" y="396"/>
                  </a:lnTo>
                  <a:lnTo>
                    <a:pt x="684" y="398"/>
                  </a:lnTo>
                  <a:lnTo>
                    <a:pt x="682" y="398"/>
                  </a:lnTo>
                  <a:lnTo>
                    <a:pt x="682" y="396"/>
                  </a:lnTo>
                  <a:lnTo>
                    <a:pt x="682" y="394"/>
                  </a:lnTo>
                  <a:lnTo>
                    <a:pt x="682" y="392"/>
                  </a:lnTo>
                  <a:lnTo>
                    <a:pt x="684" y="392"/>
                  </a:lnTo>
                  <a:lnTo>
                    <a:pt x="684" y="389"/>
                  </a:lnTo>
                  <a:lnTo>
                    <a:pt x="687" y="389"/>
                  </a:lnTo>
                  <a:lnTo>
                    <a:pt x="684" y="389"/>
                  </a:lnTo>
                  <a:lnTo>
                    <a:pt x="687" y="389"/>
                  </a:lnTo>
                  <a:lnTo>
                    <a:pt x="689" y="389"/>
                  </a:lnTo>
                  <a:lnTo>
                    <a:pt x="689" y="387"/>
                  </a:lnTo>
                  <a:lnTo>
                    <a:pt x="691" y="387"/>
                  </a:lnTo>
                  <a:lnTo>
                    <a:pt x="691" y="385"/>
                  </a:lnTo>
                  <a:lnTo>
                    <a:pt x="691" y="387"/>
                  </a:lnTo>
                  <a:lnTo>
                    <a:pt x="689" y="387"/>
                  </a:lnTo>
                  <a:lnTo>
                    <a:pt x="687" y="387"/>
                  </a:lnTo>
                  <a:lnTo>
                    <a:pt x="687" y="389"/>
                  </a:lnTo>
                  <a:lnTo>
                    <a:pt x="684" y="389"/>
                  </a:lnTo>
                  <a:lnTo>
                    <a:pt x="682" y="389"/>
                  </a:lnTo>
                  <a:lnTo>
                    <a:pt x="682" y="387"/>
                  </a:lnTo>
                  <a:lnTo>
                    <a:pt x="684" y="387"/>
                  </a:lnTo>
                  <a:lnTo>
                    <a:pt x="682" y="387"/>
                  </a:lnTo>
                  <a:lnTo>
                    <a:pt x="680" y="387"/>
                  </a:lnTo>
                  <a:lnTo>
                    <a:pt x="680" y="385"/>
                  </a:lnTo>
                  <a:lnTo>
                    <a:pt x="680" y="387"/>
                  </a:lnTo>
                  <a:lnTo>
                    <a:pt x="677" y="387"/>
                  </a:lnTo>
                  <a:lnTo>
                    <a:pt x="680" y="387"/>
                  </a:lnTo>
                  <a:lnTo>
                    <a:pt x="682" y="387"/>
                  </a:lnTo>
                  <a:lnTo>
                    <a:pt x="682" y="389"/>
                  </a:lnTo>
                  <a:lnTo>
                    <a:pt x="680" y="389"/>
                  </a:lnTo>
                  <a:lnTo>
                    <a:pt x="677" y="389"/>
                  </a:lnTo>
                  <a:lnTo>
                    <a:pt x="677" y="392"/>
                  </a:lnTo>
                  <a:lnTo>
                    <a:pt x="675" y="392"/>
                  </a:lnTo>
                  <a:lnTo>
                    <a:pt x="675" y="394"/>
                  </a:lnTo>
                  <a:lnTo>
                    <a:pt x="675" y="392"/>
                  </a:lnTo>
                  <a:lnTo>
                    <a:pt x="673" y="392"/>
                  </a:lnTo>
                  <a:lnTo>
                    <a:pt x="670" y="389"/>
                  </a:lnTo>
                  <a:lnTo>
                    <a:pt x="670" y="392"/>
                  </a:lnTo>
                  <a:lnTo>
                    <a:pt x="673" y="392"/>
                  </a:lnTo>
                  <a:lnTo>
                    <a:pt x="670" y="392"/>
                  </a:lnTo>
                  <a:lnTo>
                    <a:pt x="668" y="392"/>
                  </a:lnTo>
                  <a:lnTo>
                    <a:pt x="668" y="394"/>
                  </a:lnTo>
                  <a:lnTo>
                    <a:pt x="670" y="394"/>
                  </a:lnTo>
                  <a:lnTo>
                    <a:pt x="673" y="394"/>
                  </a:lnTo>
                  <a:lnTo>
                    <a:pt x="673" y="396"/>
                  </a:lnTo>
                  <a:lnTo>
                    <a:pt x="670" y="396"/>
                  </a:lnTo>
                  <a:lnTo>
                    <a:pt x="670" y="398"/>
                  </a:lnTo>
                  <a:lnTo>
                    <a:pt x="670" y="396"/>
                  </a:lnTo>
                  <a:lnTo>
                    <a:pt x="673" y="396"/>
                  </a:lnTo>
                  <a:lnTo>
                    <a:pt x="675" y="396"/>
                  </a:lnTo>
                  <a:lnTo>
                    <a:pt x="673" y="398"/>
                  </a:lnTo>
                  <a:lnTo>
                    <a:pt x="673" y="401"/>
                  </a:lnTo>
                  <a:lnTo>
                    <a:pt x="670" y="401"/>
                  </a:lnTo>
                  <a:lnTo>
                    <a:pt x="668" y="398"/>
                  </a:lnTo>
                  <a:lnTo>
                    <a:pt x="666" y="398"/>
                  </a:lnTo>
                  <a:lnTo>
                    <a:pt x="664" y="398"/>
                  </a:lnTo>
                  <a:lnTo>
                    <a:pt x="664" y="401"/>
                  </a:lnTo>
                  <a:lnTo>
                    <a:pt x="666" y="401"/>
                  </a:lnTo>
                  <a:lnTo>
                    <a:pt x="666" y="398"/>
                  </a:lnTo>
                  <a:lnTo>
                    <a:pt x="668" y="398"/>
                  </a:lnTo>
                  <a:lnTo>
                    <a:pt x="668" y="401"/>
                  </a:lnTo>
                  <a:lnTo>
                    <a:pt x="668" y="403"/>
                  </a:lnTo>
                  <a:lnTo>
                    <a:pt x="670" y="403"/>
                  </a:lnTo>
                  <a:lnTo>
                    <a:pt x="668" y="403"/>
                  </a:lnTo>
                  <a:lnTo>
                    <a:pt x="670" y="403"/>
                  </a:lnTo>
                  <a:lnTo>
                    <a:pt x="673" y="401"/>
                  </a:lnTo>
                  <a:lnTo>
                    <a:pt x="673" y="403"/>
                  </a:lnTo>
                  <a:lnTo>
                    <a:pt x="670" y="403"/>
                  </a:lnTo>
                  <a:lnTo>
                    <a:pt x="673" y="403"/>
                  </a:lnTo>
                  <a:lnTo>
                    <a:pt x="673" y="401"/>
                  </a:lnTo>
                  <a:lnTo>
                    <a:pt x="675" y="401"/>
                  </a:lnTo>
                  <a:lnTo>
                    <a:pt x="675" y="403"/>
                  </a:lnTo>
                  <a:lnTo>
                    <a:pt x="673" y="403"/>
                  </a:lnTo>
                  <a:lnTo>
                    <a:pt x="675" y="403"/>
                  </a:lnTo>
                  <a:lnTo>
                    <a:pt x="675" y="405"/>
                  </a:lnTo>
                  <a:lnTo>
                    <a:pt x="673" y="405"/>
                  </a:lnTo>
                  <a:lnTo>
                    <a:pt x="673" y="408"/>
                  </a:lnTo>
                  <a:lnTo>
                    <a:pt x="670" y="408"/>
                  </a:lnTo>
                  <a:lnTo>
                    <a:pt x="670" y="405"/>
                  </a:lnTo>
                  <a:lnTo>
                    <a:pt x="670" y="408"/>
                  </a:lnTo>
                  <a:lnTo>
                    <a:pt x="670" y="405"/>
                  </a:lnTo>
                  <a:lnTo>
                    <a:pt x="670" y="408"/>
                  </a:lnTo>
                  <a:lnTo>
                    <a:pt x="668" y="408"/>
                  </a:lnTo>
                  <a:lnTo>
                    <a:pt x="668" y="405"/>
                  </a:lnTo>
                  <a:lnTo>
                    <a:pt x="668" y="408"/>
                  </a:lnTo>
                  <a:lnTo>
                    <a:pt x="666" y="408"/>
                  </a:lnTo>
                  <a:lnTo>
                    <a:pt x="664" y="408"/>
                  </a:lnTo>
                  <a:lnTo>
                    <a:pt x="664" y="410"/>
                  </a:lnTo>
                  <a:lnTo>
                    <a:pt x="661" y="410"/>
                  </a:lnTo>
                  <a:lnTo>
                    <a:pt x="664" y="410"/>
                  </a:lnTo>
                  <a:lnTo>
                    <a:pt x="666" y="410"/>
                  </a:lnTo>
                  <a:lnTo>
                    <a:pt x="666" y="412"/>
                  </a:lnTo>
                  <a:lnTo>
                    <a:pt x="664" y="412"/>
                  </a:lnTo>
                  <a:lnTo>
                    <a:pt x="666" y="412"/>
                  </a:lnTo>
                  <a:lnTo>
                    <a:pt x="664" y="412"/>
                  </a:lnTo>
                  <a:lnTo>
                    <a:pt x="664" y="415"/>
                  </a:lnTo>
                  <a:lnTo>
                    <a:pt x="664" y="412"/>
                  </a:lnTo>
                  <a:lnTo>
                    <a:pt x="661" y="412"/>
                  </a:lnTo>
                  <a:lnTo>
                    <a:pt x="659" y="415"/>
                  </a:lnTo>
                  <a:lnTo>
                    <a:pt x="657" y="417"/>
                  </a:lnTo>
                  <a:lnTo>
                    <a:pt x="657" y="415"/>
                  </a:lnTo>
                  <a:lnTo>
                    <a:pt x="657" y="412"/>
                  </a:lnTo>
                  <a:lnTo>
                    <a:pt x="657" y="415"/>
                  </a:lnTo>
                  <a:lnTo>
                    <a:pt x="654" y="415"/>
                  </a:lnTo>
                  <a:lnTo>
                    <a:pt x="652" y="415"/>
                  </a:lnTo>
                  <a:lnTo>
                    <a:pt x="652" y="412"/>
                  </a:lnTo>
                  <a:lnTo>
                    <a:pt x="650" y="412"/>
                  </a:lnTo>
                  <a:lnTo>
                    <a:pt x="650" y="410"/>
                  </a:lnTo>
                  <a:lnTo>
                    <a:pt x="647" y="410"/>
                  </a:lnTo>
                  <a:lnTo>
                    <a:pt x="647" y="408"/>
                  </a:lnTo>
                  <a:lnTo>
                    <a:pt x="650" y="408"/>
                  </a:lnTo>
                  <a:lnTo>
                    <a:pt x="647" y="408"/>
                  </a:lnTo>
                  <a:lnTo>
                    <a:pt x="645" y="408"/>
                  </a:lnTo>
                  <a:lnTo>
                    <a:pt x="645" y="410"/>
                  </a:lnTo>
                  <a:lnTo>
                    <a:pt x="643" y="410"/>
                  </a:lnTo>
                  <a:lnTo>
                    <a:pt x="645" y="408"/>
                  </a:lnTo>
                  <a:lnTo>
                    <a:pt x="645" y="405"/>
                  </a:lnTo>
                  <a:lnTo>
                    <a:pt x="647" y="405"/>
                  </a:lnTo>
                  <a:lnTo>
                    <a:pt x="645" y="405"/>
                  </a:lnTo>
                  <a:lnTo>
                    <a:pt x="647" y="403"/>
                  </a:lnTo>
                  <a:lnTo>
                    <a:pt x="645" y="403"/>
                  </a:lnTo>
                  <a:lnTo>
                    <a:pt x="645" y="405"/>
                  </a:lnTo>
                  <a:lnTo>
                    <a:pt x="643" y="405"/>
                  </a:lnTo>
                  <a:lnTo>
                    <a:pt x="643" y="408"/>
                  </a:lnTo>
                  <a:lnTo>
                    <a:pt x="643" y="405"/>
                  </a:lnTo>
                  <a:lnTo>
                    <a:pt x="640" y="405"/>
                  </a:lnTo>
                  <a:lnTo>
                    <a:pt x="640" y="408"/>
                  </a:lnTo>
                  <a:lnTo>
                    <a:pt x="638" y="408"/>
                  </a:lnTo>
                  <a:lnTo>
                    <a:pt x="638" y="410"/>
                  </a:lnTo>
                  <a:lnTo>
                    <a:pt x="638" y="412"/>
                  </a:lnTo>
                  <a:lnTo>
                    <a:pt x="636" y="410"/>
                  </a:lnTo>
                  <a:lnTo>
                    <a:pt x="638" y="410"/>
                  </a:lnTo>
                  <a:lnTo>
                    <a:pt x="636" y="410"/>
                  </a:lnTo>
                  <a:lnTo>
                    <a:pt x="638" y="408"/>
                  </a:lnTo>
                  <a:lnTo>
                    <a:pt x="638" y="405"/>
                  </a:lnTo>
                  <a:lnTo>
                    <a:pt x="640" y="405"/>
                  </a:lnTo>
                  <a:lnTo>
                    <a:pt x="640" y="403"/>
                  </a:lnTo>
                  <a:lnTo>
                    <a:pt x="638" y="403"/>
                  </a:lnTo>
                  <a:lnTo>
                    <a:pt x="638" y="405"/>
                  </a:lnTo>
                  <a:lnTo>
                    <a:pt x="636" y="408"/>
                  </a:lnTo>
                  <a:lnTo>
                    <a:pt x="636" y="405"/>
                  </a:lnTo>
                  <a:lnTo>
                    <a:pt x="636" y="408"/>
                  </a:lnTo>
                  <a:lnTo>
                    <a:pt x="633" y="410"/>
                  </a:lnTo>
                  <a:lnTo>
                    <a:pt x="633" y="412"/>
                  </a:lnTo>
                  <a:lnTo>
                    <a:pt x="633" y="410"/>
                  </a:lnTo>
                  <a:lnTo>
                    <a:pt x="633" y="408"/>
                  </a:lnTo>
                  <a:lnTo>
                    <a:pt x="633" y="405"/>
                  </a:lnTo>
                  <a:lnTo>
                    <a:pt x="631" y="405"/>
                  </a:lnTo>
                  <a:lnTo>
                    <a:pt x="631" y="408"/>
                  </a:lnTo>
                  <a:lnTo>
                    <a:pt x="631" y="410"/>
                  </a:lnTo>
                  <a:lnTo>
                    <a:pt x="629" y="410"/>
                  </a:lnTo>
                  <a:lnTo>
                    <a:pt x="629" y="408"/>
                  </a:lnTo>
                  <a:lnTo>
                    <a:pt x="626" y="410"/>
                  </a:lnTo>
                  <a:lnTo>
                    <a:pt x="624" y="410"/>
                  </a:lnTo>
                  <a:lnTo>
                    <a:pt x="622" y="412"/>
                  </a:lnTo>
                  <a:lnTo>
                    <a:pt x="622" y="410"/>
                  </a:lnTo>
                  <a:lnTo>
                    <a:pt x="619" y="410"/>
                  </a:lnTo>
                  <a:lnTo>
                    <a:pt x="622" y="410"/>
                  </a:lnTo>
                  <a:lnTo>
                    <a:pt x="622" y="408"/>
                  </a:lnTo>
                  <a:lnTo>
                    <a:pt x="624" y="408"/>
                  </a:lnTo>
                  <a:lnTo>
                    <a:pt x="626" y="408"/>
                  </a:lnTo>
                  <a:lnTo>
                    <a:pt x="626" y="405"/>
                  </a:lnTo>
                  <a:lnTo>
                    <a:pt x="624" y="408"/>
                  </a:lnTo>
                  <a:lnTo>
                    <a:pt x="622" y="408"/>
                  </a:lnTo>
                  <a:lnTo>
                    <a:pt x="619" y="410"/>
                  </a:lnTo>
                  <a:lnTo>
                    <a:pt x="619" y="408"/>
                  </a:lnTo>
                  <a:lnTo>
                    <a:pt x="622" y="405"/>
                  </a:lnTo>
                  <a:lnTo>
                    <a:pt x="619" y="405"/>
                  </a:lnTo>
                  <a:lnTo>
                    <a:pt x="617" y="405"/>
                  </a:lnTo>
                  <a:lnTo>
                    <a:pt x="617" y="408"/>
                  </a:lnTo>
                  <a:lnTo>
                    <a:pt x="617" y="410"/>
                  </a:lnTo>
                  <a:lnTo>
                    <a:pt x="615" y="410"/>
                  </a:lnTo>
                  <a:lnTo>
                    <a:pt x="615" y="408"/>
                  </a:lnTo>
                  <a:lnTo>
                    <a:pt x="615" y="410"/>
                  </a:lnTo>
                  <a:lnTo>
                    <a:pt x="612" y="410"/>
                  </a:lnTo>
                  <a:lnTo>
                    <a:pt x="610" y="410"/>
                  </a:lnTo>
                  <a:lnTo>
                    <a:pt x="610" y="412"/>
                  </a:lnTo>
                  <a:lnTo>
                    <a:pt x="608" y="410"/>
                  </a:lnTo>
                  <a:lnTo>
                    <a:pt x="608" y="412"/>
                  </a:lnTo>
                  <a:lnTo>
                    <a:pt x="608" y="410"/>
                  </a:lnTo>
                  <a:lnTo>
                    <a:pt x="608" y="408"/>
                  </a:lnTo>
                  <a:lnTo>
                    <a:pt x="605" y="408"/>
                  </a:lnTo>
                  <a:lnTo>
                    <a:pt x="605" y="405"/>
                  </a:lnTo>
                  <a:lnTo>
                    <a:pt x="605" y="408"/>
                  </a:lnTo>
                  <a:lnTo>
                    <a:pt x="605" y="410"/>
                  </a:lnTo>
                  <a:lnTo>
                    <a:pt x="603" y="410"/>
                  </a:lnTo>
                  <a:lnTo>
                    <a:pt x="603" y="408"/>
                  </a:lnTo>
                  <a:lnTo>
                    <a:pt x="603" y="405"/>
                  </a:lnTo>
                  <a:lnTo>
                    <a:pt x="601" y="405"/>
                  </a:lnTo>
                  <a:lnTo>
                    <a:pt x="598" y="405"/>
                  </a:lnTo>
                  <a:lnTo>
                    <a:pt x="601" y="405"/>
                  </a:lnTo>
                  <a:lnTo>
                    <a:pt x="598" y="408"/>
                  </a:lnTo>
                  <a:lnTo>
                    <a:pt x="598" y="405"/>
                  </a:lnTo>
                  <a:lnTo>
                    <a:pt x="598" y="408"/>
                  </a:lnTo>
                  <a:lnTo>
                    <a:pt x="596" y="405"/>
                  </a:lnTo>
                  <a:lnTo>
                    <a:pt x="596" y="403"/>
                  </a:lnTo>
                  <a:lnTo>
                    <a:pt x="594" y="403"/>
                  </a:lnTo>
                  <a:lnTo>
                    <a:pt x="594" y="401"/>
                  </a:lnTo>
                  <a:lnTo>
                    <a:pt x="594" y="398"/>
                  </a:lnTo>
                  <a:lnTo>
                    <a:pt x="596" y="398"/>
                  </a:lnTo>
                  <a:lnTo>
                    <a:pt x="598" y="398"/>
                  </a:lnTo>
                  <a:lnTo>
                    <a:pt x="598" y="396"/>
                  </a:lnTo>
                  <a:lnTo>
                    <a:pt x="601" y="396"/>
                  </a:lnTo>
                  <a:lnTo>
                    <a:pt x="601" y="398"/>
                  </a:lnTo>
                  <a:lnTo>
                    <a:pt x="603" y="396"/>
                  </a:lnTo>
                  <a:lnTo>
                    <a:pt x="603" y="398"/>
                  </a:lnTo>
                  <a:lnTo>
                    <a:pt x="605" y="398"/>
                  </a:lnTo>
                  <a:lnTo>
                    <a:pt x="605" y="401"/>
                  </a:lnTo>
                  <a:lnTo>
                    <a:pt x="605" y="398"/>
                  </a:lnTo>
                  <a:lnTo>
                    <a:pt x="608" y="398"/>
                  </a:lnTo>
                  <a:lnTo>
                    <a:pt x="610" y="398"/>
                  </a:lnTo>
                  <a:lnTo>
                    <a:pt x="612" y="398"/>
                  </a:lnTo>
                  <a:lnTo>
                    <a:pt x="615" y="398"/>
                  </a:lnTo>
                  <a:lnTo>
                    <a:pt x="615" y="396"/>
                  </a:lnTo>
                  <a:lnTo>
                    <a:pt x="617" y="396"/>
                  </a:lnTo>
                  <a:lnTo>
                    <a:pt x="617" y="394"/>
                  </a:lnTo>
                  <a:lnTo>
                    <a:pt x="615" y="394"/>
                  </a:lnTo>
                  <a:lnTo>
                    <a:pt x="610" y="394"/>
                  </a:lnTo>
                  <a:lnTo>
                    <a:pt x="608" y="394"/>
                  </a:lnTo>
                  <a:lnTo>
                    <a:pt x="608" y="396"/>
                  </a:lnTo>
                  <a:lnTo>
                    <a:pt x="605" y="392"/>
                  </a:lnTo>
                  <a:lnTo>
                    <a:pt x="605" y="389"/>
                  </a:lnTo>
                  <a:lnTo>
                    <a:pt x="605" y="387"/>
                  </a:lnTo>
                  <a:lnTo>
                    <a:pt x="608" y="387"/>
                  </a:lnTo>
                  <a:lnTo>
                    <a:pt x="608" y="385"/>
                  </a:lnTo>
                  <a:lnTo>
                    <a:pt x="612" y="382"/>
                  </a:lnTo>
                  <a:lnTo>
                    <a:pt x="619" y="380"/>
                  </a:lnTo>
                  <a:lnTo>
                    <a:pt x="622" y="380"/>
                  </a:lnTo>
                  <a:lnTo>
                    <a:pt x="624" y="378"/>
                  </a:lnTo>
                  <a:lnTo>
                    <a:pt x="624" y="375"/>
                  </a:lnTo>
                  <a:lnTo>
                    <a:pt x="626" y="375"/>
                  </a:lnTo>
                  <a:lnTo>
                    <a:pt x="629" y="373"/>
                  </a:lnTo>
                  <a:lnTo>
                    <a:pt x="629" y="371"/>
                  </a:lnTo>
                  <a:lnTo>
                    <a:pt x="631" y="368"/>
                  </a:lnTo>
                  <a:lnTo>
                    <a:pt x="631" y="366"/>
                  </a:lnTo>
                  <a:lnTo>
                    <a:pt x="633" y="366"/>
                  </a:lnTo>
                  <a:lnTo>
                    <a:pt x="638" y="368"/>
                  </a:lnTo>
                  <a:lnTo>
                    <a:pt x="645" y="366"/>
                  </a:lnTo>
                  <a:lnTo>
                    <a:pt x="647" y="366"/>
                  </a:lnTo>
                  <a:lnTo>
                    <a:pt x="650" y="366"/>
                  </a:lnTo>
                  <a:lnTo>
                    <a:pt x="652" y="366"/>
                  </a:lnTo>
                  <a:lnTo>
                    <a:pt x="652" y="368"/>
                  </a:lnTo>
                  <a:lnTo>
                    <a:pt x="652" y="371"/>
                  </a:lnTo>
                  <a:lnTo>
                    <a:pt x="654" y="373"/>
                  </a:lnTo>
                  <a:lnTo>
                    <a:pt x="657" y="375"/>
                  </a:lnTo>
                  <a:lnTo>
                    <a:pt x="659" y="375"/>
                  </a:lnTo>
                  <a:lnTo>
                    <a:pt x="659" y="378"/>
                  </a:lnTo>
                  <a:lnTo>
                    <a:pt x="661" y="378"/>
                  </a:lnTo>
                  <a:lnTo>
                    <a:pt x="661" y="380"/>
                  </a:lnTo>
                  <a:lnTo>
                    <a:pt x="666" y="385"/>
                  </a:lnTo>
                  <a:lnTo>
                    <a:pt x="666" y="382"/>
                  </a:lnTo>
                  <a:lnTo>
                    <a:pt x="666" y="380"/>
                  </a:lnTo>
                  <a:lnTo>
                    <a:pt x="664" y="380"/>
                  </a:lnTo>
                  <a:lnTo>
                    <a:pt x="664" y="378"/>
                  </a:lnTo>
                  <a:lnTo>
                    <a:pt x="661" y="378"/>
                  </a:lnTo>
                  <a:lnTo>
                    <a:pt x="661" y="375"/>
                  </a:lnTo>
                  <a:lnTo>
                    <a:pt x="659" y="373"/>
                  </a:lnTo>
                  <a:lnTo>
                    <a:pt x="659" y="371"/>
                  </a:lnTo>
                  <a:lnTo>
                    <a:pt x="659" y="368"/>
                  </a:lnTo>
                  <a:lnTo>
                    <a:pt x="659" y="366"/>
                  </a:lnTo>
                  <a:lnTo>
                    <a:pt x="661" y="366"/>
                  </a:lnTo>
                  <a:lnTo>
                    <a:pt x="664" y="366"/>
                  </a:lnTo>
                  <a:lnTo>
                    <a:pt x="666" y="364"/>
                  </a:lnTo>
                  <a:lnTo>
                    <a:pt x="666" y="366"/>
                  </a:lnTo>
                  <a:lnTo>
                    <a:pt x="668" y="364"/>
                  </a:lnTo>
                  <a:lnTo>
                    <a:pt x="675" y="366"/>
                  </a:lnTo>
                  <a:lnTo>
                    <a:pt x="673" y="364"/>
                  </a:lnTo>
                  <a:lnTo>
                    <a:pt x="670" y="361"/>
                  </a:lnTo>
                  <a:lnTo>
                    <a:pt x="668" y="361"/>
                  </a:lnTo>
                  <a:lnTo>
                    <a:pt x="666" y="361"/>
                  </a:lnTo>
                  <a:lnTo>
                    <a:pt x="666" y="364"/>
                  </a:lnTo>
                  <a:lnTo>
                    <a:pt x="664" y="364"/>
                  </a:lnTo>
                  <a:lnTo>
                    <a:pt x="661" y="366"/>
                  </a:lnTo>
                  <a:lnTo>
                    <a:pt x="657" y="361"/>
                  </a:lnTo>
                  <a:lnTo>
                    <a:pt x="654" y="361"/>
                  </a:lnTo>
                  <a:lnTo>
                    <a:pt x="654" y="359"/>
                  </a:lnTo>
                  <a:lnTo>
                    <a:pt x="654" y="357"/>
                  </a:lnTo>
                  <a:lnTo>
                    <a:pt x="657" y="357"/>
                  </a:lnTo>
                  <a:lnTo>
                    <a:pt x="654" y="357"/>
                  </a:lnTo>
                  <a:lnTo>
                    <a:pt x="654" y="359"/>
                  </a:lnTo>
                  <a:lnTo>
                    <a:pt x="654" y="357"/>
                  </a:lnTo>
                  <a:lnTo>
                    <a:pt x="652" y="357"/>
                  </a:lnTo>
                  <a:lnTo>
                    <a:pt x="652" y="359"/>
                  </a:lnTo>
                  <a:lnTo>
                    <a:pt x="647" y="357"/>
                  </a:lnTo>
                  <a:lnTo>
                    <a:pt x="645" y="357"/>
                  </a:lnTo>
                  <a:lnTo>
                    <a:pt x="643" y="359"/>
                  </a:lnTo>
                  <a:lnTo>
                    <a:pt x="640" y="359"/>
                  </a:lnTo>
                  <a:lnTo>
                    <a:pt x="638" y="359"/>
                  </a:lnTo>
                  <a:lnTo>
                    <a:pt x="638" y="357"/>
                  </a:lnTo>
                  <a:lnTo>
                    <a:pt x="636" y="357"/>
                  </a:lnTo>
                  <a:lnTo>
                    <a:pt x="633" y="357"/>
                  </a:lnTo>
                  <a:lnTo>
                    <a:pt x="631" y="357"/>
                  </a:lnTo>
                  <a:lnTo>
                    <a:pt x="629" y="359"/>
                  </a:lnTo>
                  <a:lnTo>
                    <a:pt x="629" y="361"/>
                  </a:lnTo>
                  <a:lnTo>
                    <a:pt x="626" y="364"/>
                  </a:lnTo>
                  <a:lnTo>
                    <a:pt x="626" y="361"/>
                  </a:lnTo>
                  <a:lnTo>
                    <a:pt x="624" y="361"/>
                  </a:lnTo>
                  <a:lnTo>
                    <a:pt x="622" y="361"/>
                  </a:lnTo>
                  <a:lnTo>
                    <a:pt x="619" y="361"/>
                  </a:lnTo>
                  <a:lnTo>
                    <a:pt x="617" y="361"/>
                  </a:lnTo>
                  <a:lnTo>
                    <a:pt x="615" y="364"/>
                  </a:lnTo>
                  <a:lnTo>
                    <a:pt x="612" y="364"/>
                  </a:lnTo>
                  <a:lnTo>
                    <a:pt x="612" y="366"/>
                  </a:lnTo>
                  <a:lnTo>
                    <a:pt x="610" y="366"/>
                  </a:lnTo>
                  <a:lnTo>
                    <a:pt x="610" y="368"/>
                  </a:lnTo>
                  <a:lnTo>
                    <a:pt x="608" y="368"/>
                  </a:lnTo>
                  <a:lnTo>
                    <a:pt x="605" y="368"/>
                  </a:lnTo>
                  <a:lnTo>
                    <a:pt x="605" y="366"/>
                  </a:lnTo>
                  <a:lnTo>
                    <a:pt x="603" y="366"/>
                  </a:lnTo>
                  <a:lnTo>
                    <a:pt x="603" y="364"/>
                  </a:lnTo>
                  <a:lnTo>
                    <a:pt x="603" y="366"/>
                  </a:lnTo>
                  <a:lnTo>
                    <a:pt x="603" y="364"/>
                  </a:lnTo>
                  <a:lnTo>
                    <a:pt x="601" y="364"/>
                  </a:lnTo>
                  <a:lnTo>
                    <a:pt x="603" y="364"/>
                  </a:lnTo>
                  <a:lnTo>
                    <a:pt x="603" y="361"/>
                  </a:lnTo>
                  <a:lnTo>
                    <a:pt x="601" y="361"/>
                  </a:lnTo>
                  <a:lnTo>
                    <a:pt x="598" y="361"/>
                  </a:lnTo>
                  <a:lnTo>
                    <a:pt x="601" y="361"/>
                  </a:lnTo>
                  <a:lnTo>
                    <a:pt x="601" y="364"/>
                  </a:lnTo>
                  <a:lnTo>
                    <a:pt x="601" y="366"/>
                  </a:lnTo>
                  <a:lnTo>
                    <a:pt x="603" y="366"/>
                  </a:lnTo>
                  <a:lnTo>
                    <a:pt x="603" y="368"/>
                  </a:lnTo>
                  <a:lnTo>
                    <a:pt x="603" y="371"/>
                  </a:lnTo>
                  <a:lnTo>
                    <a:pt x="603" y="373"/>
                  </a:lnTo>
                  <a:lnTo>
                    <a:pt x="601" y="373"/>
                  </a:lnTo>
                  <a:lnTo>
                    <a:pt x="598" y="373"/>
                  </a:lnTo>
                  <a:lnTo>
                    <a:pt x="598" y="375"/>
                  </a:lnTo>
                  <a:lnTo>
                    <a:pt x="596" y="375"/>
                  </a:lnTo>
                  <a:lnTo>
                    <a:pt x="594" y="375"/>
                  </a:lnTo>
                  <a:lnTo>
                    <a:pt x="594" y="373"/>
                  </a:lnTo>
                  <a:lnTo>
                    <a:pt x="591" y="373"/>
                  </a:lnTo>
                  <a:lnTo>
                    <a:pt x="589" y="371"/>
                  </a:lnTo>
                  <a:lnTo>
                    <a:pt x="587" y="371"/>
                  </a:lnTo>
                  <a:lnTo>
                    <a:pt x="589" y="373"/>
                  </a:lnTo>
                  <a:lnTo>
                    <a:pt x="591" y="373"/>
                  </a:lnTo>
                  <a:lnTo>
                    <a:pt x="591" y="375"/>
                  </a:lnTo>
                  <a:lnTo>
                    <a:pt x="589" y="375"/>
                  </a:lnTo>
                  <a:lnTo>
                    <a:pt x="589" y="378"/>
                  </a:lnTo>
                  <a:lnTo>
                    <a:pt x="587" y="378"/>
                  </a:lnTo>
                  <a:lnTo>
                    <a:pt x="584" y="378"/>
                  </a:lnTo>
                  <a:lnTo>
                    <a:pt x="584" y="375"/>
                  </a:lnTo>
                  <a:lnTo>
                    <a:pt x="582" y="375"/>
                  </a:lnTo>
                  <a:lnTo>
                    <a:pt x="584" y="373"/>
                  </a:lnTo>
                  <a:lnTo>
                    <a:pt x="584" y="371"/>
                  </a:lnTo>
                  <a:lnTo>
                    <a:pt x="584" y="373"/>
                  </a:lnTo>
                  <a:lnTo>
                    <a:pt x="582" y="373"/>
                  </a:lnTo>
                  <a:lnTo>
                    <a:pt x="580" y="373"/>
                  </a:lnTo>
                  <a:lnTo>
                    <a:pt x="580" y="371"/>
                  </a:lnTo>
                  <a:lnTo>
                    <a:pt x="580" y="373"/>
                  </a:lnTo>
                  <a:lnTo>
                    <a:pt x="577" y="373"/>
                  </a:lnTo>
                  <a:lnTo>
                    <a:pt x="580" y="373"/>
                  </a:lnTo>
                  <a:lnTo>
                    <a:pt x="580" y="375"/>
                  </a:lnTo>
                  <a:lnTo>
                    <a:pt x="577" y="375"/>
                  </a:lnTo>
                  <a:lnTo>
                    <a:pt x="575" y="373"/>
                  </a:lnTo>
                  <a:lnTo>
                    <a:pt x="573" y="373"/>
                  </a:lnTo>
                  <a:lnTo>
                    <a:pt x="575" y="373"/>
                  </a:lnTo>
                  <a:lnTo>
                    <a:pt x="575" y="375"/>
                  </a:lnTo>
                  <a:lnTo>
                    <a:pt x="573" y="378"/>
                  </a:lnTo>
                  <a:lnTo>
                    <a:pt x="573" y="375"/>
                  </a:lnTo>
                  <a:lnTo>
                    <a:pt x="570" y="375"/>
                  </a:lnTo>
                  <a:lnTo>
                    <a:pt x="568" y="375"/>
                  </a:lnTo>
                  <a:lnTo>
                    <a:pt x="566" y="373"/>
                  </a:lnTo>
                  <a:lnTo>
                    <a:pt x="566" y="375"/>
                  </a:lnTo>
                  <a:lnTo>
                    <a:pt x="568" y="375"/>
                  </a:lnTo>
                  <a:lnTo>
                    <a:pt x="568" y="378"/>
                  </a:lnTo>
                  <a:lnTo>
                    <a:pt x="568" y="375"/>
                  </a:lnTo>
                  <a:lnTo>
                    <a:pt x="566" y="378"/>
                  </a:lnTo>
                  <a:lnTo>
                    <a:pt x="563" y="378"/>
                  </a:lnTo>
                  <a:lnTo>
                    <a:pt x="563" y="380"/>
                  </a:lnTo>
                  <a:lnTo>
                    <a:pt x="561" y="378"/>
                  </a:lnTo>
                  <a:lnTo>
                    <a:pt x="561" y="380"/>
                  </a:lnTo>
                  <a:lnTo>
                    <a:pt x="561" y="378"/>
                  </a:lnTo>
                  <a:lnTo>
                    <a:pt x="561" y="380"/>
                  </a:lnTo>
                  <a:lnTo>
                    <a:pt x="559" y="380"/>
                  </a:lnTo>
                  <a:lnTo>
                    <a:pt x="561" y="380"/>
                  </a:lnTo>
                  <a:lnTo>
                    <a:pt x="561" y="382"/>
                  </a:lnTo>
                  <a:lnTo>
                    <a:pt x="559" y="382"/>
                  </a:lnTo>
                  <a:lnTo>
                    <a:pt x="559" y="385"/>
                  </a:lnTo>
                  <a:lnTo>
                    <a:pt x="559" y="382"/>
                  </a:lnTo>
                  <a:lnTo>
                    <a:pt x="561" y="382"/>
                  </a:lnTo>
                  <a:lnTo>
                    <a:pt x="563" y="385"/>
                  </a:lnTo>
                  <a:lnTo>
                    <a:pt x="563" y="387"/>
                  </a:lnTo>
                  <a:lnTo>
                    <a:pt x="566" y="387"/>
                  </a:lnTo>
                  <a:lnTo>
                    <a:pt x="566" y="389"/>
                  </a:lnTo>
                  <a:lnTo>
                    <a:pt x="566" y="392"/>
                  </a:lnTo>
                  <a:lnTo>
                    <a:pt x="568" y="392"/>
                  </a:lnTo>
                  <a:lnTo>
                    <a:pt x="568" y="394"/>
                  </a:lnTo>
                  <a:lnTo>
                    <a:pt x="568" y="396"/>
                  </a:lnTo>
                  <a:lnTo>
                    <a:pt x="566" y="396"/>
                  </a:lnTo>
                  <a:lnTo>
                    <a:pt x="568" y="396"/>
                  </a:lnTo>
                  <a:lnTo>
                    <a:pt x="568" y="398"/>
                  </a:lnTo>
                  <a:lnTo>
                    <a:pt x="566" y="396"/>
                  </a:lnTo>
                  <a:lnTo>
                    <a:pt x="563" y="398"/>
                  </a:lnTo>
                  <a:lnTo>
                    <a:pt x="561" y="398"/>
                  </a:lnTo>
                  <a:lnTo>
                    <a:pt x="559" y="398"/>
                  </a:lnTo>
                  <a:lnTo>
                    <a:pt x="556" y="398"/>
                  </a:lnTo>
                  <a:lnTo>
                    <a:pt x="554" y="396"/>
                  </a:lnTo>
                  <a:lnTo>
                    <a:pt x="554" y="398"/>
                  </a:lnTo>
                  <a:lnTo>
                    <a:pt x="552" y="398"/>
                  </a:lnTo>
                  <a:lnTo>
                    <a:pt x="549" y="398"/>
                  </a:lnTo>
                  <a:lnTo>
                    <a:pt x="547" y="398"/>
                  </a:lnTo>
                  <a:lnTo>
                    <a:pt x="547" y="401"/>
                  </a:lnTo>
                  <a:lnTo>
                    <a:pt x="547" y="403"/>
                  </a:lnTo>
                  <a:lnTo>
                    <a:pt x="547" y="401"/>
                  </a:lnTo>
                  <a:lnTo>
                    <a:pt x="545" y="401"/>
                  </a:lnTo>
                  <a:lnTo>
                    <a:pt x="542" y="401"/>
                  </a:lnTo>
                  <a:lnTo>
                    <a:pt x="540" y="401"/>
                  </a:lnTo>
                  <a:lnTo>
                    <a:pt x="542" y="401"/>
                  </a:lnTo>
                  <a:lnTo>
                    <a:pt x="542" y="403"/>
                  </a:lnTo>
                  <a:lnTo>
                    <a:pt x="542" y="401"/>
                  </a:lnTo>
                  <a:lnTo>
                    <a:pt x="545" y="401"/>
                  </a:lnTo>
                  <a:lnTo>
                    <a:pt x="545" y="403"/>
                  </a:lnTo>
                  <a:lnTo>
                    <a:pt x="542" y="403"/>
                  </a:lnTo>
                  <a:lnTo>
                    <a:pt x="542" y="405"/>
                  </a:lnTo>
                  <a:lnTo>
                    <a:pt x="540" y="405"/>
                  </a:lnTo>
                  <a:lnTo>
                    <a:pt x="540" y="403"/>
                  </a:lnTo>
                  <a:lnTo>
                    <a:pt x="540" y="405"/>
                  </a:lnTo>
                  <a:lnTo>
                    <a:pt x="538" y="405"/>
                  </a:lnTo>
                  <a:lnTo>
                    <a:pt x="538" y="403"/>
                  </a:lnTo>
                  <a:lnTo>
                    <a:pt x="538" y="405"/>
                  </a:lnTo>
                  <a:lnTo>
                    <a:pt x="536" y="405"/>
                  </a:lnTo>
                  <a:lnTo>
                    <a:pt x="538" y="405"/>
                  </a:lnTo>
                  <a:lnTo>
                    <a:pt x="536" y="403"/>
                  </a:lnTo>
                  <a:lnTo>
                    <a:pt x="538" y="403"/>
                  </a:lnTo>
                  <a:lnTo>
                    <a:pt x="538" y="401"/>
                  </a:lnTo>
                  <a:lnTo>
                    <a:pt x="536" y="403"/>
                  </a:lnTo>
                  <a:lnTo>
                    <a:pt x="536" y="405"/>
                  </a:lnTo>
                  <a:lnTo>
                    <a:pt x="533" y="403"/>
                  </a:lnTo>
                  <a:lnTo>
                    <a:pt x="533" y="405"/>
                  </a:lnTo>
                  <a:lnTo>
                    <a:pt x="531" y="405"/>
                  </a:lnTo>
                  <a:lnTo>
                    <a:pt x="531" y="403"/>
                  </a:lnTo>
                  <a:lnTo>
                    <a:pt x="529" y="403"/>
                  </a:lnTo>
                  <a:lnTo>
                    <a:pt x="529" y="401"/>
                  </a:lnTo>
                  <a:lnTo>
                    <a:pt x="526" y="401"/>
                  </a:lnTo>
                  <a:lnTo>
                    <a:pt x="524" y="401"/>
                  </a:lnTo>
                  <a:lnTo>
                    <a:pt x="524" y="403"/>
                  </a:lnTo>
                  <a:lnTo>
                    <a:pt x="522" y="403"/>
                  </a:lnTo>
                  <a:lnTo>
                    <a:pt x="519" y="401"/>
                  </a:lnTo>
                  <a:lnTo>
                    <a:pt x="519" y="403"/>
                  </a:lnTo>
                  <a:lnTo>
                    <a:pt x="519" y="401"/>
                  </a:lnTo>
                  <a:lnTo>
                    <a:pt x="517" y="401"/>
                  </a:lnTo>
                  <a:lnTo>
                    <a:pt x="517" y="403"/>
                  </a:lnTo>
                  <a:lnTo>
                    <a:pt x="517" y="405"/>
                  </a:lnTo>
                  <a:lnTo>
                    <a:pt x="515" y="403"/>
                  </a:lnTo>
                  <a:lnTo>
                    <a:pt x="515" y="401"/>
                  </a:lnTo>
                  <a:lnTo>
                    <a:pt x="512" y="401"/>
                  </a:lnTo>
                  <a:lnTo>
                    <a:pt x="510" y="401"/>
                  </a:lnTo>
                  <a:lnTo>
                    <a:pt x="510" y="403"/>
                  </a:lnTo>
                  <a:lnTo>
                    <a:pt x="508" y="403"/>
                  </a:lnTo>
                  <a:lnTo>
                    <a:pt x="508" y="401"/>
                  </a:lnTo>
                  <a:lnTo>
                    <a:pt x="508" y="403"/>
                  </a:lnTo>
                  <a:lnTo>
                    <a:pt x="505" y="405"/>
                  </a:lnTo>
                  <a:lnTo>
                    <a:pt x="505" y="403"/>
                  </a:lnTo>
                  <a:lnTo>
                    <a:pt x="503" y="403"/>
                  </a:lnTo>
                  <a:lnTo>
                    <a:pt x="503" y="401"/>
                  </a:lnTo>
                  <a:lnTo>
                    <a:pt x="501" y="401"/>
                  </a:lnTo>
                  <a:lnTo>
                    <a:pt x="501" y="403"/>
                  </a:lnTo>
                  <a:lnTo>
                    <a:pt x="498" y="403"/>
                  </a:lnTo>
                  <a:lnTo>
                    <a:pt x="498" y="401"/>
                  </a:lnTo>
                  <a:lnTo>
                    <a:pt x="496" y="401"/>
                  </a:lnTo>
                  <a:lnTo>
                    <a:pt x="491" y="401"/>
                  </a:lnTo>
                  <a:lnTo>
                    <a:pt x="489" y="401"/>
                  </a:lnTo>
                  <a:lnTo>
                    <a:pt x="489" y="403"/>
                  </a:lnTo>
                  <a:lnTo>
                    <a:pt x="491" y="403"/>
                  </a:lnTo>
                  <a:lnTo>
                    <a:pt x="494" y="403"/>
                  </a:lnTo>
                  <a:lnTo>
                    <a:pt x="491" y="403"/>
                  </a:lnTo>
                  <a:lnTo>
                    <a:pt x="491" y="405"/>
                  </a:lnTo>
                  <a:lnTo>
                    <a:pt x="489" y="405"/>
                  </a:lnTo>
                  <a:lnTo>
                    <a:pt x="489" y="408"/>
                  </a:lnTo>
                  <a:lnTo>
                    <a:pt x="487" y="408"/>
                  </a:lnTo>
                  <a:lnTo>
                    <a:pt x="484" y="408"/>
                  </a:lnTo>
                  <a:lnTo>
                    <a:pt x="484" y="405"/>
                  </a:lnTo>
                  <a:lnTo>
                    <a:pt x="484" y="408"/>
                  </a:lnTo>
                  <a:lnTo>
                    <a:pt x="482" y="408"/>
                  </a:lnTo>
                  <a:lnTo>
                    <a:pt x="482" y="410"/>
                  </a:lnTo>
                  <a:lnTo>
                    <a:pt x="482" y="408"/>
                  </a:lnTo>
                  <a:lnTo>
                    <a:pt x="482" y="405"/>
                  </a:lnTo>
                  <a:lnTo>
                    <a:pt x="480" y="405"/>
                  </a:lnTo>
                  <a:lnTo>
                    <a:pt x="480" y="408"/>
                  </a:lnTo>
                  <a:lnTo>
                    <a:pt x="477" y="408"/>
                  </a:lnTo>
                  <a:lnTo>
                    <a:pt x="477" y="405"/>
                  </a:lnTo>
                  <a:lnTo>
                    <a:pt x="475" y="405"/>
                  </a:lnTo>
                  <a:lnTo>
                    <a:pt x="475" y="408"/>
                  </a:lnTo>
                  <a:lnTo>
                    <a:pt x="475" y="405"/>
                  </a:lnTo>
                  <a:lnTo>
                    <a:pt x="473" y="405"/>
                  </a:lnTo>
                  <a:lnTo>
                    <a:pt x="473" y="408"/>
                  </a:lnTo>
                  <a:lnTo>
                    <a:pt x="470" y="408"/>
                  </a:lnTo>
                  <a:lnTo>
                    <a:pt x="470" y="405"/>
                  </a:lnTo>
                  <a:lnTo>
                    <a:pt x="470" y="408"/>
                  </a:lnTo>
                  <a:lnTo>
                    <a:pt x="468" y="408"/>
                  </a:lnTo>
                  <a:lnTo>
                    <a:pt x="468" y="405"/>
                  </a:lnTo>
                  <a:lnTo>
                    <a:pt x="468" y="403"/>
                  </a:lnTo>
                  <a:lnTo>
                    <a:pt x="466" y="403"/>
                  </a:lnTo>
                  <a:lnTo>
                    <a:pt x="466" y="405"/>
                  </a:lnTo>
                  <a:lnTo>
                    <a:pt x="463" y="403"/>
                  </a:lnTo>
                  <a:lnTo>
                    <a:pt x="463" y="405"/>
                  </a:lnTo>
                  <a:lnTo>
                    <a:pt x="463" y="403"/>
                  </a:lnTo>
                  <a:lnTo>
                    <a:pt x="463" y="405"/>
                  </a:lnTo>
                  <a:lnTo>
                    <a:pt x="461" y="405"/>
                  </a:lnTo>
                  <a:lnTo>
                    <a:pt x="463" y="405"/>
                  </a:lnTo>
                  <a:lnTo>
                    <a:pt x="461" y="405"/>
                  </a:lnTo>
                  <a:lnTo>
                    <a:pt x="463" y="405"/>
                  </a:lnTo>
                  <a:lnTo>
                    <a:pt x="463" y="408"/>
                  </a:lnTo>
                  <a:lnTo>
                    <a:pt x="461" y="408"/>
                  </a:lnTo>
                  <a:lnTo>
                    <a:pt x="461" y="405"/>
                  </a:lnTo>
                  <a:lnTo>
                    <a:pt x="459" y="405"/>
                  </a:lnTo>
                  <a:lnTo>
                    <a:pt x="459" y="403"/>
                  </a:lnTo>
                  <a:lnTo>
                    <a:pt x="456" y="403"/>
                  </a:lnTo>
                  <a:lnTo>
                    <a:pt x="454" y="403"/>
                  </a:lnTo>
                  <a:lnTo>
                    <a:pt x="452" y="401"/>
                  </a:lnTo>
                  <a:lnTo>
                    <a:pt x="452" y="403"/>
                  </a:lnTo>
                  <a:lnTo>
                    <a:pt x="454" y="403"/>
                  </a:lnTo>
                  <a:lnTo>
                    <a:pt x="454" y="405"/>
                  </a:lnTo>
                  <a:lnTo>
                    <a:pt x="456" y="405"/>
                  </a:lnTo>
                  <a:lnTo>
                    <a:pt x="454" y="405"/>
                  </a:lnTo>
                  <a:lnTo>
                    <a:pt x="454" y="408"/>
                  </a:lnTo>
                  <a:lnTo>
                    <a:pt x="452" y="408"/>
                  </a:lnTo>
                  <a:lnTo>
                    <a:pt x="452" y="405"/>
                  </a:lnTo>
                  <a:lnTo>
                    <a:pt x="452" y="403"/>
                  </a:lnTo>
                  <a:lnTo>
                    <a:pt x="449" y="403"/>
                  </a:lnTo>
                  <a:lnTo>
                    <a:pt x="447" y="403"/>
                  </a:lnTo>
                  <a:lnTo>
                    <a:pt x="447" y="401"/>
                  </a:lnTo>
                  <a:lnTo>
                    <a:pt x="445" y="401"/>
                  </a:lnTo>
                  <a:lnTo>
                    <a:pt x="442" y="401"/>
                  </a:lnTo>
                  <a:lnTo>
                    <a:pt x="442" y="403"/>
                  </a:lnTo>
                  <a:lnTo>
                    <a:pt x="440" y="403"/>
                  </a:lnTo>
                  <a:lnTo>
                    <a:pt x="438" y="403"/>
                  </a:lnTo>
                  <a:lnTo>
                    <a:pt x="440" y="405"/>
                  </a:lnTo>
                  <a:lnTo>
                    <a:pt x="440" y="403"/>
                  </a:lnTo>
                  <a:lnTo>
                    <a:pt x="442" y="403"/>
                  </a:lnTo>
                  <a:lnTo>
                    <a:pt x="442" y="405"/>
                  </a:lnTo>
                  <a:lnTo>
                    <a:pt x="445" y="408"/>
                  </a:lnTo>
                  <a:lnTo>
                    <a:pt x="442" y="408"/>
                  </a:lnTo>
                  <a:lnTo>
                    <a:pt x="440" y="408"/>
                  </a:lnTo>
                  <a:lnTo>
                    <a:pt x="440" y="410"/>
                  </a:lnTo>
                  <a:lnTo>
                    <a:pt x="442" y="410"/>
                  </a:lnTo>
                  <a:lnTo>
                    <a:pt x="445" y="410"/>
                  </a:lnTo>
                  <a:lnTo>
                    <a:pt x="442" y="410"/>
                  </a:lnTo>
                  <a:lnTo>
                    <a:pt x="440" y="410"/>
                  </a:lnTo>
                  <a:lnTo>
                    <a:pt x="438" y="410"/>
                  </a:lnTo>
                  <a:lnTo>
                    <a:pt x="440" y="410"/>
                  </a:lnTo>
                  <a:lnTo>
                    <a:pt x="440" y="408"/>
                  </a:lnTo>
                  <a:lnTo>
                    <a:pt x="438" y="408"/>
                  </a:lnTo>
                  <a:lnTo>
                    <a:pt x="438" y="410"/>
                  </a:lnTo>
                  <a:lnTo>
                    <a:pt x="438" y="408"/>
                  </a:lnTo>
                  <a:lnTo>
                    <a:pt x="438" y="410"/>
                  </a:lnTo>
                  <a:lnTo>
                    <a:pt x="435" y="410"/>
                  </a:lnTo>
                  <a:lnTo>
                    <a:pt x="438" y="410"/>
                  </a:lnTo>
                  <a:lnTo>
                    <a:pt x="435" y="408"/>
                  </a:lnTo>
                  <a:lnTo>
                    <a:pt x="435" y="410"/>
                  </a:lnTo>
                  <a:lnTo>
                    <a:pt x="435" y="412"/>
                  </a:lnTo>
                  <a:lnTo>
                    <a:pt x="435" y="410"/>
                  </a:lnTo>
                  <a:lnTo>
                    <a:pt x="433" y="410"/>
                  </a:lnTo>
                  <a:lnTo>
                    <a:pt x="433" y="412"/>
                  </a:lnTo>
                  <a:lnTo>
                    <a:pt x="433" y="410"/>
                  </a:lnTo>
                  <a:lnTo>
                    <a:pt x="435" y="410"/>
                  </a:lnTo>
                  <a:lnTo>
                    <a:pt x="433" y="410"/>
                  </a:lnTo>
                  <a:lnTo>
                    <a:pt x="433" y="408"/>
                  </a:lnTo>
                  <a:lnTo>
                    <a:pt x="435" y="408"/>
                  </a:lnTo>
                  <a:lnTo>
                    <a:pt x="438" y="408"/>
                  </a:lnTo>
                  <a:lnTo>
                    <a:pt x="438" y="405"/>
                  </a:lnTo>
                  <a:lnTo>
                    <a:pt x="435" y="405"/>
                  </a:lnTo>
                  <a:lnTo>
                    <a:pt x="438" y="405"/>
                  </a:lnTo>
                  <a:lnTo>
                    <a:pt x="435" y="405"/>
                  </a:lnTo>
                  <a:lnTo>
                    <a:pt x="435" y="408"/>
                  </a:lnTo>
                  <a:lnTo>
                    <a:pt x="433" y="405"/>
                  </a:lnTo>
                  <a:lnTo>
                    <a:pt x="435" y="405"/>
                  </a:lnTo>
                  <a:lnTo>
                    <a:pt x="433" y="405"/>
                  </a:lnTo>
                  <a:lnTo>
                    <a:pt x="433" y="408"/>
                  </a:lnTo>
                  <a:lnTo>
                    <a:pt x="431" y="408"/>
                  </a:lnTo>
                  <a:lnTo>
                    <a:pt x="433" y="408"/>
                  </a:lnTo>
                  <a:lnTo>
                    <a:pt x="433" y="410"/>
                  </a:lnTo>
                  <a:lnTo>
                    <a:pt x="431" y="410"/>
                  </a:lnTo>
                  <a:lnTo>
                    <a:pt x="428" y="410"/>
                  </a:lnTo>
                  <a:lnTo>
                    <a:pt x="431" y="410"/>
                  </a:lnTo>
                  <a:lnTo>
                    <a:pt x="431" y="408"/>
                  </a:lnTo>
                  <a:lnTo>
                    <a:pt x="428" y="408"/>
                  </a:lnTo>
                  <a:lnTo>
                    <a:pt x="431" y="408"/>
                  </a:lnTo>
                  <a:lnTo>
                    <a:pt x="428" y="408"/>
                  </a:lnTo>
                  <a:lnTo>
                    <a:pt x="426" y="408"/>
                  </a:lnTo>
                  <a:lnTo>
                    <a:pt x="424" y="408"/>
                  </a:lnTo>
                  <a:lnTo>
                    <a:pt x="424" y="405"/>
                  </a:lnTo>
                  <a:lnTo>
                    <a:pt x="421" y="405"/>
                  </a:lnTo>
                  <a:lnTo>
                    <a:pt x="419" y="405"/>
                  </a:lnTo>
                  <a:lnTo>
                    <a:pt x="419" y="403"/>
                  </a:lnTo>
                  <a:lnTo>
                    <a:pt x="417" y="403"/>
                  </a:lnTo>
                  <a:lnTo>
                    <a:pt x="417" y="405"/>
                  </a:lnTo>
                  <a:lnTo>
                    <a:pt x="417" y="403"/>
                  </a:lnTo>
                  <a:lnTo>
                    <a:pt x="419" y="403"/>
                  </a:lnTo>
                  <a:lnTo>
                    <a:pt x="419" y="401"/>
                  </a:lnTo>
                  <a:lnTo>
                    <a:pt x="417" y="401"/>
                  </a:lnTo>
                  <a:lnTo>
                    <a:pt x="417" y="403"/>
                  </a:lnTo>
                  <a:lnTo>
                    <a:pt x="414" y="403"/>
                  </a:lnTo>
                  <a:lnTo>
                    <a:pt x="414" y="405"/>
                  </a:lnTo>
                  <a:lnTo>
                    <a:pt x="412" y="405"/>
                  </a:lnTo>
                  <a:lnTo>
                    <a:pt x="412" y="408"/>
                  </a:lnTo>
                  <a:lnTo>
                    <a:pt x="410" y="408"/>
                  </a:lnTo>
                  <a:lnTo>
                    <a:pt x="408" y="408"/>
                  </a:lnTo>
                  <a:lnTo>
                    <a:pt x="408" y="405"/>
                  </a:lnTo>
                  <a:lnTo>
                    <a:pt x="410" y="405"/>
                  </a:lnTo>
                  <a:lnTo>
                    <a:pt x="408" y="405"/>
                  </a:lnTo>
                  <a:lnTo>
                    <a:pt x="410" y="405"/>
                  </a:lnTo>
                  <a:lnTo>
                    <a:pt x="410" y="408"/>
                  </a:lnTo>
                  <a:lnTo>
                    <a:pt x="410" y="405"/>
                  </a:lnTo>
                  <a:lnTo>
                    <a:pt x="410" y="408"/>
                  </a:lnTo>
                  <a:lnTo>
                    <a:pt x="410" y="405"/>
                  </a:lnTo>
                  <a:lnTo>
                    <a:pt x="412" y="405"/>
                  </a:lnTo>
                  <a:lnTo>
                    <a:pt x="412" y="403"/>
                  </a:lnTo>
                  <a:lnTo>
                    <a:pt x="414" y="403"/>
                  </a:lnTo>
                  <a:lnTo>
                    <a:pt x="414" y="401"/>
                  </a:lnTo>
                  <a:lnTo>
                    <a:pt x="412" y="398"/>
                  </a:lnTo>
                  <a:lnTo>
                    <a:pt x="410" y="398"/>
                  </a:lnTo>
                  <a:lnTo>
                    <a:pt x="410" y="401"/>
                  </a:lnTo>
                  <a:lnTo>
                    <a:pt x="410" y="398"/>
                  </a:lnTo>
                  <a:lnTo>
                    <a:pt x="408" y="398"/>
                  </a:lnTo>
                  <a:lnTo>
                    <a:pt x="405" y="398"/>
                  </a:lnTo>
                  <a:lnTo>
                    <a:pt x="403" y="398"/>
                  </a:lnTo>
                  <a:lnTo>
                    <a:pt x="401" y="396"/>
                  </a:lnTo>
                  <a:lnTo>
                    <a:pt x="398" y="396"/>
                  </a:lnTo>
                  <a:lnTo>
                    <a:pt x="401" y="398"/>
                  </a:lnTo>
                  <a:lnTo>
                    <a:pt x="398" y="398"/>
                  </a:lnTo>
                  <a:lnTo>
                    <a:pt x="396" y="398"/>
                  </a:lnTo>
                  <a:lnTo>
                    <a:pt x="394" y="398"/>
                  </a:lnTo>
                  <a:lnTo>
                    <a:pt x="396" y="396"/>
                  </a:lnTo>
                  <a:lnTo>
                    <a:pt x="396" y="394"/>
                  </a:lnTo>
                  <a:lnTo>
                    <a:pt x="396" y="396"/>
                  </a:lnTo>
                  <a:lnTo>
                    <a:pt x="394" y="396"/>
                  </a:lnTo>
                  <a:lnTo>
                    <a:pt x="394" y="394"/>
                  </a:lnTo>
                  <a:lnTo>
                    <a:pt x="391" y="394"/>
                  </a:lnTo>
                  <a:lnTo>
                    <a:pt x="394" y="396"/>
                  </a:lnTo>
                  <a:lnTo>
                    <a:pt x="394" y="398"/>
                  </a:lnTo>
                  <a:lnTo>
                    <a:pt x="391" y="398"/>
                  </a:lnTo>
                  <a:lnTo>
                    <a:pt x="391" y="396"/>
                  </a:lnTo>
                  <a:lnTo>
                    <a:pt x="389" y="396"/>
                  </a:lnTo>
                  <a:lnTo>
                    <a:pt x="391" y="394"/>
                  </a:lnTo>
                  <a:lnTo>
                    <a:pt x="389" y="394"/>
                  </a:lnTo>
                  <a:lnTo>
                    <a:pt x="387" y="394"/>
                  </a:lnTo>
                  <a:lnTo>
                    <a:pt x="384" y="394"/>
                  </a:lnTo>
                  <a:lnTo>
                    <a:pt x="382" y="392"/>
                  </a:lnTo>
                  <a:lnTo>
                    <a:pt x="380" y="392"/>
                  </a:lnTo>
                  <a:lnTo>
                    <a:pt x="382" y="392"/>
                  </a:lnTo>
                  <a:lnTo>
                    <a:pt x="380" y="392"/>
                  </a:lnTo>
                  <a:lnTo>
                    <a:pt x="380" y="389"/>
                  </a:lnTo>
                  <a:lnTo>
                    <a:pt x="377" y="389"/>
                  </a:lnTo>
                  <a:lnTo>
                    <a:pt x="380" y="389"/>
                  </a:lnTo>
                  <a:lnTo>
                    <a:pt x="380" y="387"/>
                  </a:lnTo>
                  <a:lnTo>
                    <a:pt x="382" y="387"/>
                  </a:lnTo>
                  <a:lnTo>
                    <a:pt x="384" y="387"/>
                  </a:lnTo>
                  <a:lnTo>
                    <a:pt x="387" y="389"/>
                  </a:lnTo>
                  <a:lnTo>
                    <a:pt x="387" y="387"/>
                  </a:lnTo>
                  <a:lnTo>
                    <a:pt x="387" y="385"/>
                  </a:lnTo>
                  <a:lnTo>
                    <a:pt x="384" y="385"/>
                  </a:lnTo>
                  <a:lnTo>
                    <a:pt x="382" y="382"/>
                  </a:lnTo>
                  <a:lnTo>
                    <a:pt x="380" y="382"/>
                  </a:lnTo>
                  <a:lnTo>
                    <a:pt x="380" y="385"/>
                  </a:lnTo>
                  <a:lnTo>
                    <a:pt x="377" y="385"/>
                  </a:lnTo>
                  <a:lnTo>
                    <a:pt x="377" y="387"/>
                  </a:lnTo>
                  <a:lnTo>
                    <a:pt x="375" y="387"/>
                  </a:lnTo>
                  <a:lnTo>
                    <a:pt x="373" y="387"/>
                  </a:lnTo>
                  <a:lnTo>
                    <a:pt x="370" y="387"/>
                  </a:lnTo>
                  <a:lnTo>
                    <a:pt x="368" y="387"/>
                  </a:lnTo>
                  <a:lnTo>
                    <a:pt x="370" y="387"/>
                  </a:lnTo>
                  <a:lnTo>
                    <a:pt x="368" y="387"/>
                  </a:lnTo>
                  <a:lnTo>
                    <a:pt x="368" y="385"/>
                  </a:lnTo>
                  <a:lnTo>
                    <a:pt x="368" y="387"/>
                  </a:lnTo>
                  <a:lnTo>
                    <a:pt x="366" y="387"/>
                  </a:lnTo>
                  <a:lnTo>
                    <a:pt x="368" y="389"/>
                  </a:lnTo>
                  <a:lnTo>
                    <a:pt x="366" y="389"/>
                  </a:lnTo>
                  <a:lnTo>
                    <a:pt x="363" y="389"/>
                  </a:lnTo>
                  <a:lnTo>
                    <a:pt x="363" y="387"/>
                  </a:lnTo>
                  <a:lnTo>
                    <a:pt x="366" y="387"/>
                  </a:lnTo>
                  <a:lnTo>
                    <a:pt x="363" y="387"/>
                  </a:lnTo>
                  <a:lnTo>
                    <a:pt x="361" y="387"/>
                  </a:lnTo>
                  <a:lnTo>
                    <a:pt x="361" y="389"/>
                  </a:lnTo>
                  <a:lnTo>
                    <a:pt x="361" y="387"/>
                  </a:lnTo>
                  <a:lnTo>
                    <a:pt x="359" y="387"/>
                  </a:lnTo>
                  <a:lnTo>
                    <a:pt x="359" y="385"/>
                  </a:lnTo>
                  <a:lnTo>
                    <a:pt x="359" y="382"/>
                  </a:lnTo>
                  <a:lnTo>
                    <a:pt x="359" y="385"/>
                  </a:lnTo>
                  <a:lnTo>
                    <a:pt x="361" y="385"/>
                  </a:lnTo>
                  <a:lnTo>
                    <a:pt x="361" y="382"/>
                  </a:lnTo>
                  <a:lnTo>
                    <a:pt x="361" y="380"/>
                  </a:lnTo>
                  <a:lnTo>
                    <a:pt x="361" y="378"/>
                  </a:lnTo>
                  <a:lnTo>
                    <a:pt x="361" y="375"/>
                  </a:lnTo>
                  <a:lnTo>
                    <a:pt x="359" y="375"/>
                  </a:lnTo>
                  <a:lnTo>
                    <a:pt x="359" y="378"/>
                  </a:lnTo>
                  <a:lnTo>
                    <a:pt x="359" y="380"/>
                  </a:lnTo>
                  <a:lnTo>
                    <a:pt x="356" y="380"/>
                  </a:lnTo>
                  <a:lnTo>
                    <a:pt x="356" y="382"/>
                  </a:lnTo>
                  <a:lnTo>
                    <a:pt x="354" y="385"/>
                  </a:lnTo>
                  <a:lnTo>
                    <a:pt x="354" y="382"/>
                  </a:lnTo>
                  <a:lnTo>
                    <a:pt x="356" y="382"/>
                  </a:lnTo>
                  <a:lnTo>
                    <a:pt x="354" y="382"/>
                  </a:lnTo>
                  <a:lnTo>
                    <a:pt x="352" y="382"/>
                  </a:lnTo>
                  <a:lnTo>
                    <a:pt x="349" y="382"/>
                  </a:lnTo>
                  <a:lnTo>
                    <a:pt x="349" y="380"/>
                  </a:lnTo>
                  <a:lnTo>
                    <a:pt x="352" y="380"/>
                  </a:lnTo>
                  <a:lnTo>
                    <a:pt x="352" y="378"/>
                  </a:lnTo>
                  <a:lnTo>
                    <a:pt x="352" y="375"/>
                  </a:lnTo>
                  <a:lnTo>
                    <a:pt x="349" y="375"/>
                  </a:lnTo>
                  <a:lnTo>
                    <a:pt x="352" y="375"/>
                  </a:lnTo>
                  <a:lnTo>
                    <a:pt x="352" y="373"/>
                  </a:lnTo>
                  <a:lnTo>
                    <a:pt x="349" y="373"/>
                  </a:lnTo>
                  <a:lnTo>
                    <a:pt x="349" y="375"/>
                  </a:lnTo>
                  <a:lnTo>
                    <a:pt x="347" y="375"/>
                  </a:lnTo>
                  <a:lnTo>
                    <a:pt x="347" y="378"/>
                  </a:lnTo>
                  <a:lnTo>
                    <a:pt x="347" y="380"/>
                  </a:lnTo>
                  <a:lnTo>
                    <a:pt x="345" y="380"/>
                  </a:lnTo>
                  <a:lnTo>
                    <a:pt x="342" y="380"/>
                  </a:lnTo>
                  <a:lnTo>
                    <a:pt x="340" y="380"/>
                  </a:lnTo>
                  <a:lnTo>
                    <a:pt x="340" y="378"/>
                  </a:lnTo>
                  <a:lnTo>
                    <a:pt x="342" y="378"/>
                  </a:lnTo>
                  <a:lnTo>
                    <a:pt x="345" y="378"/>
                  </a:lnTo>
                  <a:lnTo>
                    <a:pt x="342" y="375"/>
                  </a:lnTo>
                  <a:lnTo>
                    <a:pt x="345" y="375"/>
                  </a:lnTo>
                  <a:lnTo>
                    <a:pt x="345" y="378"/>
                  </a:lnTo>
                  <a:lnTo>
                    <a:pt x="345" y="375"/>
                  </a:lnTo>
                  <a:lnTo>
                    <a:pt x="347" y="375"/>
                  </a:lnTo>
                  <a:lnTo>
                    <a:pt x="347" y="373"/>
                  </a:lnTo>
                  <a:lnTo>
                    <a:pt x="347" y="371"/>
                  </a:lnTo>
                  <a:lnTo>
                    <a:pt x="352" y="373"/>
                  </a:lnTo>
                  <a:lnTo>
                    <a:pt x="354" y="373"/>
                  </a:lnTo>
                  <a:lnTo>
                    <a:pt x="356" y="373"/>
                  </a:lnTo>
                  <a:lnTo>
                    <a:pt x="354" y="373"/>
                  </a:lnTo>
                  <a:lnTo>
                    <a:pt x="352" y="373"/>
                  </a:lnTo>
                  <a:lnTo>
                    <a:pt x="354" y="375"/>
                  </a:lnTo>
                  <a:lnTo>
                    <a:pt x="356" y="375"/>
                  </a:lnTo>
                  <a:lnTo>
                    <a:pt x="356" y="373"/>
                  </a:lnTo>
                  <a:lnTo>
                    <a:pt x="359" y="375"/>
                  </a:lnTo>
                  <a:lnTo>
                    <a:pt x="361" y="375"/>
                  </a:lnTo>
                  <a:lnTo>
                    <a:pt x="363" y="375"/>
                  </a:lnTo>
                  <a:lnTo>
                    <a:pt x="366" y="375"/>
                  </a:lnTo>
                  <a:lnTo>
                    <a:pt x="366" y="373"/>
                  </a:lnTo>
                  <a:lnTo>
                    <a:pt x="363" y="373"/>
                  </a:lnTo>
                  <a:lnTo>
                    <a:pt x="366" y="373"/>
                  </a:lnTo>
                  <a:lnTo>
                    <a:pt x="375" y="373"/>
                  </a:lnTo>
                  <a:lnTo>
                    <a:pt x="377" y="373"/>
                  </a:lnTo>
                  <a:lnTo>
                    <a:pt x="380" y="373"/>
                  </a:lnTo>
                  <a:lnTo>
                    <a:pt x="384" y="373"/>
                  </a:lnTo>
                  <a:lnTo>
                    <a:pt x="387" y="373"/>
                  </a:lnTo>
                  <a:lnTo>
                    <a:pt x="389" y="373"/>
                  </a:lnTo>
                  <a:lnTo>
                    <a:pt x="389" y="375"/>
                  </a:lnTo>
                  <a:lnTo>
                    <a:pt x="391" y="375"/>
                  </a:lnTo>
                  <a:lnTo>
                    <a:pt x="394" y="378"/>
                  </a:lnTo>
                  <a:lnTo>
                    <a:pt x="398" y="378"/>
                  </a:lnTo>
                  <a:lnTo>
                    <a:pt x="396" y="378"/>
                  </a:lnTo>
                  <a:lnTo>
                    <a:pt x="394" y="378"/>
                  </a:lnTo>
                  <a:lnTo>
                    <a:pt x="396" y="380"/>
                  </a:lnTo>
                  <a:lnTo>
                    <a:pt x="398" y="380"/>
                  </a:lnTo>
                  <a:lnTo>
                    <a:pt x="398" y="382"/>
                  </a:lnTo>
                  <a:lnTo>
                    <a:pt x="401" y="382"/>
                  </a:lnTo>
                  <a:lnTo>
                    <a:pt x="401" y="385"/>
                  </a:lnTo>
                  <a:lnTo>
                    <a:pt x="401" y="382"/>
                  </a:lnTo>
                  <a:lnTo>
                    <a:pt x="398" y="382"/>
                  </a:lnTo>
                  <a:lnTo>
                    <a:pt x="396" y="382"/>
                  </a:lnTo>
                  <a:lnTo>
                    <a:pt x="396" y="385"/>
                  </a:lnTo>
                  <a:lnTo>
                    <a:pt x="398" y="385"/>
                  </a:lnTo>
                  <a:lnTo>
                    <a:pt x="396" y="385"/>
                  </a:lnTo>
                  <a:lnTo>
                    <a:pt x="396" y="387"/>
                  </a:lnTo>
                  <a:lnTo>
                    <a:pt x="396" y="389"/>
                  </a:lnTo>
                  <a:lnTo>
                    <a:pt x="398" y="389"/>
                  </a:lnTo>
                  <a:lnTo>
                    <a:pt x="398" y="392"/>
                  </a:lnTo>
                  <a:lnTo>
                    <a:pt x="396" y="392"/>
                  </a:lnTo>
                  <a:lnTo>
                    <a:pt x="398" y="392"/>
                  </a:lnTo>
                  <a:lnTo>
                    <a:pt x="398" y="389"/>
                  </a:lnTo>
                  <a:lnTo>
                    <a:pt x="398" y="387"/>
                  </a:lnTo>
                  <a:lnTo>
                    <a:pt x="401" y="387"/>
                  </a:lnTo>
                  <a:lnTo>
                    <a:pt x="403" y="389"/>
                  </a:lnTo>
                  <a:lnTo>
                    <a:pt x="403" y="392"/>
                  </a:lnTo>
                  <a:lnTo>
                    <a:pt x="403" y="394"/>
                  </a:lnTo>
                  <a:lnTo>
                    <a:pt x="405" y="394"/>
                  </a:lnTo>
                  <a:lnTo>
                    <a:pt x="405" y="396"/>
                  </a:lnTo>
                  <a:lnTo>
                    <a:pt x="405" y="394"/>
                  </a:lnTo>
                  <a:lnTo>
                    <a:pt x="408" y="394"/>
                  </a:lnTo>
                  <a:lnTo>
                    <a:pt x="405" y="392"/>
                  </a:lnTo>
                  <a:lnTo>
                    <a:pt x="405" y="389"/>
                  </a:lnTo>
                  <a:lnTo>
                    <a:pt x="405" y="387"/>
                  </a:lnTo>
                  <a:lnTo>
                    <a:pt x="403" y="387"/>
                  </a:lnTo>
                  <a:lnTo>
                    <a:pt x="405" y="387"/>
                  </a:lnTo>
                  <a:lnTo>
                    <a:pt x="405" y="385"/>
                  </a:lnTo>
                  <a:lnTo>
                    <a:pt x="408" y="385"/>
                  </a:lnTo>
                  <a:lnTo>
                    <a:pt x="410" y="385"/>
                  </a:lnTo>
                  <a:lnTo>
                    <a:pt x="410" y="382"/>
                  </a:lnTo>
                  <a:lnTo>
                    <a:pt x="412" y="382"/>
                  </a:lnTo>
                  <a:lnTo>
                    <a:pt x="414" y="382"/>
                  </a:lnTo>
                  <a:lnTo>
                    <a:pt x="417" y="382"/>
                  </a:lnTo>
                  <a:lnTo>
                    <a:pt x="419" y="382"/>
                  </a:lnTo>
                  <a:lnTo>
                    <a:pt x="424" y="382"/>
                  </a:lnTo>
                  <a:lnTo>
                    <a:pt x="426" y="382"/>
                  </a:lnTo>
                  <a:lnTo>
                    <a:pt x="428" y="382"/>
                  </a:lnTo>
                  <a:lnTo>
                    <a:pt x="431" y="382"/>
                  </a:lnTo>
                  <a:lnTo>
                    <a:pt x="435" y="382"/>
                  </a:lnTo>
                  <a:lnTo>
                    <a:pt x="433" y="382"/>
                  </a:lnTo>
                  <a:lnTo>
                    <a:pt x="433" y="385"/>
                  </a:lnTo>
                  <a:lnTo>
                    <a:pt x="435" y="385"/>
                  </a:lnTo>
                  <a:lnTo>
                    <a:pt x="438" y="385"/>
                  </a:lnTo>
                  <a:lnTo>
                    <a:pt x="440" y="385"/>
                  </a:lnTo>
                  <a:lnTo>
                    <a:pt x="442" y="385"/>
                  </a:lnTo>
                  <a:lnTo>
                    <a:pt x="445" y="385"/>
                  </a:lnTo>
                  <a:lnTo>
                    <a:pt x="447" y="385"/>
                  </a:lnTo>
                  <a:lnTo>
                    <a:pt x="449" y="385"/>
                  </a:lnTo>
                  <a:lnTo>
                    <a:pt x="447" y="385"/>
                  </a:lnTo>
                  <a:lnTo>
                    <a:pt x="445" y="385"/>
                  </a:lnTo>
                  <a:lnTo>
                    <a:pt x="445" y="387"/>
                  </a:lnTo>
                  <a:lnTo>
                    <a:pt x="445" y="385"/>
                  </a:lnTo>
                  <a:lnTo>
                    <a:pt x="447" y="385"/>
                  </a:lnTo>
                  <a:lnTo>
                    <a:pt x="447" y="387"/>
                  </a:lnTo>
                  <a:lnTo>
                    <a:pt x="447" y="389"/>
                  </a:lnTo>
                  <a:lnTo>
                    <a:pt x="449" y="389"/>
                  </a:lnTo>
                  <a:lnTo>
                    <a:pt x="449" y="392"/>
                  </a:lnTo>
                  <a:lnTo>
                    <a:pt x="449" y="389"/>
                  </a:lnTo>
                  <a:lnTo>
                    <a:pt x="452" y="387"/>
                  </a:lnTo>
                  <a:lnTo>
                    <a:pt x="452" y="385"/>
                  </a:lnTo>
                  <a:lnTo>
                    <a:pt x="454" y="385"/>
                  </a:lnTo>
                  <a:lnTo>
                    <a:pt x="454" y="382"/>
                  </a:lnTo>
                  <a:lnTo>
                    <a:pt x="456" y="382"/>
                  </a:lnTo>
                  <a:lnTo>
                    <a:pt x="466" y="380"/>
                  </a:lnTo>
                  <a:lnTo>
                    <a:pt x="468" y="380"/>
                  </a:lnTo>
                  <a:lnTo>
                    <a:pt x="470" y="382"/>
                  </a:lnTo>
                  <a:lnTo>
                    <a:pt x="473" y="382"/>
                  </a:lnTo>
                  <a:lnTo>
                    <a:pt x="475" y="380"/>
                  </a:lnTo>
                  <a:lnTo>
                    <a:pt x="477" y="380"/>
                  </a:lnTo>
                  <a:lnTo>
                    <a:pt x="480" y="382"/>
                  </a:lnTo>
                  <a:lnTo>
                    <a:pt x="480" y="385"/>
                  </a:lnTo>
                  <a:lnTo>
                    <a:pt x="477" y="385"/>
                  </a:lnTo>
                  <a:lnTo>
                    <a:pt x="480" y="387"/>
                  </a:lnTo>
                  <a:lnTo>
                    <a:pt x="482" y="387"/>
                  </a:lnTo>
                  <a:lnTo>
                    <a:pt x="482" y="385"/>
                  </a:lnTo>
                  <a:lnTo>
                    <a:pt x="484" y="385"/>
                  </a:lnTo>
                  <a:lnTo>
                    <a:pt x="482" y="385"/>
                  </a:lnTo>
                  <a:lnTo>
                    <a:pt x="482" y="387"/>
                  </a:lnTo>
                  <a:lnTo>
                    <a:pt x="480" y="385"/>
                  </a:lnTo>
                  <a:lnTo>
                    <a:pt x="480" y="382"/>
                  </a:lnTo>
                  <a:lnTo>
                    <a:pt x="482" y="382"/>
                  </a:lnTo>
                  <a:lnTo>
                    <a:pt x="482" y="380"/>
                  </a:lnTo>
                  <a:lnTo>
                    <a:pt x="482" y="382"/>
                  </a:lnTo>
                  <a:lnTo>
                    <a:pt x="482" y="380"/>
                  </a:lnTo>
                  <a:lnTo>
                    <a:pt x="480" y="380"/>
                  </a:lnTo>
                  <a:lnTo>
                    <a:pt x="482" y="380"/>
                  </a:lnTo>
                  <a:lnTo>
                    <a:pt x="482" y="378"/>
                  </a:lnTo>
                  <a:lnTo>
                    <a:pt x="484" y="378"/>
                  </a:lnTo>
                  <a:lnTo>
                    <a:pt x="484" y="375"/>
                  </a:lnTo>
                  <a:lnTo>
                    <a:pt x="487" y="375"/>
                  </a:lnTo>
                  <a:lnTo>
                    <a:pt x="487" y="373"/>
                  </a:lnTo>
                  <a:lnTo>
                    <a:pt x="489" y="373"/>
                  </a:lnTo>
                  <a:lnTo>
                    <a:pt x="491" y="371"/>
                  </a:lnTo>
                  <a:lnTo>
                    <a:pt x="491" y="368"/>
                  </a:lnTo>
                  <a:lnTo>
                    <a:pt x="494" y="368"/>
                  </a:lnTo>
                  <a:lnTo>
                    <a:pt x="496" y="368"/>
                  </a:lnTo>
                  <a:lnTo>
                    <a:pt x="498" y="368"/>
                  </a:lnTo>
                  <a:lnTo>
                    <a:pt x="501" y="371"/>
                  </a:lnTo>
                  <a:lnTo>
                    <a:pt x="501" y="373"/>
                  </a:lnTo>
                  <a:lnTo>
                    <a:pt x="501" y="371"/>
                  </a:lnTo>
                  <a:lnTo>
                    <a:pt x="498" y="368"/>
                  </a:lnTo>
                  <a:lnTo>
                    <a:pt x="496" y="368"/>
                  </a:lnTo>
                  <a:lnTo>
                    <a:pt x="496" y="366"/>
                  </a:lnTo>
                  <a:lnTo>
                    <a:pt x="498" y="366"/>
                  </a:lnTo>
                  <a:lnTo>
                    <a:pt x="498" y="364"/>
                  </a:lnTo>
                  <a:lnTo>
                    <a:pt x="501" y="361"/>
                  </a:lnTo>
                  <a:lnTo>
                    <a:pt x="503" y="361"/>
                  </a:lnTo>
                  <a:lnTo>
                    <a:pt x="505" y="361"/>
                  </a:lnTo>
                  <a:lnTo>
                    <a:pt x="508" y="359"/>
                  </a:lnTo>
                  <a:lnTo>
                    <a:pt x="512" y="359"/>
                  </a:lnTo>
                  <a:lnTo>
                    <a:pt x="515" y="359"/>
                  </a:lnTo>
                  <a:lnTo>
                    <a:pt x="515" y="361"/>
                  </a:lnTo>
                  <a:lnTo>
                    <a:pt x="515" y="359"/>
                  </a:lnTo>
                  <a:lnTo>
                    <a:pt x="512" y="359"/>
                  </a:lnTo>
                  <a:lnTo>
                    <a:pt x="515" y="359"/>
                  </a:lnTo>
                  <a:lnTo>
                    <a:pt x="515" y="357"/>
                  </a:lnTo>
                  <a:lnTo>
                    <a:pt x="517" y="357"/>
                  </a:lnTo>
                  <a:lnTo>
                    <a:pt x="519" y="354"/>
                  </a:lnTo>
                  <a:lnTo>
                    <a:pt x="522" y="354"/>
                  </a:lnTo>
                  <a:lnTo>
                    <a:pt x="524" y="352"/>
                  </a:lnTo>
                  <a:lnTo>
                    <a:pt x="526" y="352"/>
                  </a:lnTo>
                  <a:lnTo>
                    <a:pt x="524" y="352"/>
                  </a:lnTo>
                  <a:lnTo>
                    <a:pt x="522" y="352"/>
                  </a:lnTo>
                  <a:lnTo>
                    <a:pt x="522" y="354"/>
                  </a:lnTo>
                  <a:lnTo>
                    <a:pt x="519" y="354"/>
                  </a:lnTo>
                  <a:lnTo>
                    <a:pt x="517" y="354"/>
                  </a:lnTo>
                  <a:lnTo>
                    <a:pt x="515" y="354"/>
                  </a:lnTo>
                  <a:lnTo>
                    <a:pt x="512" y="354"/>
                  </a:lnTo>
                  <a:lnTo>
                    <a:pt x="512" y="352"/>
                  </a:lnTo>
                  <a:lnTo>
                    <a:pt x="510" y="352"/>
                  </a:lnTo>
                  <a:lnTo>
                    <a:pt x="508" y="352"/>
                  </a:lnTo>
                  <a:lnTo>
                    <a:pt x="505" y="352"/>
                  </a:lnTo>
                  <a:lnTo>
                    <a:pt x="503" y="352"/>
                  </a:lnTo>
                  <a:lnTo>
                    <a:pt x="498" y="350"/>
                  </a:lnTo>
                  <a:lnTo>
                    <a:pt x="496" y="350"/>
                  </a:lnTo>
                  <a:lnTo>
                    <a:pt x="496" y="347"/>
                  </a:lnTo>
                  <a:lnTo>
                    <a:pt x="494" y="347"/>
                  </a:lnTo>
                  <a:lnTo>
                    <a:pt x="496" y="345"/>
                  </a:lnTo>
                  <a:lnTo>
                    <a:pt x="496" y="343"/>
                  </a:lnTo>
                  <a:lnTo>
                    <a:pt x="496" y="340"/>
                  </a:lnTo>
                  <a:lnTo>
                    <a:pt x="496" y="338"/>
                  </a:lnTo>
                  <a:lnTo>
                    <a:pt x="498" y="338"/>
                  </a:lnTo>
                  <a:lnTo>
                    <a:pt x="501" y="338"/>
                  </a:lnTo>
                  <a:lnTo>
                    <a:pt x="501" y="336"/>
                  </a:lnTo>
                  <a:lnTo>
                    <a:pt x="503" y="336"/>
                  </a:lnTo>
                  <a:lnTo>
                    <a:pt x="505" y="340"/>
                  </a:lnTo>
                  <a:lnTo>
                    <a:pt x="505" y="343"/>
                  </a:lnTo>
                  <a:lnTo>
                    <a:pt x="503" y="343"/>
                  </a:lnTo>
                  <a:lnTo>
                    <a:pt x="503" y="345"/>
                  </a:lnTo>
                  <a:lnTo>
                    <a:pt x="505" y="345"/>
                  </a:lnTo>
                  <a:lnTo>
                    <a:pt x="505" y="343"/>
                  </a:lnTo>
                  <a:lnTo>
                    <a:pt x="505" y="340"/>
                  </a:lnTo>
                  <a:lnTo>
                    <a:pt x="505" y="338"/>
                  </a:lnTo>
                  <a:lnTo>
                    <a:pt x="503" y="336"/>
                  </a:lnTo>
                  <a:lnTo>
                    <a:pt x="503" y="333"/>
                  </a:lnTo>
                  <a:lnTo>
                    <a:pt x="503" y="331"/>
                  </a:lnTo>
                  <a:lnTo>
                    <a:pt x="503" y="333"/>
                  </a:lnTo>
                  <a:lnTo>
                    <a:pt x="501" y="336"/>
                  </a:lnTo>
                  <a:lnTo>
                    <a:pt x="498" y="336"/>
                  </a:lnTo>
                  <a:lnTo>
                    <a:pt x="496" y="336"/>
                  </a:lnTo>
                  <a:lnTo>
                    <a:pt x="494" y="336"/>
                  </a:lnTo>
                  <a:lnTo>
                    <a:pt x="496" y="336"/>
                  </a:lnTo>
                  <a:lnTo>
                    <a:pt x="496" y="333"/>
                  </a:lnTo>
                  <a:lnTo>
                    <a:pt x="494" y="336"/>
                  </a:lnTo>
                  <a:lnTo>
                    <a:pt x="491" y="338"/>
                  </a:lnTo>
                  <a:lnTo>
                    <a:pt x="489" y="338"/>
                  </a:lnTo>
                  <a:lnTo>
                    <a:pt x="491" y="338"/>
                  </a:lnTo>
                  <a:lnTo>
                    <a:pt x="491" y="336"/>
                  </a:lnTo>
                  <a:lnTo>
                    <a:pt x="489" y="336"/>
                  </a:lnTo>
                  <a:lnTo>
                    <a:pt x="489" y="338"/>
                  </a:lnTo>
                  <a:lnTo>
                    <a:pt x="489" y="340"/>
                  </a:lnTo>
                  <a:lnTo>
                    <a:pt x="487" y="343"/>
                  </a:lnTo>
                  <a:lnTo>
                    <a:pt x="487" y="345"/>
                  </a:lnTo>
                  <a:lnTo>
                    <a:pt x="487" y="347"/>
                  </a:lnTo>
                  <a:lnTo>
                    <a:pt x="484" y="347"/>
                  </a:lnTo>
                  <a:lnTo>
                    <a:pt x="482" y="347"/>
                  </a:lnTo>
                  <a:lnTo>
                    <a:pt x="484" y="347"/>
                  </a:lnTo>
                  <a:lnTo>
                    <a:pt x="482" y="347"/>
                  </a:lnTo>
                  <a:lnTo>
                    <a:pt x="482" y="345"/>
                  </a:lnTo>
                  <a:lnTo>
                    <a:pt x="480" y="345"/>
                  </a:lnTo>
                  <a:lnTo>
                    <a:pt x="480" y="343"/>
                  </a:lnTo>
                  <a:lnTo>
                    <a:pt x="482" y="343"/>
                  </a:lnTo>
                  <a:lnTo>
                    <a:pt x="480" y="343"/>
                  </a:lnTo>
                  <a:lnTo>
                    <a:pt x="482" y="343"/>
                  </a:lnTo>
                  <a:lnTo>
                    <a:pt x="480" y="343"/>
                  </a:lnTo>
                  <a:lnTo>
                    <a:pt x="480" y="340"/>
                  </a:lnTo>
                  <a:lnTo>
                    <a:pt x="482" y="338"/>
                  </a:lnTo>
                  <a:lnTo>
                    <a:pt x="482" y="336"/>
                  </a:lnTo>
                  <a:lnTo>
                    <a:pt x="482" y="331"/>
                  </a:lnTo>
                  <a:lnTo>
                    <a:pt x="482" y="329"/>
                  </a:lnTo>
                  <a:lnTo>
                    <a:pt x="482" y="326"/>
                  </a:lnTo>
                  <a:lnTo>
                    <a:pt x="484" y="326"/>
                  </a:lnTo>
                  <a:lnTo>
                    <a:pt x="484" y="324"/>
                  </a:lnTo>
                  <a:lnTo>
                    <a:pt x="482" y="324"/>
                  </a:lnTo>
                  <a:lnTo>
                    <a:pt x="480" y="324"/>
                  </a:lnTo>
                  <a:lnTo>
                    <a:pt x="480" y="326"/>
                  </a:lnTo>
                  <a:lnTo>
                    <a:pt x="480" y="324"/>
                  </a:lnTo>
                  <a:lnTo>
                    <a:pt x="480" y="326"/>
                  </a:lnTo>
                  <a:lnTo>
                    <a:pt x="477" y="326"/>
                  </a:lnTo>
                  <a:lnTo>
                    <a:pt x="477" y="324"/>
                  </a:lnTo>
                  <a:lnTo>
                    <a:pt x="477" y="322"/>
                  </a:lnTo>
                  <a:lnTo>
                    <a:pt x="475" y="322"/>
                  </a:lnTo>
                  <a:lnTo>
                    <a:pt x="475" y="319"/>
                  </a:lnTo>
                  <a:lnTo>
                    <a:pt x="477" y="319"/>
                  </a:lnTo>
                  <a:lnTo>
                    <a:pt x="475" y="319"/>
                  </a:lnTo>
                  <a:lnTo>
                    <a:pt x="475" y="317"/>
                  </a:lnTo>
                  <a:lnTo>
                    <a:pt x="475" y="315"/>
                  </a:lnTo>
                  <a:lnTo>
                    <a:pt x="477" y="315"/>
                  </a:lnTo>
                  <a:lnTo>
                    <a:pt x="477" y="312"/>
                  </a:lnTo>
                  <a:lnTo>
                    <a:pt x="473" y="312"/>
                  </a:lnTo>
                  <a:lnTo>
                    <a:pt x="470" y="312"/>
                  </a:lnTo>
                  <a:lnTo>
                    <a:pt x="468" y="312"/>
                  </a:lnTo>
                  <a:lnTo>
                    <a:pt x="466" y="312"/>
                  </a:lnTo>
                  <a:lnTo>
                    <a:pt x="466" y="310"/>
                  </a:lnTo>
                  <a:lnTo>
                    <a:pt x="463" y="310"/>
                  </a:lnTo>
                  <a:lnTo>
                    <a:pt x="461" y="310"/>
                  </a:lnTo>
                  <a:lnTo>
                    <a:pt x="459" y="310"/>
                  </a:lnTo>
                  <a:lnTo>
                    <a:pt x="459" y="308"/>
                  </a:lnTo>
                  <a:lnTo>
                    <a:pt x="461" y="308"/>
                  </a:lnTo>
                  <a:lnTo>
                    <a:pt x="459" y="308"/>
                  </a:lnTo>
                  <a:lnTo>
                    <a:pt x="459" y="310"/>
                  </a:lnTo>
                  <a:lnTo>
                    <a:pt x="456" y="310"/>
                  </a:lnTo>
                  <a:lnTo>
                    <a:pt x="454" y="310"/>
                  </a:lnTo>
                  <a:lnTo>
                    <a:pt x="452" y="310"/>
                  </a:lnTo>
                  <a:lnTo>
                    <a:pt x="449" y="310"/>
                  </a:lnTo>
                  <a:lnTo>
                    <a:pt x="449" y="308"/>
                  </a:lnTo>
                  <a:lnTo>
                    <a:pt x="449" y="310"/>
                  </a:lnTo>
                  <a:lnTo>
                    <a:pt x="447" y="310"/>
                  </a:lnTo>
                  <a:lnTo>
                    <a:pt x="447" y="308"/>
                  </a:lnTo>
                  <a:lnTo>
                    <a:pt x="449" y="308"/>
                  </a:lnTo>
                  <a:lnTo>
                    <a:pt x="449" y="305"/>
                  </a:lnTo>
                  <a:lnTo>
                    <a:pt x="449" y="308"/>
                  </a:lnTo>
                  <a:lnTo>
                    <a:pt x="449" y="305"/>
                  </a:lnTo>
                  <a:lnTo>
                    <a:pt x="447" y="305"/>
                  </a:lnTo>
                  <a:lnTo>
                    <a:pt x="447" y="303"/>
                  </a:lnTo>
                  <a:lnTo>
                    <a:pt x="445" y="303"/>
                  </a:lnTo>
                  <a:lnTo>
                    <a:pt x="445" y="301"/>
                  </a:lnTo>
                  <a:lnTo>
                    <a:pt x="447" y="303"/>
                  </a:lnTo>
                  <a:lnTo>
                    <a:pt x="447" y="305"/>
                  </a:lnTo>
                  <a:lnTo>
                    <a:pt x="449" y="305"/>
                  </a:lnTo>
                  <a:lnTo>
                    <a:pt x="449" y="303"/>
                  </a:lnTo>
                  <a:lnTo>
                    <a:pt x="452" y="303"/>
                  </a:lnTo>
                  <a:lnTo>
                    <a:pt x="454" y="303"/>
                  </a:lnTo>
                  <a:lnTo>
                    <a:pt x="452" y="303"/>
                  </a:lnTo>
                  <a:lnTo>
                    <a:pt x="454" y="303"/>
                  </a:lnTo>
                  <a:lnTo>
                    <a:pt x="454" y="301"/>
                  </a:lnTo>
                  <a:lnTo>
                    <a:pt x="456" y="298"/>
                  </a:lnTo>
                  <a:lnTo>
                    <a:pt x="456" y="296"/>
                  </a:lnTo>
                  <a:lnTo>
                    <a:pt x="459" y="296"/>
                  </a:lnTo>
                  <a:lnTo>
                    <a:pt x="461" y="296"/>
                  </a:lnTo>
                  <a:lnTo>
                    <a:pt x="461" y="298"/>
                  </a:lnTo>
                  <a:lnTo>
                    <a:pt x="461" y="296"/>
                  </a:lnTo>
                  <a:lnTo>
                    <a:pt x="463" y="296"/>
                  </a:lnTo>
                  <a:lnTo>
                    <a:pt x="463" y="298"/>
                  </a:lnTo>
                  <a:lnTo>
                    <a:pt x="463" y="296"/>
                  </a:lnTo>
                  <a:lnTo>
                    <a:pt x="461" y="296"/>
                  </a:lnTo>
                  <a:lnTo>
                    <a:pt x="459" y="294"/>
                  </a:lnTo>
                  <a:lnTo>
                    <a:pt x="459" y="296"/>
                  </a:lnTo>
                  <a:lnTo>
                    <a:pt x="459" y="294"/>
                  </a:lnTo>
                  <a:lnTo>
                    <a:pt x="459" y="291"/>
                  </a:lnTo>
                  <a:lnTo>
                    <a:pt x="459" y="289"/>
                  </a:lnTo>
                  <a:lnTo>
                    <a:pt x="461" y="289"/>
                  </a:lnTo>
                  <a:lnTo>
                    <a:pt x="461" y="287"/>
                  </a:lnTo>
                  <a:lnTo>
                    <a:pt x="461" y="289"/>
                  </a:lnTo>
                  <a:lnTo>
                    <a:pt x="463" y="287"/>
                  </a:lnTo>
                  <a:lnTo>
                    <a:pt x="466" y="287"/>
                  </a:lnTo>
                  <a:lnTo>
                    <a:pt x="468" y="287"/>
                  </a:lnTo>
                  <a:lnTo>
                    <a:pt x="468" y="284"/>
                  </a:lnTo>
                  <a:lnTo>
                    <a:pt x="468" y="287"/>
                  </a:lnTo>
                  <a:lnTo>
                    <a:pt x="470" y="287"/>
                  </a:lnTo>
                  <a:lnTo>
                    <a:pt x="470" y="282"/>
                  </a:lnTo>
                  <a:lnTo>
                    <a:pt x="473" y="280"/>
                  </a:lnTo>
                  <a:lnTo>
                    <a:pt x="473" y="277"/>
                  </a:lnTo>
                  <a:lnTo>
                    <a:pt x="473" y="275"/>
                  </a:lnTo>
                  <a:lnTo>
                    <a:pt x="475" y="273"/>
                  </a:lnTo>
                  <a:lnTo>
                    <a:pt x="475" y="270"/>
                  </a:lnTo>
                  <a:lnTo>
                    <a:pt x="475" y="268"/>
                  </a:lnTo>
                  <a:lnTo>
                    <a:pt x="477" y="266"/>
                  </a:lnTo>
                  <a:lnTo>
                    <a:pt x="480" y="263"/>
                  </a:lnTo>
                  <a:lnTo>
                    <a:pt x="480" y="261"/>
                  </a:lnTo>
                  <a:lnTo>
                    <a:pt x="480" y="263"/>
                  </a:lnTo>
                  <a:lnTo>
                    <a:pt x="482" y="263"/>
                  </a:lnTo>
                  <a:lnTo>
                    <a:pt x="482" y="261"/>
                  </a:lnTo>
                  <a:lnTo>
                    <a:pt x="482" y="263"/>
                  </a:lnTo>
                  <a:lnTo>
                    <a:pt x="480" y="261"/>
                  </a:lnTo>
                  <a:lnTo>
                    <a:pt x="480" y="263"/>
                  </a:lnTo>
                  <a:lnTo>
                    <a:pt x="477" y="263"/>
                  </a:lnTo>
                  <a:lnTo>
                    <a:pt x="477" y="261"/>
                  </a:lnTo>
                  <a:lnTo>
                    <a:pt x="480" y="261"/>
                  </a:lnTo>
                  <a:lnTo>
                    <a:pt x="480" y="259"/>
                  </a:lnTo>
                  <a:lnTo>
                    <a:pt x="480" y="256"/>
                  </a:lnTo>
                  <a:lnTo>
                    <a:pt x="482" y="256"/>
                  </a:lnTo>
                  <a:lnTo>
                    <a:pt x="484" y="256"/>
                  </a:lnTo>
                  <a:lnTo>
                    <a:pt x="484" y="254"/>
                  </a:lnTo>
                  <a:lnTo>
                    <a:pt x="487" y="254"/>
                  </a:lnTo>
                  <a:lnTo>
                    <a:pt x="489" y="254"/>
                  </a:lnTo>
                  <a:lnTo>
                    <a:pt x="489" y="252"/>
                  </a:lnTo>
                  <a:lnTo>
                    <a:pt x="489" y="254"/>
                  </a:lnTo>
                  <a:lnTo>
                    <a:pt x="491" y="254"/>
                  </a:lnTo>
                  <a:lnTo>
                    <a:pt x="494" y="254"/>
                  </a:lnTo>
                  <a:lnTo>
                    <a:pt x="496" y="254"/>
                  </a:lnTo>
                  <a:lnTo>
                    <a:pt x="494" y="252"/>
                  </a:lnTo>
                  <a:lnTo>
                    <a:pt x="494" y="249"/>
                  </a:lnTo>
                  <a:lnTo>
                    <a:pt x="494" y="252"/>
                  </a:lnTo>
                  <a:lnTo>
                    <a:pt x="491" y="252"/>
                  </a:lnTo>
                  <a:lnTo>
                    <a:pt x="489" y="252"/>
                  </a:lnTo>
                  <a:lnTo>
                    <a:pt x="487" y="252"/>
                  </a:lnTo>
                  <a:lnTo>
                    <a:pt x="487" y="254"/>
                  </a:lnTo>
                  <a:lnTo>
                    <a:pt x="484" y="254"/>
                  </a:lnTo>
                  <a:lnTo>
                    <a:pt x="482" y="254"/>
                  </a:lnTo>
                  <a:lnTo>
                    <a:pt x="482" y="256"/>
                  </a:lnTo>
                  <a:lnTo>
                    <a:pt x="482" y="254"/>
                  </a:lnTo>
                  <a:lnTo>
                    <a:pt x="480" y="254"/>
                  </a:lnTo>
                  <a:lnTo>
                    <a:pt x="480" y="256"/>
                  </a:lnTo>
                  <a:lnTo>
                    <a:pt x="480" y="254"/>
                  </a:lnTo>
                  <a:lnTo>
                    <a:pt x="477" y="254"/>
                  </a:lnTo>
                  <a:lnTo>
                    <a:pt x="480" y="256"/>
                  </a:lnTo>
                  <a:lnTo>
                    <a:pt x="477" y="256"/>
                  </a:lnTo>
                  <a:lnTo>
                    <a:pt x="475" y="254"/>
                  </a:lnTo>
                  <a:lnTo>
                    <a:pt x="475" y="256"/>
                  </a:lnTo>
                  <a:lnTo>
                    <a:pt x="477" y="259"/>
                  </a:lnTo>
                  <a:lnTo>
                    <a:pt x="477" y="261"/>
                  </a:lnTo>
                  <a:lnTo>
                    <a:pt x="475" y="261"/>
                  </a:lnTo>
                  <a:lnTo>
                    <a:pt x="475" y="263"/>
                  </a:lnTo>
                  <a:lnTo>
                    <a:pt x="473" y="263"/>
                  </a:lnTo>
                  <a:lnTo>
                    <a:pt x="470" y="263"/>
                  </a:lnTo>
                  <a:lnTo>
                    <a:pt x="470" y="261"/>
                  </a:lnTo>
                  <a:lnTo>
                    <a:pt x="468" y="261"/>
                  </a:lnTo>
                  <a:lnTo>
                    <a:pt x="466" y="261"/>
                  </a:lnTo>
                  <a:lnTo>
                    <a:pt x="461" y="261"/>
                  </a:lnTo>
                  <a:lnTo>
                    <a:pt x="459" y="259"/>
                  </a:lnTo>
                  <a:lnTo>
                    <a:pt x="454" y="256"/>
                  </a:lnTo>
                  <a:lnTo>
                    <a:pt x="449" y="252"/>
                  </a:lnTo>
                  <a:lnTo>
                    <a:pt x="449" y="249"/>
                  </a:lnTo>
                  <a:lnTo>
                    <a:pt x="449" y="247"/>
                  </a:lnTo>
                  <a:lnTo>
                    <a:pt x="449" y="245"/>
                  </a:lnTo>
                  <a:lnTo>
                    <a:pt x="452" y="245"/>
                  </a:lnTo>
                  <a:lnTo>
                    <a:pt x="452" y="243"/>
                  </a:lnTo>
                  <a:lnTo>
                    <a:pt x="452" y="240"/>
                  </a:lnTo>
                  <a:lnTo>
                    <a:pt x="452" y="238"/>
                  </a:lnTo>
                  <a:lnTo>
                    <a:pt x="452" y="236"/>
                  </a:lnTo>
                  <a:lnTo>
                    <a:pt x="452" y="233"/>
                  </a:lnTo>
                  <a:lnTo>
                    <a:pt x="452" y="231"/>
                  </a:lnTo>
                  <a:lnTo>
                    <a:pt x="454" y="231"/>
                  </a:lnTo>
                  <a:lnTo>
                    <a:pt x="452" y="231"/>
                  </a:lnTo>
                  <a:lnTo>
                    <a:pt x="452" y="229"/>
                  </a:lnTo>
                  <a:lnTo>
                    <a:pt x="449" y="226"/>
                  </a:lnTo>
                  <a:lnTo>
                    <a:pt x="449" y="224"/>
                  </a:lnTo>
                  <a:lnTo>
                    <a:pt x="449" y="222"/>
                  </a:lnTo>
                  <a:lnTo>
                    <a:pt x="452" y="222"/>
                  </a:lnTo>
                  <a:lnTo>
                    <a:pt x="452" y="224"/>
                  </a:lnTo>
                  <a:lnTo>
                    <a:pt x="454" y="222"/>
                  </a:lnTo>
                  <a:lnTo>
                    <a:pt x="452" y="219"/>
                  </a:lnTo>
                  <a:lnTo>
                    <a:pt x="449" y="217"/>
                  </a:lnTo>
                  <a:lnTo>
                    <a:pt x="452" y="217"/>
                  </a:lnTo>
                  <a:lnTo>
                    <a:pt x="454" y="217"/>
                  </a:lnTo>
                  <a:lnTo>
                    <a:pt x="456" y="217"/>
                  </a:lnTo>
                  <a:lnTo>
                    <a:pt x="459" y="217"/>
                  </a:lnTo>
                  <a:lnTo>
                    <a:pt x="461" y="215"/>
                  </a:lnTo>
                  <a:lnTo>
                    <a:pt x="463" y="215"/>
                  </a:lnTo>
                  <a:lnTo>
                    <a:pt x="463" y="212"/>
                  </a:lnTo>
                  <a:lnTo>
                    <a:pt x="466" y="212"/>
                  </a:lnTo>
                  <a:lnTo>
                    <a:pt x="466" y="215"/>
                  </a:lnTo>
                  <a:lnTo>
                    <a:pt x="468" y="217"/>
                  </a:lnTo>
                  <a:lnTo>
                    <a:pt x="466" y="217"/>
                  </a:lnTo>
                  <a:lnTo>
                    <a:pt x="466" y="219"/>
                  </a:lnTo>
                  <a:lnTo>
                    <a:pt x="468" y="222"/>
                  </a:lnTo>
                  <a:lnTo>
                    <a:pt x="468" y="224"/>
                  </a:lnTo>
                  <a:lnTo>
                    <a:pt x="470" y="224"/>
                  </a:lnTo>
                  <a:lnTo>
                    <a:pt x="468" y="224"/>
                  </a:lnTo>
                  <a:lnTo>
                    <a:pt x="468" y="226"/>
                  </a:lnTo>
                  <a:lnTo>
                    <a:pt x="466" y="226"/>
                  </a:lnTo>
                  <a:lnTo>
                    <a:pt x="463" y="226"/>
                  </a:lnTo>
                  <a:lnTo>
                    <a:pt x="463" y="229"/>
                  </a:lnTo>
                  <a:lnTo>
                    <a:pt x="461" y="226"/>
                  </a:lnTo>
                  <a:lnTo>
                    <a:pt x="461" y="229"/>
                  </a:lnTo>
                  <a:lnTo>
                    <a:pt x="463" y="229"/>
                  </a:lnTo>
                  <a:lnTo>
                    <a:pt x="466" y="229"/>
                  </a:lnTo>
                  <a:lnTo>
                    <a:pt x="468" y="229"/>
                  </a:lnTo>
                  <a:lnTo>
                    <a:pt x="470" y="229"/>
                  </a:lnTo>
                  <a:lnTo>
                    <a:pt x="473" y="229"/>
                  </a:lnTo>
                  <a:lnTo>
                    <a:pt x="475" y="229"/>
                  </a:lnTo>
                  <a:lnTo>
                    <a:pt x="475" y="231"/>
                  </a:lnTo>
                  <a:lnTo>
                    <a:pt x="473" y="231"/>
                  </a:lnTo>
                  <a:lnTo>
                    <a:pt x="473" y="233"/>
                  </a:lnTo>
                  <a:lnTo>
                    <a:pt x="470" y="233"/>
                  </a:lnTo>
                  <a:lnTo>
                    <a:pt x="470" y="236"/>
                  </a:lnTo>
                  <a:lnTo>
                    <a:pt x="473" y="236"/>
                  </a:lnTo>
                  <a:lnTo>
                    <a:pt x="477" y="236"/>
                  </a:lnTo>
                  <a:lnTo>
                    <a:pt x="477" y="233"/>
                  </a:lnTo>
                  <a:lnTo>
                    <a:pt x="477" y="236"/>
                  </a:lnTo>
                  <a:lnTo>
                    <a:pt x="480" y="236"/>
                  </a:lnTo>
                  <a:lnTo>
                    <a:pt x="480" y="233"/>
                  </a:lnTo>
                  <a:lnTo>
                    <a:pt x="475" y="226"/>
                  </a:lnTo>
                  <a:lnTo>
                    <a:pt x="477" y="226"/>
                  </a:lnTo>
                  <a:lnTo>
                    <a:pt x="477" y="229"/>
                  </a:lnTo>
                  <a:lnTo>
                    <a:pt x="480" y="231"/>
                  </a:lnTo>
                  <a:lnTo>
                    <a:pt x="480" y="229"/>
                  </a:lnTo>
                  <a:lnTo>
                    <a:pt x="480" y="226"/>
                  </a:lnTo>
                  <a:lnTo>
                    <a:pt x="482" y="226"/>
                  </a:lnTo>
                  <a:lnTo>
                    <a:pt x="480" y="226"/>
                  </a:lnTo>
                  <a:lnTo>
                    <a:pt x="480" y="224"/>
                  </a:lnTo>
                  <a:lnTo>
                    <a:pt x="480" y="226"/>
                  </a:lnTo>
                  <a:lnTo>
                    <a:pt x="477" y="226"/>
                  </a:lnTo>
                  <a:lnTo>
                    <a:pt x="475" y="226"/>
                  </a:lnTo>
                  <a:lnTo>
                    <a:pt x="473" y="224"/>
                  </a:lnTo>
                  <a:lnTo>
                    <a:pt x="470" y="222"/>
                  </a:lnTo>
                  <a:lnTo>
                    <a:pt x="468" y="219"/>
                  </a:lnTo>
                  <a:lnTo>
                    <a:pt x="468" y="217"/>
                  </a:lnTo>
                  <a:lnTo>
                    <a:pt x="468" y="215"/>
                  </a:lnTo>
                  <a:lnTo>
                    <a:pt x="466" y="215"/>
                  </a:lnTo>
                  <a:lnTo>
                    <a:pt x="466" y="212"/>
                  </a:lnTo>
                  <a:lnTo>
                    <a:pt x="463" y="212"/>
                  </a:lnTo>
                  <a:lnTo>
                    <a:pt x="463" y="210"/>
                  </a:lnTo>
                  <a:lnTo>
                    <a:pt x="463" y="208"/>
                  </a:lnTo>
                  <a:lnTo>
                    <a:pt x="466" y="208"/>
                  </a:lnTo>
                  <a:lnTo>
                    <a:pt x="466" y="210"/>
                  </a:lnTo>
                  <a:lnTo>
                    <a:pt x="468" y="210"/>
                  </a:lnTo>
                  <a:lnTo>
                    <a:pt x="470" y="210"/>
                  </a:lnTo>
                  <a:lnTo>
                    <a:pt x="470" y="208"/>
                  </a:lnTo>
                  <a:lnTo>
                    <a:pt x="468" y="208"/>
                  </a:lnTo>
                  <a:lnTo>
                    <a:pt x="466" y="208"/>
                  </a:lnTo>
                  <a:lnTo>
                    <a:pt x="468" y="205"/>
                  </a:lnTo>
                  <a:lnTo>
                    <a:pt x="466" y="205"/>
                  </a:lnTo>
                  <a:lnTo>
                    <a:pt x="468" y="205"/>
                  </a:lnTo>
                  <a:lnTo>
                    <a:pt x="470" y="205"/>
                  </a:lnTo>
                  <a:lnTo>
                    <a:pt x="470" y="203"/>
                  </a:lnTo>
                  <a:lnTo>
                    <a:pt x="468" y="205"/>
                  </a:lnTo>
                  <a:lnTo>
                    <a:pt x="466" y="201"/>
                  </a:lnTo>
                  <a:lnTo>
                    <a:pt x="468" y="201"/>
                  </a:lnTo>
                  <a:lnTo>
                    <a:pt x="470" y="201"/>
                  </a:lnTo>
                  <a:lnTo>
                    <a:pt x="470" y="198"/>
                  </a:lnTo>
                  <a:lnTo>
                    <a:pt x="473" y="198"/>
                  </a:lnTo>
                  <a:lnTo>
                    <a:pt x="473" y="201"/>
                  </a:lnTo>
                  <a:lnTo>
                    <a:pt x="473" y="198"/>
                  </a:lnTo>
                  <a:lnTo>
                    <a:pt x="475" y="198"/>
                  </a:lnTo>
                  <a:lnTo>
                    <a:pt x="477" y="198"/>
                  </a:lnTo>
                  <a:lnTo>
                    <a:pt x="480" y="201"/>
                  </a:lnTo>
                  <a:lnTo>
                    <a:pt x="482" y="201"/>
                  </a:lnTo>
                  <a:lnTo>
                    <a:pt x="482" y="198"/>
                  </a:lnTo>
                  <a:lnTo>
                    <a:pt x="484" y="198"/>
                  </a:lnTo>
                  <a:lnTo>
                    <a:pt x="482" y="198"/>
                  </a:lnTo>
                  <a:lnTo>
                    <a:pt x="480" y="198"/>
                  </a:lnTo>
                  <a:lnTo>
                    <a:pt x="477" y="198"/>
                  </a:lnTo>
                  <a:lnTo>
                    <a:pt x="475" y="198"/>
                  </a:lnTo>
                  <a:lnTo>
                    <a:pt x="473" y="198"/>
                  </a:lnTo>
                  <a:lnTo>
                    <a:pt x="470" y="198"/>
                  </a:lnTo>
                  <a:lnTo>
                    <a:pt x="470" y="201"/>
                  </a:lnTo>
                  <a:lnTo>
                    <a:pt x="468" y="201"/>
                  </a:lnTo>
                  <a:lnTo>
                    <a:pt x="466" y="201"/>
                  </a:lnTo>
                  <a:lnTo>
                    <a:pt x="466" y="203"/>
                  </a:lnTo>
                  <a:lnTo>
                    <a:pt x="463" y="203"/>
                  </a:lnTo>
                  <a:lnTo>
                    <a:pt x="463" y="205"/>
                  </a:lnTo>
                  <a:lnTo>
                    <a:pt x="463" y="203"/>
                  </a:lnTo>
                  <a:lnTo>
                    <a:pt x="461" y="203"/>
                  </a:lnTo>
                  <a:lnTo>
                    <a:pt x="461" y="201"/>
                  </a:lnTo>
                  <a:lnTo>
                    <a:pt x="463" y="198"/>
                  </a:lnTo>
                  <a:lnTo>
                    <a:pt x="463" y="196"/>
                  </a:lnTo>
                  <a:lnTo>
                    <a:pt x="466" y="196"/>
                  </a:lnTo>
                  <a:lnTo>
                    <a:pt x="466" y="194"/>
                  </a:lnTo>
                  <a:lnTo>
                    <a:pt x="463" y="194"/>
                  </a:lnTo>
                  <a:lnTo>
                    <a:pt x="463" y="191"/>
                  </a:lnTo>
                  <a:lnTo>
                    <a:pt x="466" y="189"/>
                  </a:lnTo>
                  <a:lnTo>
                    <a:pt x="468" y="189"/>
                  </a:lnTo>
                  <a:lnTo>
                    <a:pt x="470" y="189"/>
                  </a:lnTo>
                  <a:lnTo>
                    <a:pt x="470" y="187"/>
                  </a:lnTo>
                  <a:lnTo>
                    <a:pt x="468" y="187"/>
                  </a:lnTo>
                  <a:lnTo>
                    <a:pt x="468" y="184"/>
                  </a:lnTo>
                  <a:lnTo>
                    <a:pt x="466" y="184"/>
                  </a:lnTo>
                  <a:lnTo>
                    <a:pt x="466" y="187"/>
                  </a:lnTo>
                  <a:lnTo>
                    <a:pt x="466" y="184"/>
                  </a:lnTo>
                  <a:lnTo>
                    <a:pt x="466" y="182"/>
                  </a:lnTo>
                  <a:lnTo>
                    <a:pt x="468" y="182"/>
                  </a:lnTo>
                  <a:lnTo>
                    <a:pt x="468" y="180"/>
                  </a:lnTo>
                  <a:lnTo>
                    <a:pt x="470" y="180"/>
                  </a:lnTo>
                  <a:lnTo>
                    <a:pt x="468" y="180"/>
                  </a:lnTo>
                  <a:lnTo>
                    <a:pt x="468" y="182"/>
                  </a:lnTo>
                  <a:lnTo>
                    <a:pt x="470" y="182"/>
                  </a:lnTo>
                  <a:lnTo>
                    <a:pt x="473" y="184"/>
                  </a:lnTo>
                  <a:lnTo>
                    <a:pt x="475" y="184"/>
                  </a:lnTo>
                  <a:lnTo>
                    <a:pt x="473" y="184"/>
                  </a:lnTo>
                  <a:lnTo>
                    <a:pt x="473" y="182"/>
                  </a:lnTo>
                  <a:lnTo>
                    <a:pt x="473" y="180"/>
                  </a:lnTo>
                  <a:lnTo>
                    <a:pt x="473" y="177"/>
                  </a:lnTo>
                  <a:lnTo>
                    <a:pt x="475" y="180"/>
                  </a:lnTo>
                  <a:lnTo>
                    <a:pt x="477" y="180"/>
                  </a:lnTo>
                  <a:lnTo>
                    <a:pt x="477" y="182"/>
                  </a:lnTo>
                  <a:lnTo>
                    <a:pt x="480" y="182"/>
                  </a:lnTo>
                  <a:lnTo>
                    <a:pt x="480" y="180"/>
                  </a:lnTo>
                  <a:lnTo>
                    <a:pt x="482" y="177"/>
                  </a:lnTo>
                  <a:lnTo>
                    <a:pt x="484" y="175"/>
                  </a:lnTo>
                  <a:lnTo>
                    <a:pt x="487" y="175"/>
                  </a:lnTo>
                  <a:lnTo>
                    <a:pt x="489" y="175"/>
                  </a:lnTo>
                  <a:lnTo>
                    <a:pt x="494" y="173"/>
                  </a:lnTo>
                  <a:lnTo>
                    <a:pt x="496" y="173"/>
                  </a:lnTo>
                  <a:lnTo>
                    <a:pt x="498" y="173"/>
                  </a:lnTo>
                  <a:lnTo>
                    <a:pt x="501" y="173"/>
                  </a:lnTo>
                  <a:lnTo>
                    <a:pt x="503" y="173"/>
                  </a:lnTo>
                  <a:lnTo>
                    <a:pt x="505" y="175"/>
                  </a:lnTo>
                  <a:lnTo>
                    <a:pt x="503" y="177"/>
                  </a:lnTo>
                  <a:lnTo>
                    <a:pt x="505" y="177"/>
                  </a:lnTo>
                  <a:lnTo>
                    <a:pt x="505" y="180"/>
                  </a:lnTo>
                  <a:lnTo>
                    <a:pt x="503" y="180"/>
                  </a:lnTo>
                  <a:lnTo>
                    <a:pt x="505" y="180"/>
                  </a:lnTo>
                  <a:lnTo>
                    <a:pt x="505" y="177"/>
                  </a:lnTo>
                  <a:lnTo>
                    <a:pt x="508" y="177"/>
                  </a:lnTo>
                  <a:lnTo>
                    <a:pt x="505" y="177"/>
                  </a:lnTo>
                  <a:lnTo>
                    <a:pt x="505" y="175"/>
                  </a:lnTo>
                  <a:lnTo>
                    <a:pt x="505" y="173"/>
                  </a:lnTo>
                  <a:lnTo>
                    <a:pt x="508" y="173"/>
                  </a:lnTo>
                  <a:lnTo>
                    <a:pt x="508" y="175"/>
                  </a:lnTo>
                  <a:lnTo>
                    <a:pt x="510" y="175"/>
                  </a:lnTo>
                  <a:lnTo>
                    <a:pt x="515" y="173"/>
                  </a:lnTo>
                  <a:lnTo>
                    <a:pt x="512" y="173"/>
                  </a:lnTo>
                  <a:lnTo>
                    <a:pt x="510" y="173"/>
                  </a:lnTo>
                  <a:lnTo>
                    <a:pt x="508" y="173"/>
                  </a:lnTo>
                  <a:lnTo>
                    <a:pt x="510" y="170"/>
                  </a:lnTo>
                  <a:lnTo>
                    <a:pt x="510" y="168"/>
                  </a:lnTo>
                  <a:lnTo>
                    <a:pt x="512" y="168"/>
                  </a:lnTo>
                  <a:lnTo>
                    <a:pt x="512" y="170"/>
                  </a:lnTo>
                  <a:lnTo>
                    <a:pt x="512" y="168"/>
                  </a:lnTo>
                  <a:lnTo>
                    <a:pt x="512" y="166"/>
                  </a:lnTo>
                  <a:lnTo>
                    <a:pt x="515" y="166"/>
                  </a:lnTo>
                  <a:lnTo>
                    <a:pt x="517" y="166"/>
                  </a:lnTo>
                  <a:lnTo>
                    <a:pt x="519" y="163"/>
                  </a:lnTo>
                  <a:lnTo>
                    <a:pt x="519" y="166"/>
                  </a:lnTo>
                  <a:lnTo>
                    <a:pt x="522" y="166"/>
                  </a:lnTo>
                  <a:lnTo>
                    <a:pt x="522" y="168"/>
                  </a:lnTo>
                  <a:lnTo>
                    <a:pt x="524" y="168"/>
                  </a:lnTo>
                  <a:lnTo>
                    <a:pt x="522" y="166"/>
                  </a:lnTo>
                  <a:lnTo>
                    <a:pt x="524" y="163"/>
                  </a:lnTo>
                  <a:lnTo>
                    <a:pt x="526" y="163"/>
                  </a:lnTo>
                  <a:lnTo>
                    <a:pt x="529" y="163"/>
                  </a:lnTo>
                  <a:lnTo>
                    <a:pt x="531" y="166"/>
                  </a:lnTo>
                  <a:lnTo>
                    <a:pt x="533" y="166"/>
                  </a:lnTo>
                  <a:lnTo>
                    <a:pt x="533" y="170"/>
                  </a:lnTo>
                  <a:lnTo>
                    <a:pt x="536" y="170"/>
                  </a:lnTo>
                  <a:lnTo>
                    <a:pt x="533" y="170"/>
                  </a:lnTo>
                  <a:lnTo>
                    <a:pt x="536" y="170"/>
                  </a:lnTo>
                  <a:lnTo>
                    <a:pt x="533" y="173"/>
                  </a:lnTo>
                  <a:lnTo>
                    <a:pt x="533" y="175"/>
                  </a:lnTo>
                  <a:lnTo>
                    <a:pt x="536" y="175"/>
                  </a:lnTo>
                  <a:lnTo>
                    <a:pt x="533" y="175"/>
                  </a:lnTo>
                  <a:lnTo>
                    <a:pt x="531" y="175"/>
                  </a:lnTo>
                  <a:lnTo>
                    <a:pt x="529" y="175"/>
                  </a:lnTo>
                  <a:lnTo>
                    <a:pt x="531" y="175"/>
                  </a:lnTo>
                  <a:lnTo>
                    <a:pt x="533" y="175"/>
                  </a:lnTo>
                  <a:lnTo>
                    <a:pt x="536" y="175"/>
                  </a:lnTo>
                  <a:lnTo>
                    <a:pt x="536" y="177"/>
                  </a:lnTo>
                  <a:lnTo>
                    <a:pt x="536" y="180"/>
                  </a:lnTo>
                  <a:lnTo>
                    <a:pt x="538" y="182"/>
                  </a:lnTo>
                  <a:lnTo>
                    <a:pt x="540" y="182"/>
                  </a:lnTo>
                  <a:lnTo>
                    <a:pt x="542" y="182"/>
                  </a:lnTo>
                  <a:lnTo>
                    <a:pt x="545" y="182"/>
                  </a:lnTo>
                  <a:lnTo>
                    <a:pt x="545" y="180"/>
                  </a:lnTo>
                  <a:lnTo>
                    <a:pt x="547" y="182"/>
                  </a:lnTo>
                  <a:lnTo>
                    <a:pt x="549" y="182"/>
                  </a:lnTo>
                  <a:lnTo>
                    <a:pt x="554" y="180"/>
                  </a:lnTo>
                  <a:lnTo>
                    <a:pt x="556" y="180"/>
                  </a:lnTo>
                  <a:lnTo>
                    <a:pt x="559" y="180"/>
                  </a:lnTo>
                  <a:lnTo>
                    <a:pt x="559" y="177"/>
                  </a:lnTo>
                  <a:lnTo>
                    <a:pt x="559" y="180"/>
                  </a:lnTo>
                  <a:lnTo>
                    <a:pt x="561" y="180"/>
                  </a:lnTo>
                  <a:lnTo>
                    <a:pt x="561" y="182"/>
                  </a:lnTo>
                  <a:lnTo>
                    <a:pt x="559" y="182"/>
                  </a:lnTo>
                  <a:lnTo>
                    <a:pt x="556" y="182"/>
                  </a:lnTo>
                  <a:lnTo>
                    <a:pt x="561" y="184"/>
                  </a:lnTo>
                  <a:lnTo>
                    <a:pt x="563" y="187"/>
                  </a:lnTo>
                  <a:lnTo>
                    <a:pt x="566" y="187"/>
                  </a:lnTo>
                  <a:lnTo>
                    <a:pt x="566" y="189"/>
                  </a:lnTo>
                  <a:lnTo>
                    <a:pt x="568" y="189"/>
                  </a:lnTo>
                  <a:lnTo>
                    <a:pt x="570" y="191"/>
                  </a:lnTo>
                  <a:lnTo>
                    <a:pt x="573" y="191"/>
                  </a:lnTo>
                  <a:lnTo>
                    <a:pt x="575" y="191"/>
                  </a:lnTo>
                  <a:lnTo>
                    <a:pt x="575" y="189"/>
                  </a:lnTo>
                  <a:lnTo>
                    <a:pt x="577" y="189"/>
                  </a:lnTo>
                  <a:lnTo>
                    <a:pt x="580" y="189"/>
                  </a:lnTo>
                  <a:lnTo>
                    <a:pt x="582" y="187"/>
                  </a:lnTo>
                  <a:lnTo>
                    <a:pt x="584" y="184"/>
                  </a:lnTo>
                  <a:lnTo>
                    <a:pt x="587" y="180"/>
                  </a:lnTo>
                  <a:lnTo>
                    <a:pt x="587" y="177"/>
                  </a:lnTo>
                  <a:lnTo>
                    <a:pt x="589" y="175"/>
                  </a:lnTo>
                  <a:lnTo>
                    <a:pt x="591" y="173"/>
                  </a:lnTo>
                  <a:lnTo>
                    <a:pt x="591" y="170"/>
                  </a:lnTo>
                  <a:lnTo>
                    <a:pt x="591" y="168"/>
                  </a:lnTo>
                  <a:lnTo>
                    <a:pt x="591" y="166"/>
                  </a:lnTo>
                  <a:lnTo>
                    <a:pt x="591" y="168"/>
                  </a:lnTo>
                  <a:lnTo>
                    <a:pt x="591" y="166"/>
                  </a:lnTo>
                  <a:lnTo>
                    <a:pt x="589" y="163"/>
                  </a:lnTo>
                  <a:lnTo>
                    <a:pt x="587" y="163"/>
                  </a:lnTo>
                  <a:lnTo>
                    <a:pt x="589" y="163"/>
                  </a:lnTo>
                  <a:lnTo>
                    <a:pt x="591" y="163"/>
                  </a:lnTo>
                  <a:lnTo>
                    <a:pt x="591" y="161"/>
                  </a:lnTo>
                  <a:lnTo>
                    <a:pt x="594" y="161"/>
                  </a:lnTo>
                  <a:lnTo>
                    <a:pt x="594" y="163"/>
                  </a:lnTo>
                  <a:lnTo>
                    <a:pt x="596" y="166"/>
                  </a:lnTo>
                  <a:lnTo>
                    <a:pt x="598" y="166"/>
                  </a:lnTo>
                  <a:lnTo>
                    <a:pt x="601" y="166"/>
                  </a:lnTo>
                  <a:lnTo>
                    <a:pt x="603" y="166"/>
                  </a:lnTo>
                  <a:lnTo>
                    <a:pt x="603" y="163"/>
                  </a:lnTo>
                  <a:lnTo>
                    <a:pt x="605" y="163"/>
                  </a:lnTo>
                  <a:lnTo>
                    <a:pt x="605" y="161"/>
                  </a:lnTo>
                  <a:lnTo>
                    <a:pt x="605" y="159"/>
                  </a:lnTo>
                  <a:lnTo>
                    <a:pt x="605" y="156"/>
                  </a:lnTo>
                  <a:lnTo>
                    <a:pt x="605" y="154"/>
                  </a:lnTo>
                  <a:lnTo>
                    <a:pt x="605" y="156"/>
                  </a:lnTo>
                  <a:lnTo>
                    <a:pt x="608" y="156"/>
                  </a:lnTo>
                  <a:lnTo>
                    <a:pt x="608" y="154"/>
                  </a:lnTo>
                  <a:lnTo>
                    <a:pt x="605" y="154"/>
                  </a:lnTo>
                  <a:lnTo>
                    <a:pt x="603" y="154"/>
                  </a:lnTo>
                  <a:lnTo>
                    <a:pt x="601" y="154"/>
                  </a:lnTo>
                  <a:lnTo>
                    <a:pt x="601" y="156"/>
                  </a:lnTo>
                  <a:lnTo>
                    <a:pt x="598" y="156"/>
                  </a:lnTo>
                  <a:lnTo>
                    <a:pt x="598" y="154"/>
                  </a:lnTo>
                  <a:lnTo>
                    <a:pt x="596" y="154"/>
                  </a:lnTo>
                  <a:lnTo>
                    <a:pt x="596" y="152"/>
                  </a:lnTo>
                  <a:lnTo>
                    <a:pt x="596" y="149"/>
                  </a:lnTo>
                  <a:lnTo>
                    <a:pt x="596" y="152"/>
                  </a:lnTo>
                  <a:lnTo>
                    <a:pt x="594" y="152"/>
                  </a:lnTo>
                  <a:lnTo>
                    <a:pt x="591" y="152"/>
                  </a:lnTo>
                  <a:lnTo>
                    <a:pt x="594" y="152"/>
                  </a:lnTo>
                  <a:lnTo>
                    <a:pt x="591" y="152"/>
                  </a:lnTo>
                  <a:lnTo>
                    <a:pt x="589" y="149"/>
                  </a:lnTo>
                  <a:lnTo>
                    <a:pt x="589" y="152"/>
                  </a:lnTo>
                  <a:lnTo>
                    <a:pt x="589" y="149"/>
                  </a:lnTo>
                  <a:lnTo>
                    <a:pt x="587" y="149"/>
                  </a:lnTo>
                  <a:lnTo>
                    <a:pt x="587" y="152"/>
                  </a:lnTo>
                  <a:lnTo>
                    <a:pt x="584" y="152"/>
                  </a:lnTo>
                  <a:lnTo>
                    <a:pt x="584" y="149"/>
                  </a:lnTo>
                  <a:lnTo>
                    <a:pt x="582" y="149"/>
                  </a:lnTo>
                  <a:lnTo>
                    <a:pt x="580" y="149"/>
                  </a:lnTo>
                  <a:lnTo>
                    <a:pt x="577" y="149"/>
                  </a:lnTo>
                  <a:lnTo>
                    <a:pt x="577" y="152"/>
                  </a:lnTo>
                  <a:lnTo>
                    <a:pt x="575" y="152"/>
                  </a:lnTo>
                  <a:lnTo>
                    <a:pt x="573" y="152"/>
                  </a:lnTo>
                  <a:lnTo>
                    <a:pt x="575" y="149"/>
                  </a:lnTo>
                  <a:lnTo>
                    <a:pt x="575" y="147"/>
                  </a:lnTo>
                  <a:lnTo>
                    <a:pt x="575" y="145"/>
                  </a:lnTo>
                  <a:lnTo>
                    <a:pt x="575" y="142"/>
                  </a:lnTo>
                  <a:lnTo>
                    <a:pt x="577" y="140"/>
                  </a:lnTo>
                  <a:lnTo>
                    <a:pt x="575" y="140"/>
                  </a:lnTo>
                  <a:lnTo>
                    <a:pt x="573" y="140"/>
                  </a:lnTo>
                  <a:lnTo>
                    <a:pt x="573" y="142"/>
                  </a:lnTo>
                  <a:lnTo>
                    <a:pt x="573" y="145"/>
                  </a:lnTo>
                  <a:lnTo>
                    <a:pt x="575" y="145"/>
                  </a:lnTo>
                  <a:lnTo>
                    <a:pt x="573" y="145"/>
                  </a:lnTo>
                  <a:lnTo>
                    <a:pt x="570" y="147"/>
                  </a:lnTo>
                  <a:lnTo>
                    <a:pt x="570" y="145"/>
                  </a:lnTo>
                  <a:lnTo>
                    <a:pt x="570" y="142"/>
                  </a:lnTo>
                  <a:lnTo>
                    <a:pt x="570" y="140"/>
                  </a:lnTo>
                  <a:lnTo>
                    <a:pt x="570" y="138"/>
                  </a:lnTo>
                  <a:lnTo>
                    <a:pt x="568" y="138"/>
                  </a:lnTo>
                  <a:lnTo>
                    <a:pt x="568" y="135"/>
                  </a:lnTo>
                  <a:lnTo>
                    <a:pt x="566" y="133"/>
                  </a:lnTo>
                  <a:lnTo>
                    <a:pt x="561" y="128"/>
                  </a:lnTo>
                  <a:lnTo>
                    <a:pt x="563" y="131"/>
                  </a:lnTo>
                  <a:lnTo>
                    <a:pt x="561" y="128"/>
                  </a:lnTo>
                  <a:lnTo>
                    <a:pt x="556" y="128"/>
                  </a:lnTo>
                  <a:lnTo>
                    <a:pt x="554" y="128"/>
                  </a:lnTo>
                  <a:lnTo>
                    <a:pt x="556" y="128"/>
                  </a:lnTo>
                  <a:lnTo>
                    <a:pt x="556" y="126"/>
                  </a:lnTo>
                  <a:lnTo>
                    <a:pt x="554" y="126"/>
                  </a:lnTo>
                  <a:lnTo>
                    <a:pt x="554" y="124"/>
                  </a:lnTo>
                  <a:lnTo>
                    <a:pt x="554" y="126"/>
                  </a:lnTo>
                  <a:lnTo>
                    <a:pt x="554" y="124"/>
                  </a:lnTo>
                  <a:lnTo>
                    <a:pt x="552" y="126"/>
                  </a:lnTo>
                  <a:lnTo>
                    <a:pt x="554" y="126"/>
                  </a:lnTo>
                  <a:lnTo>
                    <a:pt x="552" y="126"/>
                  </a:lnTo>
                  <a:lnTo>
                    <a:pt x="554" y="128"/>
                  </a:lnTo>
                  <a:lnTo>
                    <a:pt x="552" y="126"/>
                  </a:lnTo>
                  <a:lnTo>
                    <a:pt x="547" y="119"/>
                  </a:lnTo>
                  <a:lnTo>
                    <a:pt x="545" y="114"/>
                  </a:lnTo>
                  <a:lnTo>
                    <a:pt x="545" y="112"/>
                  </a:lnTo>
                  <a:lnTo>
                    <a:pt x="542" y="110"/>
                  </a:lnTo>
                  <a:lnTo>
                    <a:pt x="542" y="105"/>
                  </a:lnTo>
                  <a:lnTo>
                    <a:pt x="542" y="103"/>
                  </a:lnTo>
                  <a:lnTo>
                    <a:pt x="545" y="103"/>
                  </a:lnTo>
                  <a:lnTo>
                    <a:pt x="545" y="101"/>
                  </a:lnTo>
                  <a:lnTo>
                    <a:pt x="547" y="101"/>
                  </a:lnTo>
                  <a:lnTo>
                    <a:pt x="547" y="98"/>
                  </a:lnTo>
                  <a:lnTo>
                    <a:pt x="547" y="96"/>
                  </a:lnTo>
                  <a:lnTo>
                    <a:pt x="547" y="98"/>
                  </a:lnTo>
                  <a:lnTo>
                    <a:pt x="547" y="96"/>
                  </a:lnTo>
                  <a:lnTo>
                    <a:pt x="547" y="94"/>
                  </a:lnTo>
                  <a:lnTo>
                    <a:pt x="549" y="94"/>
                  </a:lnTo>
                  <a:lnTo>
                    <a:pt x="549" y="91"/>
                  </a:lnTo>
                  <a:lnTo>
                    <a:pt x="547" y="91"/>
                  </a:lnTo>
                  <a:lnTo>
                    <a:pt x="547" y="89"/>
                  </a:lnTo>
                  <a:lnTo>
                    <a:pt x="549" y="87"/>
                  </a:lnTo>
                  <a:lnTo>
                    <a:pt x="552" y="84"/>
                  </a:lnTo>
                  <a:lnTo>
                    <a:pt x="554" y="84"/>
                  </a:lnTo>
                  <a:lnTo>
                    <a:pt x="552" y="87"/>
                  </a:lnTo>
                  <a:lnTo>
                    <a:pt x="549" y="87"/>
                  </a:lnTo>
                  <a:lnTo>
                    <a:pt x="549" y="89"/>
                  </a:lnTo>
                  <a:lnTo>
                    <a:pt x="549" y="91"/>
                  </a:lnTo>
                  <a:lnTo>
                    <a:pt x="552" y="91"/>
                  </a:lnTo>
                  <a:lnTo>
                    <a:pt x="554" y="91"/>
                  </a:lnTo>
                  <a:lnTo>
                    <a:pt x="556" y="91"/>
                  </a:lnTo>
                  <a:lnTo>
                    <a:pt x="559" y="91"/>
                  </a:lnTo>
                  <a:lnTo>
                    <a:pt x="559" y="94"/>
                  </a:lnTo>
                  <a:lnTo>
                    <a:pt x="559" y="96"/>
                  </a:lnTo>
                  <a:lnTo>
                    <a:pt x="561" y="96"/>
                  </a:lnTo>
                  <a:lnTo>
                    <a:pt x="561" y="94"/>
                  </a:lnTo>
                  <a:lnTo>
                    <a:pt x="561" y="91"/>
                  </a:lnTo>
                  <a:lnTo>
                    <a:pt x="559" y="91"/>
                  </a:lnTo>
                  <a:lnTo>
                    <a:pt x="559" y="89"/>
                  </a:lnTo>
                  <a:lnTo>
                    <a:pt x="559" y="87"/>
                  </a:lnTo>
                  <a:lnTo>
                    <a:pt x="556" y="87"/>
                  </a:lnTo>
                  <a:lnTo>
                    <a:pt x="554" y="82"/>
                  </a:lnTo>
                  <a:lnTo>
                    <a:pt x="554" y="84"/>
                  </a:lnTo>
                  <a:lnTo>
                    <a:pt x="556" y="84"/>
                  </a:lnTo>
                  <a:lnTo>
                    <a:pt x="556" y="87"/>
                  </a:lnTo>
                  <a:lnTo>
                    <a:pt x="556" y="84"/>
                  </a:lnTo>
                  <a:lnTo>
                    <a:pt x="554" y="84"/>
                  </a:lnTo>
                  <a:lnTo>
                    <a:pt x="554" y="82"/>
                  </a:lnTo>
                  <a:lnTo>
                    <a:pt x="552" y="80"/>
                  </a:lnTo>
                  <a:lnTo>
                    <a:pt x="549" y="77"/>
                  </a:lnTo>
                  <a:lnTo>
                    <a:pt x="549" y="73"/>
                  </a:lnTo>
                  <a:lnTo>
                    <a:pt x="549" y="70"/>
                  </a:lnTo>
                  <a:lnTo>
                    <a:pt x="549" y="68"/>
                  </a:lnTo>
                  <a:lnTo>
                    <a:pt x="549" y="66"/>
                  </a:lnTo>
                  <a:lnTo>
                    <a:pt x="549" y="63"/>
                  </a:lnTo>
                  <a:lnTo>
                    <a:pt x="549" y="61"/>
                  </a:lnTo>
                  <a:lnTo>
                    <a:pt x="552" y="61"/>
                  </a:lnTo>
                  <a:lnTo>
                    <a:pt x="554" y="61"/>
                  </a:lnTo>
                  <a:lnTo>
                    <a:pt x="554" y="63"/>
                  </a:lnTo>
                  <a:lnTo>
                    <a:pt x="552" y="63"/>
                  </a:lnTo>
                  <a:lnTo>
                    <a:pt x="549" y="63"/>
                  </a:lnTo>
                  <a:lnTo>
                    <a:pt x="552" y="63"/>
                  </a:lnTo>
                  <a:lnTo>
                    <a:pt x="552" y="66"/>
                  </a:lnTo>
                  <a:lnTo>
                    <a:pt x="554" y="66"/>
                  </a:lnTo>
                  <a:lnTo>
                    <a:pt x="554" y="63"/>
                  </a:lnTo>
                  <a:lnTo>
                    <a:pt x="556" y="66"/>
                  </a:lnTo>
                  <a:lnTo>
                    <a:pt x="559" y="68"/>
                  </a:lnTo>
                  <a:lnTo>
                    <a:pt x="559" y="66"/>
                  </a:lnTo>
                  <a:lnTo>
                    <a:pt x="561" y="66"/>
                  </a:lnTo>
                  <a:lnTo>
                    <a:pt x="563" y="66"/>
                  </a:lnTo>
                  <a:lnTo>
                    <a:pt x="566" y="66"/>
                  </a:lnTo>
                  <a:lnTo>
                    <a:pt x="563" y="66"/>
                  </a:lnTo>
                  <a:lnTo>
                    <a:pt x="563" y="68"/>
                  </a:lnTo>
                  <a:lnTo>
                    <a:pt x="566" y="68"/>
                  </a:lnTo>
                  <a:lnTo>
                    <a:pt x="568" y="68"/>
                  </a:lnTo>
                  <a:lnTo>
                    <a:pt x="570" y="68"/>
                  </a:lnTo>
                  <a:lnTo>
                    <a:pt x="573" y="68"/>
                  </a:lnTo>
                  <a:lnTo>
                    <a:pt x="570" y="68"/>
                  </a:lnTo>
                  <a:lnTo>
                    <a:pt x="573" y="68"/>
                  </a:lnTo>
                  <a:lnTo>
                    <a:pt x="575" y="68"/>
                  </a:lnTo>
                  <a:lnTo>
                    <a:pt x="577" y="68"/>
                  </a:lnTo>
                  <a:lnTo>
                    <a:pt x="580" y="68"/>
                  </a:lnTo>
                  <a:lnTo>
                    <a:pt x="582" y="68"/>
                  </a:lnTo>
                  <a:lnTo>
                    <a:pt x="582" y="70"/>
                  </a:lnTo>
                  <a:lnTo>
                    <a:pt x="584" y="70"/>
                  </a:lnTo>
                  <a:lnTo>
                    <a:pt x="584" y="73"/>
                  </a:lnTo>
                  <a:lnTo>
                    <a:pt x="582" y="73"/>
                  </a:lnTo>
                  <a:lnTo>
                    <a:pt x="582" y="70"/>
                  </a:lnTo>
                  <a:lnTo>
                    <a:pt x="582" y="73"/>
                  </a:lnTo>
                  <a:lnTo>
                    <a:pt x="587" y="77"/>
                  </a:lnTo>
                  <a:lnTo>
                    <a:pt x="589" y="77"/>
                  </a:lnTo>
                  <a:lnTo>
                    <a:pt x="589" y="75"/>
                  </a:lnTo>
                  <a:lnTo>
                    <a:pt x="589" y="73"/>
                  </a:lnTo>
                  <a:lnTo>
                    <a:pt x="587" y="73"/>
                  </a:lnTo>
                  <a:lnTo>
                    <a:pt x="589" y="70"/>
                  </a:lnTo>
                  <a:lnTo>
                    <a:pt x="591" y="70"/>
                  </a:lnTo>
                  <a:lnTo>
                    <a:pt x="596" y="73"/>
                  </a:lnTo>
                  <a:lnTo>
                    <a:pt x="598" y="73"/>
                  </a:lnTo>
                  <a:lnTo>
                    <a:pt x="601" y="75"/>
                  </a:lnTo>
                  <a:lnTo>
                    <a:pt x="601" y="77"/>
                  </a:lnTo>
                  <a:lnTo>
                    <a:pt x="601" y="75"/>
                  </a:lnTo>
                  <a:lnTo>
                    <a:pt x="603" y="77"/>
                  </a:lnTo>
                  <a:lnTo>
                    <a:pt x="603" y="75"/>
                  </a:lnTo>
                  <a:lnTo>
                    <a:pt x="608" y="77"/>
                  </a:lnTo>
                  <a:lnTo>
                    <a:pt x="608" y="75"/>
                  </a:lnTo>
                  <a:lnTo>
                    <a:pt x="610" y="77"/>
                  </a:lnTo>
                  <a:lnTo>
                    <a:pt x="612" y="80"/>
                  </a:lnTo>
                  <a:lnTo>
                    <a:pt x="617" y="82"/>
                  </a:lnTo>
                  <a:lnTo>
                    <a:pt x="619" y="84"/>
                  </a:lnTo>
                  <a:lnTo>
                    <a:pt x="619" y="87"/>
                  </a:lnTo>
                  <a:lnTo>
                    <a:pt x="617" y="84"/>
                  </a:lnTo>
                  <a:lnTo>
                    <a:pt x="617" y="87"/>
                  </a:lnTo>
                  <a:lnTo>
                    <a:pt x="615" y="87"/>
                  </a:lnTo>
                  <a:lnTo>
                    <a:pt x="612" y="87"/>
                  </a:lnTo>
                  <a:lnTo>
                    <a:pt x="612" y="89"/>
                  </a:lnTo>
                  <a:lnTo>
                    <a:pt x="610" y="89"/>
                  </a:lnTo>
                  <a:lnTo>
                    <a:pt x="610" y="91"/>
                  </a:lnTo>
                  <a:lnTo>
                    <a:pt x="608" y="91"/>
                  </a:lnTo>
                  <a:lnTo>
                    <a:pt x="605" y="91"/>
                  </a:lnTo>
                  <a:lnTo>
                    <a:pt x="603" y="91"/>
                  </a:lnTo>
                  <a:lnTo>
                    <a:pt x="605" y="91"/>
                  </a:lnTo>
                  <a:lnTo>
                    <a:pt x="605" y="94"/>
                  </a:lnTo>
                  <a:lnTo>
                    <a:pt x="608" y="94"/>
                  </a:lnTo>
                  <a:lnTo>
                    <a:pt x="605" y="94"/>
                  </a:lnTo>
                  <a:lnTo>
                    <a:pt x="605" y="96"/>
                  </a:lnTo>
                  <a:lnTo>
                    <a:pt x="605" y="98"/>
                  </a:lnTo>
                  <a:lnTo>
                    <a:pt x="610" y="101"/>
                  </a:lnTo>
                  <a:lnTo>
                    <a:pt x="610" y="103"/>
                  </a:lnTo>
                  <a:lnTo>
                    <a:pt x="612" y="105"/>
                  </a:lnTo>
                  <a:lnTo>
                    <a:pt x="615" y="105"/>
                  </a:lnTo>
                  <a:lnTo>
                    <a:pt x="615" y="107"/>
                  </a:lnTo>
                  <a:lnTo>
                    <a:pt x="617" y="107"/>
                  </a:lnTo>
                  <a:lnTo>
                    <a:pt x="617" y="110"/>
                  </a:lnTo>
                  <a:lnTo>
                    <a:pt x="615" y="110"/>
                  </a:lnTo>
                  <a:lnTo>
                    <a:pt x="617" y="110"/>
                  </a:lnTo>
                  <a:lnTo>
                    <a:pt x="617" y="112"/>
                  </a:lnTo>
                  <a:lnTo>
                    <a:pt x="619" y="112"/>
                  </a:lnTo>
                  <a:lnTo>
                    <a:pt x="619" y="114"/>
                  </a:lnTo>
                  <a:lnTo>
                    <a:pt x="622" y="114"/>
                  </a:lnTo>
                  <a:lnTo>
                    <a:pt x="624" y="117"/>
                  </a:lnTo>
                  <a:lnTo>
                    <a:pt x="622" y="117"/>
                  </a:lnTo>
                  <a:lnTo>
                    <a:pt x="624" y="117"/>
                  </a:lnTo>
                  <a:lnTo>
                    <a:pt x="624" y="119"/>
                  </a:lnTo>
                  <a:lnTo>
                    <a:pt x="622" y="119"/>
                  </a:lnTo>
                  <a:lnTo>
                    <a:pt x="624" y="119"/>
                  </a:lnTo>
                  <a:lnTo>
                    <a:pt x="626" y="119"/>
                  </a:lnTo>
                  <a:lnTo>
                    <a:pt x="626" y="117"/>
                  </a:lnTo>
                  <a:lnTo>
                    <a:pt x="629" y="117"/>
                  </a:lnTo>
                  <a:lnTo>
                    <a:pt x="631" y="117"/>
                  </a:lnTo>
                  <a:lnTo>
                    <a:pt x="633" y="114"/>
                  </a:lnTo>
                  <a:lnTo>
                    <a:pt x="636" y="117"/>
                  </a:lnTo>
                  <a:lnTo>
                    <a:pt x="636" y="119"/>
                  </a:lnTo>
                  <a:lnTo>
                    <a:pt x="638" y="119"/>
                  </a:lnTo>
                  <a:lnTo>
                    <a:pt x="638" y="121"/>
                  </a:lnTo>
                  <a:lnTo>
                    <a:pt x="636" y="121"/>
                  </a:lnTo>
                  <a:lnTo>
                    <a:pt x="636" y="124"/>
                  </a:lnTo>
                  <a:lnTo>
                    <a:pt x="633" y="124"/>
                  </a:lnTo>
                  <a:lnTo>
                    <a:pt x="633" y="121"/>
                  </a:lnTo>
                  <a:lnTo>
                    <a:pt x="633" y="124"/>
                  </a:lnTo>
                  <a:lnTo>
                    <a:pt x="636" y="124"/>
                  </a:lnTo>
                  <a:lnTo>
                    <a:pt x="638" y="121"/>
                  </a:lnTo>
                  <a:lnTo>
                    <a:pt x="638" y="119"/>
                  </a:lnTo>
                  <a:lnTo>
                    <a:pt x="640" y="119"/>
                  </a:lnTo>
                  <a:lnTo>
                    <a:pt x="640" y="117"/>
                  </a:lnTo>
                  <a:lnTo>
                    <a:pt x="638" y="114"/>
                  </a:lnTo>
                  <a:lnTo>
                    <a:pt x="638" y="112"/>
                  </a:lnTo>
                  <a:lnTo>
                    <a:pt x="636" y="110"/>
                  </a:lnTo>
                  <a:lnTo>
                    <a:pt x="633" y="110"/>
                  </a:lnTo>
                  <a:lnTo>
                    <a:pt x="631" y="110"/>
                  </a:lnTo>
                  <a:lnTo>
                    <a:pt x="631" y="112"/>
                  </a:lnTo>
                  <a:lnTo>
                    <a:pt x="631" y="110"/>
                  </a:lnTo>
                  <a:lnTo>
                    <a:pt x="631" y="107"/>
                  </a:lnTo>
                  <a:lnTo>
                    <a:pt x="633" y="107"/>
                  </a:lnTo>
                  <a:lnTo>
                    <a:pt x="636" y="107"/>
                  </a:lnTo>
                  <a:lnTo>
                    <a:pt x="636" y="105"/>
                  </a:lnTo>
                  <a:lnTo>
                    <a:pt x="636" y="103"/>
                  </a:lnTo>
                  <a:lnTo>
                    <a:pt x="636" y="101"/>
                  </a:lnTo>
                  <a:lnTo>
                    <a:pt x="638" y="98"/>
                  </a:lnTo>
                  <a:lnTo>
                    <a:pt x="638" y="96"/>
                  </a:lnTo>
                  <a:lnTo>
                    <a:pt x="636" y="94"/>
                  </a:lnTo>
                  <a:lnTo>
                    <a:pt x="636" y="91"/>
                  </a:lnTo>
                  <a:lnTo>
                    <a:pt x="638" y="89"/>
                  </a:lnTo>
                  <a:lnTo>
                    <a:pt x="636" y="89"/>
                  </a:lnTo>
                  <a:lnTo>
                    <a:pt x="638" y="89"/>
                  </a:lnTo>
                  <a:lnTo>
                    <a:pt x="640" y="89"/>
                  </a:lnTo>
                  <a:lnTo>
                    <a:pt x="643" y="89"/>
                  </a:lnTo>
                  <a:lnTo>
                    <a:pt x="643" y="91"/>
                  </a:lnTo>
                  <a:lnTo>
                    <a:pt x="640" y="94"/>
                  </a:lnTo>
                  <a:lnTo>
                    <a:pt x="640" y="96"/>
                  </a:lnTo>
                  <a:lnTo>
                    <a:pt x="640" y="98"/>
                  </a:lnTo>
                  <a:lnTo>
                    <a:pt x="638" y="98"/>
                  </a:lnTo>
                  <a:lnTo>
                    <a:pt x="638" y="101"/>
                  </a:lnTo>
                  <a:lnTo>
                    <a:pt x="636" y="103"/>
                  </a:lnTo>
                  <a:lnTo>
                    <a:pt x="636" y="105"/>
                  </a:lnTo>
                  <a:lnTo>
                    <a:pt x="638" y="110"/>
                  </a:lnTo>
                  <a:lnTo>
                    <a:pt x="640" y="112"/>
                  </a:lnTo>
                  <a:lnTo>
                    <a:pt x="643" y="112"/>
                  </a:lnTo>
                  <a:lnTo>
                    <a:pt x="645" y="112"/>
                  </a:lnTo>
                  <a:lnTo>
                    <a:pt x="643" y="112"/>
                  </a:lnTo>
                  <a:lnTo>
                    <a:pt x="645" y="114"/>
                  </a:lnTo>
                  <a:lnTo>
                    <a:pt x="643" y="117"/>
                  </a:lnTo>
                  <a:lnTo>
                    <a:pt x="645" y="119"/>
                  </a:lnTo>
                  <a:lnTo>
                    <a:pt x="645" y="121"/>
                  </a:lnTo>
                  <a:lnTo>
                    <a:pt x="647" y="124"/>
                  </a:lnTo>
                  <a:lnTo>
                    <a:pt x="650" y="124"/>
                  </a:lnTo>
                  <a:lnTo>
                    <a:pt x="652" y="124"/>
                  </a:lnTo>
                  <a:lnTo>
                    <a:pt x="654" y="121"/>
                  </a:lnTo>
                  <a:lnTo>
                    <a:pt x="654" y="119"/>
                  </a:lnTo>
                  <a:lnTo>
                    <a:pt x="657" y="117"/>
                  </a:lnTo>
                  <a:lnTo>
                    <a:pt x="654" y="117"/>
                  </a:lnTo>
                  <a:lnTo>
                    <a:pt x="652" y="117"/>
                  </a:lnTo>
                  <a:lnTo>
                    <a:pt x="652" y="114"/>
                  </a:lnTo>
                  <a:lnTo>
                    <a:pt x="652" y="112"/>
                  </a:lnTo>
                  <a:lnTo>
                    <a:pt x="650" y="112"/>
                  </a:lnTo>
                  <a:lnTo>
                    <a:pt x="647" y="110"/>
                  </a:lnTo>
                  <a:lnTo>
                    <a:pt x="645" y="110"/>
                  </a:lnTo>
                  <a:lnTo>
                    <a:pt x="643" y="110"/>
                  </a:lnTo>
                  <a:lnTo>
                    <a:pt x="640" y="110"/>
                  </a:lnTo>
                  <a:lnTo>
                    <a:pt x="640" y="107"/>
                  </a:lnTo>
                  <a:lnTo>
                    <a:pt x="643" y="107"/>
                  </a:lnTo>
                  <a:lnTo>
                    <a:pt x="640" y="105"/>
                  </a:lnTo>
                  <a:lnTo>
                    <a:pt x="640" y="101"/>
                  </a:lnTo>
                  <a:lnTo>
                    <a:pt x="643" y="98"/>
                  </a:lnTo>
                  <a:lnTo>
                    <a:pt x="645" y="98"/>
                  </a:lnTo>
                  <a:lnTo>
                    <a:pt x="645" y="96"/>
                  </a:lnTo>
                  <a:lnTo>
                    <a:pt x="647" y="96"/>
                  </a:lnTo>
                  <a:lnTo>
                    <a:pt x="650" y="96"/>
                  </a:lnTo>
                  <a:lnTo>
                    <a:pt x="652" y="98"/>
                  </a:lnTo>
                  <a:lnTo>
                    <a:pt x="652" y="96"/>
                  </a:lnTo>
                  <a:lnTo>
                    <a:pt x="652" y="94"/>
                  </a:lnTo>
                  <a:lnTo>
                    <a:pt x="650" y="94"/>
                  </a:lnTo>
                  <a:lnTo>
                    <a:pt x="650" y="91"/>
                  </a:lnTo>
                  <a:lnTo>
                    <a:pt x="647" y="91"/>
                  </a:lnTo>
                  <a:lnTo>
                    <a:pt x="645" y="89"/>
                  </a:lnTo>
                  <a:lnTo>
                    <a:pt x="645" y="87"/>
                  </a:lnTo>
                  <a:lnTo>
                    <a:pt x="645" y="89"/>
                  </a:lnTo>
                  <a:lnTo>
                    <a:pt x="643" y="89"/>
                  </a:lnTo>
                  <a:lnTo>
                    <a:pt x="643" y="87"/>
                  </a:lnTo>
                  <a:lnTo>
                    <a:pt x="645" y="87"/>
                  </a:lnTo>
                  <a:lnTo>
                    <a:pt x="645" y="84"/>
                  </a:lnTo>
                  <a:lnTo>
                    <a:pt x="647" y="84"/>
                  </a:lnTo>
                  <a:lnTo>
                    <a:pt x="647" y="82"/>
                  </a:lnTo>
                  <a:lnTo>
                    <a:pt x="647" y="84"/>
                  </a:lnTo>
                  <a:lnTo>
                    <a:pt x="643" y="84"/>
                  </a:lnTo>
                  <a:lnTo>
                    <a:pt x="643" y="87"/>
                  </a:lnTo>
                  <a:lnTo>
                    <a:pt x="640" y="84"/>
                  </a:lnTo>
                  <a:lnTo>
                    <a:pt x="640" y="82"/>
                  </a:lnTo>
                  <a:lnTo>
                    <a:pt x="638" y="82"/>
                  </a:lnTo>
                  <a:lnTo>
                    <a:pt x="636" y="80"/>
                  </a:lnTo>
                  <a:lnTo>
                    <a:pt x="633" y="75"/>
                  </a:lnTo>
                  <a:lnTo>
                    <a:pt x="633" y="73"/>
                  </a:lnTo>
                  <a:lnTo>
                    <a:pt x="631" y="73"/>
                  </a:lnTo>
                  <a:lnTo>
                    <a:pt x="633" y="70"/>
                  </a:lnTo>
                  <a:lnTo>
                    <a:pt x="636" y="68"/>
                  </a:lnTo>
                  <a:lnTo>
                    <a:pt x="636" y="66"/>
                  </a:lnTo>
                  <a:lnTo>
                    <a:pt x="638" y="66"/>
                  </a:lnTo>
                  <a:lnTo>
                    <a:pt x="638" y="63"/>
                  </a:lnTo>
                  <a:lnTo>
                    <a:pt x="640" y="59"/>
                  </a:lnTo>
                  <a:lnTo>
                    <a:pt x="640" y="56"/>
                  </a:lnTo>
                  <a:lnTo>
                    <a:pt x="640" y="54"/>
                  </a:lnTo>
                  <a:lnTo>
                    <a:pt x="640" y="49"/>
                  </a:lnTo>
                  <a:lnTo>
                    <a:pt x="640" y="47"/>
                  </a:lnTo>
                  <a:lnTo>
                    <a:pt x="640" y="45"/>
                  </a:lnTo>
                  <a:lnTo>
                    <a:pt x="640" y="42"/>
                  </a:lnTo>
                  <a:lnTo>
                    <a:pt x="640" y="45"/>
                  </a:lnTo>
                  <a:lnTo>
                    <a:pt x="640" y="42"/>
                  </a:lnTo>
                  <a:lnTo>
                    <a:pt x="640" y="38"/>
                  </a:lnTo>
                  <a:lnTo>
                    <a:pt x="640" y="33"/>
                  </a:lnTo>
                  <a:lnTo>
                    <a:pt x="640" y="31"/>
                  </a:lnTo>
                  <a:lnTo>
                    <a:pt x="638" y="28"/>
                  </a:lnTo>
                  <a:lnTo>
                    <a:pt x="638" y="26"/>
                  </a:lnTo>
                  <a:lnTo>
                    <a:pt x="638" y="24"/>
                  </a:lnTo>
                  <a:lnTo>
                    <a:pt x="638" y="21"/>
                  </a:lnTo>
                  <a:lnTo>
                    <a:pt x="638" y="19"/>
                  </a:lnTo>
                  <a:lnTo>
                    <a:pt x="638" y="17"/>
                  </a:lnTo>
                  <a:lnTo>
                    <a:pt x="638" y="14"/>
                  </a:lnTo>
                  <a:lnTo>
                    <a:pt x="636" y="10"/>
                  </a:lnTo>
                  <a:lnTo>
                    <a:pt x="633" y="10"/>
                  </a:lnTo>
                  <a:lnTo>
                    <a:pt x="636" y="10"/>
                  </a:lnTo>
                  <a:lnTo>
                    <a:pt x="638" y="10"/>
                  </a:lnTo>
                  <a:lnTo>
                    <a:pt x="640" y="10"/>
                  </a:lnTo>
                  <a:lnTo>
                    <a:pt x="638" y="10"/>
                  </a:lnTo>
                  <a:lnTo>
                    <a:pt x="636" y="10"/>
                  </a:lnTo>
                  <a:lnTo>
                    <a:pt x="638" y="12"/>
                  </a:lnTo>
                  <a:lnTo>
                    <a:pt x="640" y="12"/>
                  </a:lnTo>
                  <a:lnTo>
                    <a:pt x="643" y="10"/>
                  </a:lnTo>
                  <a:lnTo>
                    <a:pt x="645" y="10"/>
                  </a:lnTo>
                  <a:lnTo>
                    <a:pt x="647" y="10"/>
                  </a:lnTo>
                  <a:lnTo>
                    <a:pt x="647" y="7"/>
                  </a:lnTo>
                  <a:lnTo>
                    <a:pt x="650" y="7"/>
                  </a:lnTo>
                  <a:lnTo>
                    <a:pt x="650" y="5"/>
                  </a:lnTo>
                  <a:lnTo>
                    <a:pt x="652" y="5"/>
                  </a:lnTo>
                  <a:lnTo>
                    <a:pt x="652" y="3"/>
                  </a:lnTo>
                  <a:lnTo>
                    <a:pt x="654" y="3"/>
                  </a:lnTo>
                  <a:lnTo>
                    <a:pt x="654" y="0"/>
                  </a:lnTo>
                  <a:lnTo>
                    <a:pt x="657" y="3"/>
                  </a:lnTo>
                  <a:lnTo>
                    <a:pt x="659" y="5"/>
                  </a:lnTo>
                  <a:lnTo>
                    <a:pt x="659" y="7"/>
                  </a:lnTo>
                  <a:lnTo>
                    <a:pt x="664" y="10"/>
                  </a:lnTo>
                  <a:lnTo>
                    <a:pt x="666" y="12"/>
                  </a:lnTo>
                  <a:lnTo>
                    <a:pt x="668" y="14"/>
                  </a:lnTo>
                  <a:lnTo>
                    <a:pt x="673" y="19"/>
                  </a:lnTo>
                  <a:lnTo>
                    <a:pt x="675" y="19"/>
                  </a:lnTo>
                  <a:lnTo>
                    <a:pt x="677" y="19"/>
                  </a:lnTo>
                  <a:lnTo>
                    <a:pt x="680" y="19"/>
                  </a:lnTo>
                  <a:lnTo>
                    <a:pt x="682" y="19"/>
                  </a:lnTo>
                  <a:lnTo>
                    <a:pt x="684" y="19"/>
                  </a:lnTo>
                  <a:lnTo>
                    <a:pt x="694" y="17"/>
                  </a:lnTo>
                  <a:lnTo>
                    <a:pt x="696" y="17"/>
                  </a:lnTo>
                  <a:lnTo>
                    <a:pt x="696" y="14"/>
                  </a:lnTo>
                  <a:lnTo>
                    <a:pt x="696" y="17"/>
                  </a:lnTo>
                  <a:lnTo>
                    <a:pt x="694" y="17"/>
                  </a:lnTo>
                  <a:lnTo>
                    <a:pt x="694" y="19"/>
                  </a:lnTo>
                  <a:lnTo>
                    <a:pt x="696" y="17"/>
                  </a:lnTo>
                  <a:lnTo>
                    <a:pt x="698" y="17"/>
                  </a:lnTo>
                  <a:lnTo>
                    <a:pt x="698" y="14"/>
                  </a:lnTo>
                  <a:lnTo>
                    <a:pt x="701" y="14"/>
                  </a:lnTo>
                  <a:lnTo>
                    <a:pt x="701" y="12"/>
                  </a:lnTo>
                  <a:lnTo>
                    <a:pt x="703" y="12"/>
                  </a:lnTo>
                  <a:lnTo>
                    <a:pt x="703" y="10"/>
                  </a:lnTo>
                  <a:lnTo>
                    <a:pt x="705" y="10"/>
                  </a:lnTo>
                  <a:lnTo>
                    <a:pt x="708" y="10"/>
                  </a:lnTo>
                  <a:lnTo>
                    <a:pt x="705" y="10"/>
                  </a:lnTo>
                  <a:lnTo>
                    <a:pt x="708" y="7"/>
                  </a:lnTo>
                  <a:lnTo>
                    <a:pt x="712" y="7"/>
                  </a:lnTo>
                  <a:lnTo>
                    <a:pt x="715" y="7"/>
                  </a:lnTo>
                  <a:lnTo>
                    <a:pt x="717" y="7"/>
                  </a:lnTo>
                  <a:lnTo>
                    <a:pt x="719" y="5"/>
                  </a:lnTo>
                  <a:lnTo>
                    <a:pt x="722" y="5"/>
                  </a:lnTo>
                  <a:lnTo>
                    <a:pt x="724" y="5"/>
                  </a:lnTo>
                  <a:lnTo>
                    <a:pt x="726" y="5"/>
                  </a:lnTo>
                  <a:lnTo>
                    <a:pt x="726" y="3"/>
                  </a:lnTo>
                  <a:lnTo>
                    <a:pt x="729" y="3"/>
                  </a:lnTo>
                  <a:lnTo>
                    <a:pt x="731" y="3"/>
                  </a:lnTo>
                  <a:lnTo>
                    <a:pt x="733" y="3"/>
                  </a:lnTo>
                  <a:lnTo>
                    <a:pt x="731" y="3"/>
                  </a:lnTo>
                  <a:lnTo>
                    <a:pt x="733" y="5"/>
                  </a:lnTo>
                  <a:lnTo>
                    <a:pt x="731" y="5"/>
                  </a:lnTo>
                  <a:lnTo>
                    <a:pt x="731" y="7"/>
                  </a:lnTo>
                  <a:lnTo>
                    <a:pt x="731" y="5"/>
                  </a:lnTo>
                  <a:lnTo>
                    <a:pt x="729" y="7"/>
                  </a:lnTo>
                  <a:lnTo>
                    <a:pt x="729" y="5"/>
                  </a:lnTo>
                  <a:lnTo>
                    <a:pt x="726" y="5"/>
                  </a:lnTo>
                  <a:lnTo>
                    <a:pt x="729" y="7"/>
                  </a:lnTo>
                  <a:lnTo>
                    <a:pt x="731" y="7"/>
                  </a:lnTo>
                  <a:lnTo>
                    <a:pt x="733" y="7"/>
                  </a:lnTo>
                  <a:lnTo>
                    <a:pt x="736" y="10"/>
                  </a:lnTo>
                  <a:lnTo>
                    <a:pt x="738" y="10"/>
                  </a:lnTo>
                  <a:lnTo>
                    <a:pt x="740" y="10"/>
                  </a:lnTo>
                  <a:lnTo>
                    <a:pt x="740" y="12"/>
                  </a:lnTo>
                  <a:lnTo>
                    <a:pt x="740" y="10"/>
                  </a:lnTo>
                  <a:lnTo>
                    <a:pt x="743" y="10"/>
                  </a:lnTo>
                  <a:lnTo>
                    <a:pt x="743" y="12"/>
                  </a:lnTo>
                  <a:lnTo>
                    <a:pt x="747" y="10"/>
                  </a:lnTo>
                  <a:lnTo>
                    <a:pt x="745" y="10"/>
                  </a:lnTo>
                  <a:lnTo>
                    <a:pt x="747" y="10"/>
                  </a:lnTo>
                  <a:lnTo>
                    <a:pt x="750" y="10"/>
                  </a:lnTo>
                  <a:lnTo>
                    <a:pt x="754" y="10"/>
                  </a:lnTo>
                  <a:lnTo>
                    <a:pt x="757" y="10"/>
                  </a:lnTo>
                  <a:lnTo>
                    <a:pt x="757" y="12"/>
                  </a:lnTo>
                  <a:lnTo>
                    <a:pt x="759" y="12"/>
                  </a:lnTo>
                  <a:lnTo>
                    <a:pt x="757" y="12"/>
                  </a:lnTo>
                  <a:lnTo>
                    <a:pt x="757" y="14"/>
                  </a:lnTo>
                  <a:lnTo>
                    <a:pt x="754" y="14"/>
                  </a:lnTo>
                  <a:lnTo>
                    <a:pt x="752" y="12"/>
                  </a:lnTo>
                  <a:lnTo>
                    <a:pt x="752" y="14"/>
                  </a:lnTo>
                  <a:lnTo>
                    <a:pt x="754" y="14"/>
                  </a:lnTo>
                  <a:lnTo>
                    <a:pt x="754" y="17"/>
                  </a:lnTo>
                  <a:lnTo>
                    <a:pt x="752" y="17"/>
                  </a:lnTo>
                  <a:lnTo>
                    <a:pt x="750" y="17"/>
                  </a:lnTo>
                  <a:lnTo>
                    <a:pt x="750" y="19"/>
                  </a:lnTo>
                  <a:lnTo>
                    <a:pt x="752" y="19"/>
                  </a:lnTo>
                  <a:lnTo>
                    <a:pt x="752" y="21"/>
                  </a:lnTo>
                  <a:lnTo>
                    <a:pt x="750" y="21"/>
                  </a:lnTo>
                  <a:lnTo>
                    <a:pt x="750" y="24"/>
                  </a:lnTo>
                  <a:lnTo>
                    <a:pt x="750" y="21"/>
                  </a:lnTo>
                  <a:lnTo>
                    <a:pt x="752" y="21"/>
                  </a:lnTo>
                  <a:lnTo>
                    <a:pt x="752" y="19"/>
                  </a:lnTo>
                  <a:lnTo>
                    <a:pt x="754" y="19"/>
                  </a:lnTo>
                  <a:lnTo>
                    <a:pt x="754" y="17"/>
                  </a:lnTo>
                  <a:lnTo>
                    <a:pt x="757" y="17"/>
                  </a:lnTo>
                  <a:lnTo>
                    <a:pt x="759" y="17"/>
                  </a:lnTo>
                  <a:lnTo>
                    <a:pt x="759" y="19"/>
                  </a:lnTo>
                  <a:lnTo>
                    <a:pt x="761" y="19"/>
                  </a:lnTo>
                  <a:lnTo>
                    <a:pt x="764" y="19"/>
                  </a:lnTo>
                  <a:lnTo>
                    <a:pt x="761" y="19"/>
                  </a:lnTo>
                  <a:lnTo>
                    <a:pt x="761" y="17"/>
                  </a:lnTo>
                  <a:lnTo>
                    <a:pt x="759" y="17"/>
                  </a:lnTo>
                  <a:lnTo>
                    <a:pt x="757" y="17"/>
                  </a:lnTo>
                  <a:lnTo>
                    <a:pt x="757" y="14"/>
                  </a:lnTo>
                  <a:lnTo>
                    <a:pt x="759" y="14"/>
                  </a:lnTo>
                  <a:lnTo>
                    <a:pt x="759" y="12"/>
                  </a:lnTo>
                  <a:lnTo>
                    <a:pt x="759" y="10"/>
                  </a:lnTo>
                  <a:lnTo>
                    <a:pt x="757" y="10"/>
                  </a:lnTo>
                  <a:lnTo>
                    <a:pt x="761" y="10"/>
                  </a:lnTo>
                  <a:lnTo>
                    <a:pt x="764" y="10"/>
                  </a:lnTo>
                  <a:lnTo>
                    <a:pt x="766" y="10"/>
                  </a:lnTo>
                  <a:lnTo>
                    <a:pt x="766" y="7"/>
                  </a:lnTo>
                  <a:lnTo>
                    <a:pt x="768" y="7"/>
                  </a:lnTo>
                  <a:lnTo>
                    <a:pt x="768" y="10"/>
                  </a:lnTo>
                  <a:lnTo>
                    <a:pt x="771" y="10"/>
                  </a:lnTo>
                  <a:lnTo>
                    <a:pt x="773" y="10"/>
                  </a:lnTo>
                  <a:lnTo>
                    <a:pt x="771" y="10"/>
                  </a:lnTo>
                  <a:lnTo>
                    <a:pt x="773" y="12"/>
                  </a:lnTo>
                  <a:lnTo>
                    <a:pt x="771" y="12"/>
                  </a:lnTo>
                  <a:lnTo>
                    <a:pt x="768" y="12"/>
                  </a:lnTo>
                  <a:lnTo>
                    <a:pt x="768" y="10"/>
                  </a:lnTo>
                  <a:lnTo>
                    <a:pt x="768" y="12"/>
                  </a:lnTo>
                  <a:lnTo>
                    <a:pt x="768" y="14"/>
                  </a:lnTo>
                  <a:lnTo>
                    <a:pt x="768" y="12"/>
                  </a:lnTo>
                  <a:lnTo>
                    <a:pt x="771" y="14"/>
                  </a:lnTo>
                  <a:lnTo>
                    <a:pt x="773" y="14"/>
                  </a:lnTo>
                  <a:lnTo>
                    <a:pt x="771" y="12"/>
                  </a:lnTo>
                  <a:lnTo>
                    <a:pt x="773" y="12"/>
                  </a:lnTo>
                  <a:lnTo>
                    <a:pt x="775" y="17"/>
                  </a:lnTo>
                  <a:lnTo>
                    <a:pt x="780" y="19"/>
                  </a:lnTo>
                  <a:lnTo>
                    <a:pt x="778" y="19"/>
                  </a:lnTo>
                  <a:lnTo>
                    <a:pt x="778" y="17"/>
                  </a:lnTo>
                  <a:lnTo>
                    <a:pt x="780" y="19"/>
                  </a:lnTo>
                  <a:lnTo>
                    <a:pt x="782" y="21"/>
                  </a:lnTo>
                  <a:lnTo>
                    <a:pt x="785" y="21"/>
                  </a:lnTo>
                  <a:lnTo>
                    <a:pt x="787" y="21"/>
                  </a:lnTo>
                  <a:lnTo>
                    <a:pt x="789" y="21"/>
                  </a:lnTo>
                  <a:lnTo>
                    <a:pt x="796" y="21"/>
                  </a:lnTo>
                  <a:lnTo>
                    <a:pt x="798" y="19"/>
                  </a:lnTo>
                  <a:lnTo>
                    <a:pt x="801" y="19"/>
                  </a:lnTo>
                  <a:lnTo>
                    <a:pt x="805" y="17"/>
                  </a:lnTo>
                  <a:lnTo>
                    <a:pt x="808" y="17"/>
                  </a:lnTo>
                  <a:lnTo>
                    <a:pt x="810" y="17"/>
                  </a:lnTo>
                  <a:lnTo>
                    <a:pt x="812" y="17"/>
                  </a:lnTo>
                  <a:close/>
                  <a:moveTo>
                    <a:pt x="37" y="175"/>
                  </a:moveTo>
                  <a:lnTo>
                    <a:pt x="37" y="177"/>
                  </a:lnTo>
                  <a:lnTo>
                    <a:pt x="37" y="180"/>
                  </a:lnTo>
                  <a:lnTo>
                    <a:pt x="37" y="182"/>
                  </a:lnTo>
                  <a:lnTo>
                    <a:pt x="37" y="184"/>
                  </a:lnTo>
                  <a:lnTo>
                    <a:pt x="37" y="187"/>
                  </a:lnTo>
                  <a:lnTo>
                    <a:pt x="35" y="187"/>
                  </a:lnTo>
                  <a:lnTo>
                    <a:pt x="35" y="189"/>
                  </a:lnTo>
                  <a:lnTo>
                    <a:pt x="37" y="189"/>
                  </a:lnTo>
                  <a:lnTo>
                    <a:pt x="35" y="189"/>
                  </a:lnTo>
                  <a:lnTo>
                    <a:pt x="37" y="191"/>
                  </a:lnTo>
                  <a:lnTo>
                    <a:pt x="37" y="194"/>
                  </a:lnTo>
                  <a:lnTo>
                    <a:pt x="37" y="191"/>
                  </a:lnTo>
                  <a:lnTo>
                    <a:pt x="35" y="191"/>
                  </a:lnTo>
                  <a:lnTo>
                    <a:pt x="35" y="189"/>
                  </a:lnTo>
                  <a:lnTo>
                    <a:pt x="35" y="184"/>
                  </a:lnTo>
                  <a:lnTo>
                    <a:pt x="35" y="182"/>
                  </a:lnTo>
                  <a:lnTo>
                    <a:pt x="35" y="180"/>
                  </a:lnTo>
                  <a:lnTo>
                    <a:pt x="35" y="177"/>
                  </a:lnTo>
                  <a:lnTo>
                    <a:pt x="35" y="175"/>
                  </a:lnTo>
                  <a:lnTo>
                    <a:pt x="35" y="173"/>
                  </a:lnTo>
                  <a:lnTo>
                    <a:pt x="35" y="175"/>
                  </a:lnTo>
                  <a:lnTo>
                    <a:pt x="37" y="175"/>
                  </a:lnTo>
                  <a:close/>
                  <a:moveTo>
                    <a:pt x="35" y="163"/>
                  </a:moveTo>
                  <a:lnTo>
                    <a:pt x="37" y="166"/>
                  </a:lnTo>
                  <a:lnTo>
                    <a:pt x="35" y="168"/>
                  </a:lnTo>
                  <a:lnTo>
                    <a:pt x="35" y="166"/>
                  </a:lnTo>
                  <a:lnTo>
                    <a:pt x="35" y="163"/>
                  </a:lnTo>
                  <a:close/>
                  <a:moveTo>
                    <a:pt x="40" y="168"/>
                  </a:moveTo>
                  <a:lnTo>
                    <a:pt x="40" y="166"/>
                  </a:lnTo>
                  <a:lnTo>
                    <a:pt x="42" y="166"/>
                  </a:lnTo>
                  <a:lnTo>
                    <a:pt x="44" y="166"/>
                  </a:lnTo>
                  <a:lnTo>
                    <a:pt x="42" y="168"/>
                  </a:lnTo>
                  <a:lnTo>
                    <a:pt x="40" y="168"/>
                  </a:lnTo>
                  <a:close/>
                  <a:moveTo>
                    <a:pt x="54" y="187"/>
                  </a:moveTo>
                  <a:lnTo>
                    <a:pt x="51" y="184"/>
                  </a:lnTo>
                  <a:lnTo>
                    <a:pt x="51" y="182"/>
                  </a:lnTo>
                  <a:lnTo>
                    <a:pt x="54" y="182"/>
                  </a:lnTo>
                  <a:lnTo>
                    <a:pt x="56" y="182"/>
                  </a:lnTo>
                  <a:lnTo>
                    <a:pt x="56" y="184"/>
                  </a:lnTo>
                  <a:lnTo>
                    <a:pt x="56" y="187"/>
                  </a:lnTo>
                  <a:lnTo>
                    <a:pt x="54" y="187"/>
                  </a:lnTo>
                  <a:close/>
                  <a:moveTo>
                    <a:pt x="33" y="149"/>
                  </a:moveTo>
                  <a:lnTo>
                    <a:pt x="33" y="152"/>
                  </a:lnTo>
                  <a:lnTo>
                    <a:pt x="30" y="152"/>
                  </a:lnTo>
                  <a:lnTo>
                    <a:pt x="30" y="149"/>
                  </a:lnTo>
                  <a:lnTo>
                    <a:pt x="30" y="147"/>
                  </a:lnTo>
                  <a:lnTo>
                    <a:pt x="28" y="147"/>
                  </a:lnTo>
                  <a:lnTo>
                    <a:pt x="26" y="147"/>
                  </a:lnTo>
                  <a:lnTo>
                    <a:pt x="26" y="145"/>
                  </a:lnTo>
                  <a:lnTo>
                    <a:pt x="28" y="145"/>
                  </a:lnTo>
                  <a:lnTo>
                    <a:pt x="28" y="147"/>
                  </a:lnTo>
                  <a:lnTo>
                    <a:pt x="30" y="147"/>
                  </a:lnTo>
                  <a:lnTo>
                    <a:pt x="33" y="147"/>
                  </a:lnTo>
                  <a:lnTo>
                    <a:pt x="35" y="147"/>
                  </a:lnTo>
                  <a:lnTo>
                    <a:pt x="37" y="147"/>
                  </a:lnTo>
                  <a:lnTo>
                    <a:pt x="37" y="149"/>
                  </a:lnTo>
                  <a:lnTo>
                    <a:pt x="35" y="149"/>
                  </a:lnTo>
                  <a:lnTo>
                    <a:pt x="33" y="149"/>
                  </a:lnTo>
                  <a:close/>
                  <a:moveTo>
                    <a:pt x="26" y="117"/>
                  </a:moveTo>
                  <a:lnTo>
                    <a:pt x="23" y="114"/>
                  </a:lnTo>
                  <a:lnTo>
                    <a:pt x="26" y="114"/>
                  </a:lnTo>
                  <a:lnTo>
                    <a:pt x="26" y="117"/>
                  </a:lnTo>
                  <a:close/>
                  <a:moveTo>
                    <a:pt x="7" y="77"/>
                  </a:moveTo>
                  <a:lnTo>
                    <a:pt x="5" y="75"/>
                  </a:lnTo>
                  <a:lnTo>
                    <a:pt x="5" y="77"/>
                  </a:lnTo>
                  <a:lnTo>
                    <a:pt x="3" y="77"/>
                  </a:lnTo>
                  <a:lnTo>
                    <a:pt x="0" y="77"/>
                  </a:lnTo>
                  <a:lnTo>
                    <a:pt x="3" y="77"/>
                  </a:lnTo>
                  <a:lnTo>
                    <a:pt x="3" y="75"/>
                  </a:lnTo>
                  <a:lnTo>
                    <a:pt x="0" y="73"/>
                  </a:lnTo>
                  <a:lnTo>
                    <a:pt x="0" y="70"/>
                  </a:lnTo>
                  <a:lnTo>
                    <a:pt x="3" y="70"/>
                  </a:lnTo>
                  <a:lnTo>
                    <a:pt x="3" y="73"/>
                  </a:lnTo>
                  <a:lnTo>
                    <a:pt x="5" y="73"/>
                  </a:lnTo>
                  <a:lnTo>
                    <a:pt x="7" y="75"/>
                  </a:lnTo>
                  <a:lnTo>
                    <a:pt x="7" y="77"/>
                  </a:lnTo>
                  <a:close/>
                  <a:moveTo>
                    <a:pt x="17" y="80"/>
                  </a:moveTo>
                  <a:lnTo>
                    <a:pt x="17" y="77"/>
                  </a:lnTo>
                  <a:lnTo>
                    <a:pt x="17" y="80"/>
                  </a:lnTo>
                  <a:close/>
                  <a:moveTo>
                    <a:pt x="12" y="54"/>
                  </a:moveTo>
                  <a:lnTo>
                    <a:pt x="12" y="56"/>
                  </a:lnTo>
                  <a:lnTo>
                    <a:pt x="14" y="56"/>
                  </a:lnTo>
                  <a:lnTo>
                    <a:pt x="14" y="59"/>
                  </a:lnTo>
                  <a:lnTo>
                    <a:pt x="12" y="59"/>
                  </a:lnTo>
                  <a:lnTo>
                    <a:pt x="14" y="59"/>
                  </a:lnTo>
                  <a:lnTo>
                    <a:pt x="14" y="61"/>
                  </a:lnTo>
                  <a:lnTo>
                    <a:pt x="12" y="61"/>
                  </a:lnTo>
                  <a:lnTo>
                    <a:pt x="12" y="63"/>
                  </a:lnTo>
                  <a:lnTo>
                    <a:pt x="14" y="66"/>
                  </a:lnTo>
                  <a:lnTo>
                    <a:pt x="12" y="66"/>
                  </a:lnTo>
                  <a:lnTo>
                    <a:pt x="12" y="63"/>
                  </a:lnTo>
                  <a:lnTo>
                    <a:pt x="12" y="61"/>
                  </a:lnTo>
                  <a:lnTo>
                    <a:pt x="10" y="61"/>
                  </a:lnTo>
                  <a:lnTo>
                    <a:pt x="7" y="61"/>
                  </a:lnTo>
                  <a:lnTo>
                    <a:pt x="10" y="61"/>
                  </a:lnTo>
                  <a:lnTo>
                    <a:pt x="10" y="59"/>
                  </a:lnTo>
                  <a:lnTo>
                    <a:pt x="7" y="59"/>
                  </a:lnTo>
                  <a:lnTo>
                    <a:pt x="5" y="59"/>
                  </a:lnTo>
                  <a:lnTo>
                    <a:pt x="5" y="56"/>
                  </a:lnTo>
                  <a:lnTo>
                    <a:pt x="7" y="56"/>
                  </a:lnTo>
                  <a:lnTo>
                    <a:pt x="5" y="56"/>
                  </a:lnTo>
                  <a:lnTo>
                    <a:pt x="5" y="54"/>
                  </a:lnTo>
                  <a:lnTo>
                    <a:pt x="7" y="54"/>
                  </a:lnTo>
                  <a:lnTo>
                    <a:pt x="7" y="52"/>
                  </a:lnTo>
                  <a:lnTo>
                    <a:pt x="5" y="52"/>
                  </a:lnTo>
                  <a:lnTo>
                    <a:pt x="5" y="49"/>
                  </a:lnTo>
                  <a:lnTo>
                    <a:pt x="7" y="49"/>
                  </a:lnTo>
                  <a:lnTo>
                    <a:pt x="5" y="49"/>
                  </a:lnTo>
                  <a:lnTo>
                    <a:pt x="5" y="47"/>
                  </a:lnTo>
                  <a:lnTo>
                    <a:pt x="7" y="47"/>
                  </a:lnTo>
                  <a:lnTo>
                    <a:pt x="10" y="49"/>
                  </a:lnTo>
                  <a:lnTo>
                    <a:pt x="12" y="49"/>
                  </a:lnTo>
                  <a:lnTo>
                    <a:pt x="12" y="52"/>
                  </a:lnTo>
                  <a:lnTo>
                    <a:pt x="12" y="54"/>
                  </a:lnTo>
                  <a:close/>
                </a:path>
              </a:pathLst>
            </a:custGeom>
            <a:solidFill>
              <a:srgbClr val="C8C8C8"/>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5" name="Footnotes"/>
          <p:cNvSpPr>
            <a:spLocks noChangeArrowheads="1"/>
          </p:cNvSpPr>
          <p:nvPr/>
        </p:nvSpPr>
        <p:spPr bwMode="auto">
          <a:xfrm>
            <a:off x="629998" y="6407083"/>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cs typeface="Arial" pitchFamily="34" charset="0"/>
              </a:rPr>
              <a:t>Source: Natural Earth States and Provinces boundaries without large lakes</a:t>
            </a:r>
          </a:p>
        </p:txBody>
      </p:sp>
      <p:sp>
        <p:nvSpPr>
          <p:cNvPr id="117" name="TextBox 116"/>
          <p:cNvSpPr txBox="1"/>
          <p:nvPr/>
        </p:nvSpPr>
        <p:spPr>
          <a:xfrm>
            <a:off x="630000" y="1706880"/>
            <a:ext cx="3992880" cy="31135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Domestic flight routes</a:t>
            </a:r>
          </a:p>
          <a:p>
            <a:endParaRPr lang="en-US" dirty="0">
              <a:solidFill>
                <a:srgbClr val="575757"/>
              </a:solidFill>
            </a:endParaRPr>
          </a:p>
          <a:p>
            <a:pPr marL="324000" lvl="1" indent="-216000">
              <a:buClr>
                <a:schemeClr val="tx2">
                  <a:lumMod val="100000"/>
                </a:schemeClr>
              </a:buClr>
              <a:buSzPct val="100000"/>
              <a:buFont typeface="Trebuchet MS" panose="020B0603020202020204" pitchFamily="34" charset="0"/>
              <a:buChar char="•"/>
            </a:pPr>
            <a:r>
              <a:rPr lang="en-US" dirty="0">
                <a:solidFill>
                  <a:srgbClr val="527083"/>
                </a:solidFill>
                <a:latin typeface="Trebuchet MS" panose="020B0603020202020204" pitchFamily="34" charset="0"/>
              </a:rPr>
              <a:t>American</a:t>
            </a:r>
            <a:r>
              <a:rPr lang="en-US" dirty="0">
                <a:solidFill>
                  <a:schemeClr val="tx2"/>
                </a:solidFill>
                <a:latin typeface="Trebuchet MS" panose="020B0603020202020204" pitchFamily="34" charset="0"/>
              </a:rPr>
              <a:t>:</a:t>
            </a:r>
            <a:r>
              <a:rPr lang="en-US" dirty="0">
                <a:solidFill>
                  <a:schemeClr val="tx1">
                    <a:lumMod val="100000"/>
                  </a:schemeClr>
                </a:solidFill>
                <a:latin typeface="Trebuchet MS" panose="020B0603020202020204" pitchFamily="34" charset="0"/>
              </a:rPr>
              <a:t> </a:t>
            </a:r>
            <a:r>
              <a:rPr lang="en-US" dirty="0">
                <a:solidFill>
                  <a:schemeClr val="tx2"/>
                </a:solidFill>
                <a:latin typeface="Trebuchet MS" panose="020B0603020202020204" pitchFamily="34" charset="0"/>
              </a:rPr>
              <a:t>1,414</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rgbClr val="FF0000"/>
                </a:solidFill>
                <a:latin typeface="Trebuchet MS" panose="020B0603020202020204" pitchFamily="34" charset="0"/>
              </a:rPr>
              <a:t>Delta</a:t>
            </a:r>
            <a:r>
              <a:rPr lang="en-US" dirty="0">
                <a:solidFill>
                  <a:schemeClr val="tx2"/>
                </a:solidFill>
                <a:latin typeface="Trebuchet MS" panose="020B0603020202020204" pitchFamily="34" charset="0"/>
              </a:rPr>
              <a:t>:</a:t>
            </a:r>
            <a:r>
              <a:rPr lang="en-US" dirty="0">
                <a:solidFill>
                  <a:schemeClr val="tx1">
                    <a:lumMod val="100000"/>
                  </a:schemeClr>
                </a:solidFill>
                <a:latin typeface="Trebuchet MS" panose="020B0603020202020204" pitchFamily="34" charset="0"/>
              </a:rPr>
              <a:t> </a:t>
            </a:r>
            <a:r>
              <a:rPr lang="en-US" dirty="0">
                <a:solidFill>
                  <a:schemeClr val="tx2"/>
                </a:solidFill>
                <a:latin typeface="Trebuchet MS" panose="020B0603020202020204" pitchFamily="34" charset="0"/>
              </a:rPr>
              <a:t>1,327</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rgbClr val="0432FF"/>
                </a:solidFill>
                <a:latin typeface="Trebuchet MS" panose="020B0603020202020204" pitchFamily="34" charset="0"/>
              </a:rPr>
              <a:t>Southwest</a:t>
            </a:r>
            <a:r>
              <a:rPr lang="en-US" dirty="0">
                <a:solidFill>
                  <a:schemeClr val="tx2"/>
                </a:solidFill>
                <a:latin typeface="Trebuchet MS" panose="020B0603020202020204" pitchFamily="34" charset="0"/>
              </a:rPr>
              <a:t>:</a:t>
            </a:r>
            <a:r>
              <a:rPr lang="en-US" dirty="0">
                <a:solidFill>
                  <a:schemeClr val="tx1">
                    <a:lumMod val="100000"/>
                  </a:schemeClr>
                </a:solidFill>
                <a:latin typeface="Trebuchet MS" panose="020B0603020202020204" pitchFamily="34" charset="0"/>
              </a:rPr>
              <a:t> </a:t>
            </a:r>
            <a:r>
              <a:rPr lang="en-US" dirty="0">
                <a:solidFill>
                  <a:schemeClr val="tx2"/>
                </a:solidFill>
                <a:latin typeface="Trebuchet MS" panose="020B0603020202020204" pitchFamily="34" charset="0"/>
              </a:rPr>
              <a:t>1,126</a:t>
            </a:r>
          </a:p>
        </p:txBody>
      </p:sp>
      <p:pic>
        <p:nvPicPr>
          <p:cNvPr id="62" name="Picture 61">
            <a:extLst>
              <a:ext uri="{FF2B5EF4-FFF2-40B4-BE49-F238E27FC236}">
                <a16:creationId xmlns:a16="http://schemas.microsoft.com/office/drawing/2014/main" id="{5BF79D3C-0276-7F4F-AEFF-06E3DEEF69D0}"/>
              </a:ext>
            </a:extLst>
          </p:cNvPr>
          <p:cNvPicPr>
            <a:picLocks noChangeAspect="1"/>
          </p:cNvPicPr>
          <p:nvPr/>
        </p:nvPicPr>
        <p:blipFill>
          <a:blip r:embed="rId8"/>
          <a:stretch>
            <a:fillRect/>
          </a:stretch>
        </p:blipFill>
        <p:spPr>
          <a:xfrm>
            <a:off x="8236844" y="3909120"/>
            <a:ext cx="2949788" cy="432129"/>
          </a:xfrm>
          <a:prstGeom prst="rect">
            <a:avLst/>
          </a:prstGeom>
        </p:spPr>
      </p:pic>
      <p:pic>
        <p:nvPicPr>
          <p:cNvPr id="10" name="Picture 9">
            <a:extLst>
              <a:ext uri="{FF2B5EF4-FFF2-40B4-BE49-F238E27FC236}">
                <a16:creationId xmlns:a16="http://schemas.microsoft.com/office/drawing/2014/main" id="{F1933EE9-8DA7-E842-BD45-09FAB6A45120}"/>
              </a:ext>
            </a:extLst>
          </p:cNvPr>
          <p:cNvPicPr>
            <a:picLocks noChangeAspect="1"/>
          </p:cNvPicPr>
          <p:nvPr/>
        </p:nvPicPr>
        <p:blipFill>
          <a:blip r:embed="rId9"/>
          <a:stretch>
            <a:fillRect/>
          </a:stretch>
        </p:blipFill>
        <p:spPr>
          <a:xfrm>
            <a:off x="6215443" y="2634690"/>
            <a:ext cx="3702929" cy="570251"/>
          </a:xfrm>
          <a:prstGeom prst="rect">
            <a:avLst/>
          </a:prstGeom>
        </p:spPr>
      </p:pic>
      <p:pic>
        <p:nvPicPr>
          <p:cNvPr id="12" name="Picture 11">
            <a:extLst>
              <a:ext uri="{FF2B5EF4-FFF2-40B4-BE49-F238E27FC236}">
                <a16:creationId xmlns:a16="http://schemas.microsoft.com/office/drawing/2014/main" id="{818ACBAE-F780-6341-8724-09CAA411BF91}"/>
              </a:ext>
            </a:extLst>
          </p:cNvPr>
          <p:cNvPicPr>
            <a:picLocks noChangeAspect="1"/>
          </p:cNvPicPr>
          <p:nvPr/>
        </p:nvPicPr>
        <p:blipFill rotWithShape="1">
          <a:blip r:embed="rId10"/>
          <a:srcRect l="-4069" t="34660" r="-3140" b="31766"/>
          <a:stretch/>
        </p:blipFill>
        <p:spPr>
          <a:xfrm>
            <a:off x="3420013" y="1004426"/>
            <a:ext cx="5446222" cy="1705557"/>
          </a:xfrm>
          <a:prstGeom prst="rect">
            <a:avLst/>
          </a:prstGeom>
        </p:spPr>
      </p:pic>
    </p:spTree>
    <p:extLst>
      <p:ext uri="{BB962C8B-B14F-4D97-AF65-F5344CB8AC3E}">
        <p14:creationId xmlns:p14="http://schemas.microsoft.com/office/powerpoint/2010/main" val="940691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2C5770-4D82-6041-9E3F-C850F4687791}"/>
              </a:ext>
            </a:extLst>
          </p:cNvPr>
          <p:cNvPicPr>
            <a:picLocks noChangeAspect="1"/>
          </p:cNvPicPr>
          <p:nvPr/>
        </p:nvPicPr>
        <p:blipFill rotWithShape="1">
          <a:blip r:embed="rId6"/>
          <a:srcRect t="9314"/>
          <a:stretch/>
        </p:blipFill>
        <p:spPr>
          <a:xfrm>
            <a:off x="289560" y="1351721"/>
            <a:ext cx="11612880" cy="43697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37" name="think-cell Slide" r:id="rId7" imgW="473" imgH="476" progId="TCLayout.ActiveDocument.1">
                  <p:embed/>
                </p:oleObj>
              </mc:Choice>
              <mc:Fallback>
                <p:oleObj name="think-cell Slide" r:id="rId7" imgW="473" imgH="476"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chemeClr val="accent6">
                    <a:lumMod val="75000"/>
                  </a:schemeClr>
                </a:solidFill>
              </a:rPr>
              <a:t>Flight paths</a:t>
            </a:r>
          </a:p>
        </p:txBody>
      </p:sp>
      <p:pic>
        <p:nvPicPr>
          <p:cNvPr id="7" name="Picture 6">
            <a:extLst>
              <a:ext uri="{FF2B5EF4-FFF2-40B4-BE49-F238E27FC236}">
                <a16:creationId xmlns:a16="http://schemas.microsoft.com/office/drawing/2014/main" id="{6F61814A-CA70-B340-A7D9-C4388998FD95}"/>
              </a:ext>
            </a:extLst>
          </p:cNvPr>
          <p:cNvPicPr>
            <a:picLocks noChangeAspect="1"/>
          </p:cNvPicPr>
          <p:nvPr/>
        </p:nvPicPr>
        <p:blipFill>
          <a:blip r:embed="rId9"/>
          <a:stretch>
            <a:fillRect/>
          </a:stretch>
        </p:blipFill>
        <p:spPr>
          <a:xfrm>
            <a:off x="1107652" y="955199"/>
            <a:ext cx="5145870" cy="5902802"/>
          </a:xfrm>
          <a:prstGeom prst="rect">
            <a:avLst/>
          </a:prstGeom>
        </p:spPr>
      </p:pic>
      <p:pic>
        <p:nvPicPr>
          <p:cNvPr id="9" name="Picture 8">
            <a:extLst>
              <a:ext uri="{FF2B5EF4-FFF2-40B4-BE49-F238E27FC236}">
                <a16:creationId xmlns:a16="http://schemas.microsoft.com/office/drawing/2014/main" id="{C719861F-A61E-4F4F-B52A-CC0187471AD3}"/>
              </a:ext>
            </a:extLst>
          </p:cNvPr>
          <p:cNvPicPr>
            <a:picLocks noChangeAspect="1"/>
          </p:cNvPicPr>
          <p:nvPr/>
        </p:nvPicPr>
        <p:blipFill>
          <a:blip r:embed="rId10"/>
          <a:stretch>
            <a:fillRect/>
          </a:stretch>
        </p:blipFill>
        <p:spPr>
          <a:xfrm>
            <a:off x="5899368" y="955199"/>
            <a:ext cx="5184980" cy="5902801"/>
          </a:xfrm>
          <a:prstGeom prst="rect">
            <a:avLst/>
          </a:prstGeom>
        </p:spPr>
      </p:pic>
    </p:spTree>
    <p:extLst>
      <p:ext uri="{BB962C8B-B14F-4D97-AF65-F5344CB8AC3E}">
        <p14:creationId xmlns:p14="http://schemas.microsoft.com/office/powerpoint/2010/main" val="1815395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9" presetClass="exit" presetSubtype="0" fill="hold" nodeType="withEffect">
                                  <p:stCondLst>
                                    <p:cond delay="0"/>
                                  </p:stCondLst>
                                  <p:childTnLst>
                                    <p:animEffect transition="out" filter="dissolv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par>
                                <p:cTn id="11" presetID="9"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100000">
              <a:srgbClr val="527083"/>
            </a:gs>
            <a:gs pos="0">
              <a:schemeClr val="accent2"/>
            </a:gs>
          </a:gsLst>
          <a:lin ang="8100000" scaled="1"/>
        </a:gradFill>
        <a:effectLst/>
      </p:bgPr>
    </p:bg>
    <p:spTree>
      <p:nvGrpSpPr>
        <p:cNvPr id="1" name=""/>
        <p:cNvGrpSpPr/>
        <p:nvPr/>
      </p:nvGrpSpPr>
      <p:grpSpPr>
        <a:xfrm>
          <a:off x="0" y="0"/>
          <a:ext cx="0" cy="0"/>
          <a:chOff x="0" y="0"/>
          <a:chExt cx="0" cy="0"/>
        </a:xfrm>
      </p:grpSpPr>
      <p:grpSp>
        <p:nvGrpSpPr>
          <p:cNvPr id="15" name="Group 14"/>
          <p:cNvGrpSpPr>
            <a:grpSpLocks noChangeAspect="1"/>
          </p:cNvGrpSpPr>
          <p:nvPr/>
        </p:nvGrpSpPr>
        <p:grpSpPr>
          <a:xfrm>
            <a:off x="9918700" y="4618355"/>
            <a:ext cx="1644650" cy="1644650"/>
            <a:chOff x="5273675" y="2606675"/>
            <a:chExt cx="1644650" cy="1644650"/>
          </a:xfrm>
        </p:grpSpPr>
        <p:sp>
          <p:nvSpPr>
            <p:cNvPr id="16"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443086" y="2924175"/>
              <a:ext cx="1305829" cy="1009650"/>
              <a:chOff x="5445551" y="2967038"/>
              <a:chExt cx="1305829" cy="1009650"/>
            </a:xfrm>
          </p:grpSpPr>
          <p:sp>
            <p:nvSpPr>
              <p:cNvPr id="18" name="Freeform 17"/>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9" name="Freeform 7"/>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6" name="Picture 5">
            <a:extLst>
              <a:ext uri="{FF2B5EF4-FFF2-40B4-BE49-F238E27FC236}">
                <a16:creationId xmlns:a16="http://schemas.microsoft.com/office/drawing/2014/main" id="{120A9019-4B98-124A-A914-0B9422578751}"/>
              </a:ext>
            </a:extLst>
          </p:cNvPr>
          <p:cNvPicPr>
            <a:picLocks noChangeAspect="1"/>
          </p:cNvPicPr>
          <p:nvPr/>
        </p:nvPicPr>
        <p:blipFill>
          <a:blip r:embed="rId5"/>
          <a:stretch>
            <a:fillRect/>
          </a:stretch>
        </p:blipFill>
        <p:spPr>
          <a:xfrm>
            <a:off x="4067908" y="0"/>
            <a:ext cx="10287000" cy="6858000"/>
          </a:xfrm>
          <a:prstGeom prst="rect">
            <a:avLst/>
          </a:prstGeom>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7018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53"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pPr algn="ctr"/>
            <a:r>
              <a:rPr lang="en-US" sz="3600" dirty="0"/>
              <a:t>Conclusion</a:t>
            </a:r>
          </a:p>
        </p:txBody>
      </p:sp>
      <p:sp>
        <p:nvSpPr>
          <p:cNvPr id="3" name="Rectangle 2">
            <a:extLst>
              <a:ext uri="{FF2B5EF4-FFF2-40B4-BE49-F238E27FC236}">
                <a16:creationId xmlns:a16="http://schemas.microsoft.com/office/drawing/2014/main" id="{FD4C875E-9A1E-3941-BBE9-C7583097622F}"/>
              </a:ext>
            </a:extLst>
          </p:cNvPr>
          <p:cNvSpPr/>
          <p:nvPr/>
        </p:nvSpPr>
        <p:spPr>
          <a:xfrm>
            <a:off x="4230346" y="6595110"/>
            <a:ext cx="5914489" cy="215444"/>
          </a:xfrm>
          <a:prstGeom prst="rect">
            <a:avLst/>
          </a:prstGeom>
        </p:spPr>
        <p:txBody>
          <a:bodyPr wrap="square">
            <a:spAutoFit/>
          </a:bodyPr>
          <a:lstStyle/>
          <a:p>
            <a:r>
              <a:rPr lang="en-US" sz="800" dirty="0"/>
              <a:t>Travel photo created by </a:t>
            </a:r>
            <a:r>
              <a:rPr lang="en-US" sz="800" dirty="0" err="1"/>
              <a:t>creativeart</a:t>
            </a:r>
            <a:r>
              <a:rPr lang="en-US" sz="800" dirty="0"/>
              <a:t> - </a:t>
            </a:r>
            <a:r>
              <a:rPr lang="en-US" sz="800" dirty="0" err="1"/>
              <a:t>www.freepik.com</a:t>
            </a:r>
            <a:endParaRPr lang="en-US" sz="800" dirty="0"/>
          </a:p>
        </p:txBody>
      </p:sp>
    </p:spTree>
    <p:extLst>
      <p:ext uri="{BB962C8B-B14F-4D97-AF65-F5344CB8AC3E}">
        <p14:creationId xmlns:p14="http://schemas.microsoft.com/office/powerpoint/2010/main" val="2320348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2"/>
            </a:gs>
            <a:gs pos="100000">
              <a:srgbClr val="527083"/>
            </a:gs>
          </a:gsLst>
          <a:lin ang="8100000" scaled="0"/>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6079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91"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12756" y="3039897"/>
            <a:ext cx="5689892" cy="3975304"/>
          </a:xfrm>
          <a:prstGeom prst="rect">
            <a:avLst/>
          </a:prstGeom>
          <a:effectLst>
            <a:softEdge rad="622300"/>
          </a:effectLst>
        </p:spPr>
      </p:pic>
      <p:pic>
        <p:nvPicPr>
          <p:cNvPr id="100354" name="Picture 2" descr="Image result for mongoose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59400" y="2943962"/>
            <a:ext cx="7620000" cy="4286250"/>
          </a:xfrm>
          <a:prstGeom prst="rect">
            <a:avLst/>
          </a:prstGeom>
          <a:noFill/>
          <a:effectLst>
            <a:softEdge rad="1092200"/>
          </a:effectLst>
          <a:extLst>
            <a:ext uri="{909E8E84-426E-40DD-AFC4-6F175D3DCCD1}">
              <a14:hiddenFill xmlns:a14="http://schemas.microsoft.com/office/drawing/2010/main">
                <a:solidFill>
                  <a:srgbClr val="FFFFFF"/>
                </a:solidFill>
              </a14:hiddenFill>
            </a:ext>
          </a:extLst>
        </p:spPr>
      </p:pic>
      <p:pic>
        <p:nvPicPr>
          <p:cNvPr id="100356" name="Picture 4" descr="Cute mongoos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131782"/>
            <a:ext cx="2614930" cy="3660902"/>
          </a:xfrm>
          <a:prstGeom prst="rect">
            <a:avLst/>
          </a:prstGeom>
          <a:noFill/>
          <a:effectLst>
            <a:softEdge rad="203200"/>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5800" y="1905000"/>
            <a:ext cx="5562600" cy="899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bg1"/>
                </a:solidFill>
              </a:rPr>
              <a:t>Our faces on Python and SQL</a:t>
            </a:r>
          </a:p>
        </p:txBody>
      </p:sp>
      <p:sp>
        <p:nvSpPr>
          <p:cNvPr id="6" name="TextBox 5"/>
          <p:cNvSpPr txBox="1"/>
          <p:nvPr/>
        </p:nvSpPr>
        <p:spPr>
          <a:xfrm>
            <a:off x="7364181" y="2118360"/>
            <a:ext cx="3886200" cy="4876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bg1"/>
                </a:solidFill>
              </a:rPr>
              <a:t>Our faces on </a:t>
            </a:r>
            <a:r>
              <a:rPr lang="en-US" sz="2400" dirty="0" err="1">
                <a:solidFill>
                  <a:schemeClr val="bg1"/>
                </a:solidFill>
              </a:rPr>
              <a:t>Javascript</a:t>
            </a:r>
            <a:endParaRPr lang="en-US" sz="2400" dirty="0">
              <a:solidFill>
                <a:schemeClr val="bg1"/>
              </a:solidFill>
            </a:endParaRPr>
          </a:p>
        </p:txBody>
      </p:sp>
      <p:sp>
        <p:nvSpPr>
          <p:cNvPr id="9" name="Title 2"/>
          <p:cNvSpPr>
            <a:spLocks noGrp="1"/>
          </p:cNvSpPr>
          <p:nvPr>
            <p:ph type="title" idx="4294967295"/>
          </p:nvPr>
        </p:nvSpPr>
        <p:spPr>
          <a:xfrm>
            <a:off x="629444" y="960819"/>
            <a:ext cx="10933112" cy="498475"/>
          </a:xfrm>
        </p:spPr>
        <p:txBody>
          <a:bodyPr anchor="ctr"/>
          <a:lstStyle/>
          <a:p>
            <a:pPr algn="ctr"/>
            <a:r>
              <a:rPr lang="en-US" sz="3600" dirty="0">
                <a:solidFill>
                  <a:schemeClr val="bg1"/>
                </a:solidFill>
              </a:rPr>
              <a:t>Questions</a:t>
            </a:r>
            <a:r>
              <a:rPr lang="en-US" sz="3200" dirty="0">
                <a:solidFill>
                  <a:schemeClr val="bg1"/>
                </a:solidFill>
              </a:rPr>
              <a:t>?</a:t>
            </a:r>
          </a:p>
        </p:txBody>
      </p:sp>
      <p:sp>
        <p:nvSpPr>
          <p:cNvPr id="2" name="TextBox 1">
            <a:extLst>
              <a:ext uri="{FF2B5EF4-FFF2-40B4-BE49-F238E27FC236}">
                <a16:creationId xmlns:a16="http://schemas.microsoft.com/office/drawing/2014/main" id="{8CA93709-EDEE-424A-91BD-A2123D4205ED}"/>
              </a:ext>
            </a:extLst>
          </p:cNvPr>
          <p:cNvSpPr txBox="1"/>
          <p:nvPr/>
        </p:nvSpPr>
        <p:spPr>
          <a:xfrm>
            <a:off x="7233138" y="119575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530165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100000">
              <a:srgbClr val="527083"/>
            </a:gs>
            <a:gs pos="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80015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62"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pPr algn="ctr"/>
            <a:r>
              <a:rPr lang="en-US" sz="3600" dirty="0"/>
              <a:t>Intro</a:t>
            </a:r>
          </a:p>
        </p:txBody>
      </p:sp>
      <p:sp>
        <p:nvSpPr>
          <p:cNvPr id="25" name="TextBox 24"/>
          <p:cNvSpPr txBox="1"/>
          <p:nvPr/>
        </p:nvSpPr>
        <p:spPr>
          <a:xfrm>
            <a:off x="4235109" y="698015"/>
            <a:ext cx="6949962" cy="51469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endParaRPr lang="en-US" sz="2400" dirty="0">
              <a:solidFill>
                <a:schemeClr val="tx2"/>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Consulting with Delta to increase market share</a:t>
            </a:r>
          </a:p>
          <a:p>
            <a:pPr marL="324000" lvl="1" indent="-216000">
              <a:buClr>
                <a:schemeClr val="tx2">
                  <a:lumMod val="100000"/>
                </a:schemeClr>
              </a:buClr>
              <a:buSzPct val="100000"/>
              <a:buFont typeface="Trebuchet MS" panose="020B0603020202020204" pitchFamily="34" charset="0"/>
              <a:buChar char="•"/>
            </a:pPr>
            <a:endParaRPr lang="en-US" sz="2400" dirty="0">
              <a:solidFill>
                <a:schemeClr val="tx2"/>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Working with top three people movers</a:t>
            </a:r>
          </a:p>
          <a:p>
            <a:pPr marL="781200" lvl="2" indent="-216000">
              <a:buClr>
                <a:schemeClr val="tx2">
                  <a:lumMod val="100000"/>
                </a:schemeClr>
              </a:buClr>
              <a:buSzPct val="100000"/>
              <a:buFont typeface="Trebuchet MS" panose="020B0603020202020204" pitchFamily="34" charset="0"/>
              <a:buChar char="•"/>
            </a:pPr>
            <a:r>
              <a:rPr lang="en-US" sz="1200" dirty="0">
                <a:hlinkClick r:id="rId7"/>
              </a:rPr>
              <a:t>https://www.worldatlas.com/articles/the-world-s-largest-airlines-by-passengers-carried.html</a:t>
            </a:r>
            <a:endParaRPr lang="en-US" sz="1200" dirty="0">
              <a:solidFill>
                <a:schemeClr val="tx2"/>
              </a:solidFill>
              <a:latin typeface="Trebuchet MS" panose="020B0603020202020204" pitchFamily="34" charset="0"/>
            </a:endParaRPr>
          </a:p>
        </p:txBody>
      </p:sp>
      <p:grpSp>
        <p:nvGrpSpPr>
          <p:cNvPr id="26" name="Group 25"/>
          <p:cNvGrpSpPr>
            <a:grpSpLocks noChangeAspect="1"/>
          </p:cNvGrpSpPr>
          <p:nvPr/>
        </p:nvGrpSpPr>
        <p:grpSpPr>
          <a:xfrm>
            <a:off x="10045770" y="4809900"/>
            <a:ext cx="1637157" cy="1635578"/>
            <a:chOff x="6464300" y="2606675"/>
            <a:chExt cx="1646238" cy="1644650"/>
          </a:xfrm>
        </p:grpSpPr>
        <p:sp>
          <p:nvSpPr>
            <p:cNvPr id="27"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p:cNvGrpSpPr/>
            <p:nvPr/>
          </p:nvGrpSpPr>
          <p:grpSpPr>
            <a:xfrm>
              <a:off x="6634162" y="2962275"/>
              <a:ext cx="1408368" cy="933450"/>
              <a:chOff x="6634162" y="2962275"/>
              <a:chExt cx="1408368" cy="933450"/>
            </a:xfrm>
          </p:grpSpPr>
          <p:sp>
            <p:nvSpPr>
              <p:cNvPr id="29" name="Freeform 28"/>
              <p:cNvSpPr>
                <a:spLocks/>
              </p:cNvSpPr>
              <p:nvPr/>
            </p:nvSpPr>
            <p:spPr bwMode="auto">
              <a:xfrm>
                <a:off x="6634162" y="2962275"/>
                <a:ext cx="1408368" cy="933450"/>
              </a:xfrm>
              <a:custGeom>
                <a:avLst/>
                <a:gdLst>
                  <a:gd name="connsiteX0" fmla="*/ 1214569 w 1408368"/>
                  <a:gd name="connsiteY0" fmla="*/ 141288 h 933450"/>
                  <a:gd name="connsiteX1" fmla="*/ 1215283 w 1408368"/>
                  <a:gd name="connsiteY1" fmla="*/ 142002 h 933450"/>
                  <a:gd name="connsiteX2" fmla="*/ 1234561 w 1408368"/>
                  <a:gd name="connsiteY2" fmla="*/ 166261 h 933450"/>
                  <a:gd name="connsiteX3" fmla="*/ 1203146 w 1408368"/>
                  <a:gd name="connsiteY3" fmla="*/ 190520 h 933450"/>
                  <a:gd name="connsiteX4" fmla="*/ 1171731 w 1408368"/>
                  <a:gd name="connsiteY4" fmla="*/ 214780 h 933450"/>
                  <a:gd name="connsiteX5" fmla="*/ 1140316 w 1408368"/>
                  <a:gd name="connsiteY5" fmla="*/ 239039 h 933450"/>
                  <a:gd name="connsiteX6" fmla="*/ 829736 w 1408368"/>
                  <a:gd name="connsiteY6" fmla="*/ 480920 h 933450"/>
                  <a:gd name="connsiteX7" fmla="*/ 822596 w 1408368"/>
                  <a:gd name="connsiteY7" fmla="*/ 488768 h 933450"/>
                  <a:gd name="connsiteX8" fmla="*/ 821883 w 1408368"/>
                  <a:gd name="connsiteY8" fmla="*/ 488768 h 933450"/>
                  <a:gd name="connsiteX9" fmla="*/ 824738 w 1408368"/>
                  <a:gd name="connsiteY9" fmla="*/ 541568 h 933450"/>
                  <a:gd name="connsiteX10" fmla="*/ 859009 w 1408368"/>
                  <a:gd name="connsiteY10" fmla="*/ 558692 h 933450"/>
                  <a:gd name="connsiteX11" fmla="*/ 874717 w 1408368"/>
                  <a:gd name="connsiteY11" fmla="*/ 555838 h 933450"/>
                  <a:gd name="connsiteX12" fmla="*/ 883998 w 1408368"/>
                  <a:gd name="connsiteY12" fmla="*/ 550844 h 933450"/>
                  <a:gd name="connsiteX13" fmla="*/ 1140316 w 1408368"/>
                  <a:gd name="connsiteY13" fmla="*/ 351061 h 933450"/>
                  <a:gd name="connsiteX14" fmla="*/ 1171731 w 1408368"/>
                  <a:gd name="connsiteY14" fmla="*/ 326801 h 933450"/>
                  <a:gd name="connsiteX15" fmla="*/ 1203146 w 1408368"/>
                  <a:gd name="connsiteY15" fmla="*/ 302542 h 933450"/>
                  <a:gd name="connsiteX16" fmla="*/ 1288823 w 1408368"/>
                  <a:gd name="connsiteY16" fmla="*/ 236185 h 933450"/>
                  <a:gd name="connsiteX17" fmla="*/ 1306672 w 1408368"/>
                  <a:gd name="connsiteY17" fmla="*/ 259018 h 933450"/>
                  <a:gd name="connsiteX18" fmla="*/ 1308100 w 1408368"/>
                  <a:gd name="connsiteY18" fmla="*/ 261158 h 933450"/>
                  <a:gd name="connsiteX19" fmla="*/ 1203146 w 1408368"/>
                  <a:gd name="connsiteY19" fmla="*/ 342498 h 933450"/>
                  <a:gd name="connsiteX20" fmla="*/ 1171731 w 1408368"/>
                  <a:gd name="connsiteY20" fmla="*/ 366758 h 933450"/>
                  <a:gd name="connsiteX21" fmla="*/ 1140316 w 1408368"/>
                  <a:gd name="connsiteY21" fmla="*/ 391017 h 933450"/>
                  <a:gd name="connsiteX22" fmla="*/ 903276 w 1408368"/>
                  <a:gd name="connsiteY22" fmla="*/ 575817 h 933450"/>
                  <a:gd name="connsiteX23" fmla="*/ 885426 w 1408368"/>
                  <a:gd name="connsiteY23" fmla="*/ 585806 h 933450"/>
                  <a:gd name="connsiteX24" fmla="*/ 859723 w 1408368"/>
                  <a:gd name="connsiteY24" fmla="*/ 590087 h 933450"/>
                  <a:gd name="connsiteX25" fmla="*/ 822596 w 1408368"/>
                  <a:gd name="connsiteY25" fmla="*/ 580098 h 933450"/>
                  <a:gd name="connsiteX26" fmla="*/ 796179 w 1408368"/>
                  <a:gd name="connsiteY26" fmla="*/ 600076 h 933450"/>
                  <a:gd name="connsiteX27" fmla="*/ 739775 w 1408368"/>
                  <a:gd name="connsiteY27" fmla="*/ 570822 h 933450"/>
                  <a:gd name="connsiteX28" fmla="*/ 786184 w 1408368"/>
                  <a:gd name="connsiteY28" fmla="*/ 534433 h 933450"/>
                  <a:gd name="connsiteX29" fmla="*/ 795465 w 1408368"/>
                  <a:gd name="connsiteY29" fmla="*/ 471644 h 933450"/>
                  <a:gd name="connsiteX30" fmla="*/ 796179 w 1408368"/>
                  <a:gd name="connsiteY30" fmla="*/ 471644 h 933450"/>
                  <a:gd name="connsiteX31" fmla="*/ 810459 w 1408368"/>
                  <a:gd name="connsiteY31" fmla="*/ 455947 h 933450"/>
                  <a:gd name="connsiteX32" fmla="*/ 1140316 w 1408368"/>
                  <a:gd name="connsiteY32" fmla="*/ 199083 h 933450"/>
                  <a:gd name="connsiteX33" fmla="*/ 1171731 w 1408368"/>
                  <a:gd name="connsiteY33" fmla="*/ 174823 h 933450"/>
                  <a:gd name="connsiteX34" fmla="*/ 1203146 w 1408368"/>
                  <a:gd name="connsiteY34" fmla="*/ 150564 h 933450"/>
                  <a:gd name="connsiteX35" fmla="*/ 1214569 w 1408368"/>
                  <a:gd name="connsiteY35" fmla="*/ 141288 h 933450"/>
                  <a:gd name="connsiteX36" fmla="*/ 1320238 w 1408368"/>
                  <a:gd name="connsiteY36" fmla="*/ 63500 h 933450"/>
                  <a:gd name="connsiteX37" fmla="*/ 1330178 w 1408368"/>
                  <a:gd name="connsiteY37" fmla="*/ 67759 h 933450"/>
                  <a:gd name="connsiteX38" fmla="*/ 1406150 w 1408368"/>
                  <a:gd name="connsiteY38" fmla="*/ 165720 h 933450"/>
                  <a:gd name="connsiteX39" fmla="*/ 1404020 w 1408368"/>
                  <a:gd name="connsiteY39" fmla="*/ 182046 h 933450"/>
                  <a:gd name="connsiteX40" fmla="*/ 1333728 w 1408368"/>
                  <a:gd name="connsiteY40" fmla="*/ 237415 h 933450"/>
                  <a:gd name="connsiteX41" fmla="*/ 1332308 w 1408368"/>
                  <a:gd name="connsiteY41" fmla="*/ 238125 h 933450"/>
                  <a:gd name="connsiteX42" fmla="*/ 1307457 w 1408368"/>
                  <a:gd name="connsiteY42" fmla="*/ 206182 h 933450"/>
                  <a:gd name="connsiteX43" fmla="*/ 1267696 w 1408368"/>
                  <a:gd name="connsiteY43" fmla="*/ 155072 h 933450"/>
                  <a:gd name="connsiteX44" fmla="*/ 1241425 w 1408368"/>
                  <a:gd name="connsiteY44" fmla="*/ 121708 h 933450"/>
                  <a:gd name="connsiteX45" fmla="*/ 1243555 w 1408368"/>
                  <a:gd name="connsiteY45" fmla="*/ 120289 h 933450"/>
                  <a:gd name="connsiteX46" fmla="*/ 1313137 w 1408368"/>
                  <a:gd name="connsiteY46" fmla="*/ 65630 h 933450"/>
                  <a:gd name="connsiteX47" fmla="*/ 1320238 w 1408368"/>
                  <a:gd name="connsiteY47" fmla="*/ 63500 h 933450"/>
                  <a:gd name="connsiteX48" fmla="*/ 15730 w 1408368"/>
                  <a:gd name="connsiteY48" fmla="*/ 0 h 933450"/>
                  <a:gd name="connsiteX49" fmla="*/ 1187595 w 1408368"/>
                  <a:gd name="connsiteY49" fmla="*/ 0 h 933450"/>
                  <a:gd name="connsiteX50" fmla="*/ 1203325 w 1408368"/>
                  <a:gd name="connsiteY50" fmla="*/ 15724 h 933450"/>
                  <a:gd name="connsiteX51" fmla="*/ 1203325 w 1408368"/>
                  <a:gd name="connsiteY51" fmla="*/ 109355 h 933450"/>
                  <a:gd name="connsiteX52" fmla="*/ 1195460 w 1408368"/>
                  <a:gd name="connsiteY52" fmla="*/ 115073 h 933450"/>
                  <a:gd name="connsiteX53" fmla="*/ 1171866 w 1408368"/>
                  <a:gd name="connsiteY53" fmla="*/ 133656 h 933450"/>
                  <a:gd name="connsiteX54" fmla="*/ 1171866 w 1408368"/>
                  <a:gd name="connsiteY54" fmla="*/ 31449 h 933450"/>
                  <a:gd name="connsiteX55" fmla="*/ 31460 w 1408368"/>
                  <a:gd name="connsiteY55" fmla="*/ 31449 h 933450"/>
                  <a:gd name="connsiteX56" fmla="*/ 31460 w 1408368"/>
                  <a:gd name="connsiteY56" fmla="*/ 902002 h 933450"/>
                  <a:gd name="connsiteX57" fmla="*/ 1171866 w 1408368"/>
                  <a:gd name="connsiteY57" fmla="*/ 902002 h 933450"/>
                  <a:gd name="connsiteX58" fmla="*/ 1171866 w 1408368"/>
                  <a:gd name="connsiteY58" fmla="*/ 405972 h 933450"/>
                  <a:gd name="connsiteX59" fmla="*/ 1203325 w 1408368"/>
                  <a:gd name="connsiteY59" fmla="*/ 381671 h 933450"/>
                  <a:gd name="connsiteX60" fmla="*/ 1203325 w 1408368"/>
                  <a:gd name="connsiteY60" fmla="*/ 917726 h 933450"/>
                  <a:gd name="connsiteX61" fmla="*/ 1187595 w 1408368"/>
                  <a:gd name="connsiteY61" fmla="*/ 933450 h 933450"/>
                  <a:gd name="connsiteX62" fmla="*/ 15730 w 1408368"/>
                  <a:gd name="connsiteY62" fmla="*/ 933450 h 933450"/>
                  <a:gd name="connsiteX63" fmla="*/ 0 w 1408368"/>
                  <a:gd name="connsiteY63" fmla="*/ 917726 h 933450"/>
                  <a:gd name="connsiteX64" fmla="*/ 0 w 1408368"/>
                  <a:gd name="connsiteY64" fmla="*/ 15724 h 933450"/>
                  <a:gd name="connsiteX65" fmla="*/ 15730 w 1408368"/>
                  <a:gd name="connsiteY65" fmla="*/ 0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08368" h="933450">
                    <a:moveTo>
                      <a:pt x="1214569" y="141288"/>
                    </a:moveTo>
                    <a:cubicBezTo>
                      <a:pt x="1214569" y="141288"/>
                      <a:pt x="1214569" y="141288"/>
                      <a:pt x="1215283" y="142002"/>
                    </a:cubicBezTo>
                    <a:cubicBezTo>
                      <a:pt x="1215283" y="142002"/>
                      <a:pt x="1215283" y="142002"/>
                      <a:pt x="1234561" y="166261"/>
                    </a:cubicBezTo>
                    <a:cubicBezTo>
                      <a:pt x="1230991" y="169115"/>
                      <a:pt x="1222423" y="175537"/>
                      <a:pt x="1203146" y="190520"/>
                    </a:cubicBezTo>
                    <a:cubicBezTo>
                      <a:pt x="1195292" y="196942"/>
                      <a:pt x="1184582" y="204791"/>
                      <a:pt x="1171731" y="214780"/>
                    </a:cubicBezTo>
                    <a:cubicBezTo>
                      <a:pt x="1163163" y="221915"/>
                      <a:pt x="1152453" y="229764"/>
                      <a:pt x="1140316" y="239039"/>
                    </a:cubicBezTo>
                    <a:cubicBezTo>
                      <a:pt x="1081056" y="285417"/>
                      <a:pt x="985383" y="360336"/>
                      <a:pt x="829736" y="480920"/>
                    </a:cubicBezTo>
                    <a:cubicBezTo>
                      <a:pt x="826880" y="483060"/>
                      <a:pt x="824024" y="485201"/>
                      <a:pt x="822596" y="488768"/>
                    </a:cubicBezTo>
                    <a:cubicBezTo>
                      <a:pt x="822596" y="488768"/>
                      <a:pt x="822596" y="488768"/>
                      <a:pt x="821883" y="488768"/>
                    </a:cubicBezTo>
                    <a:cubicBezTo>
                      <a:pt x="809031" y="508747"/>
                      <a:pt x="814743" y="528725"/>
                      <a:pt x="824738" y="541568"/>
                    </a:cubicBezTo>
                    <a:cubicBezTo>
                      <a:pt x="831878" y="550844"/>
                      <a:pt x="844016" y="558692"/>
                      <a:pt x="859009" y="558692"/>
                    </a:cubicBezTo>
                    <a:cubicBezTo>
                      <a:pt x="864007" y="558692"/>
                      <a:pt x="869719" y="557979"/>
                      <a:pt x="874717" y="555838"/>
                    </a:cubicBezTo>
                    <a:cubicBezTo>
                      <a:pt x="878287" y="555125"/>
                      <a:pt x="881143" y="552984"/>
                      <a:pt x="883998" y="550844"/>
                    </a:cubicBezTo>
                    <a:cubicBezTo>
                      <a:pt x="883998" y="550844"/>
                      <a:pt x="883998" y="550844"/>
                      <a:pt x="1140316" y="351061"/>
                    </a:cubicBezTo>
                    <a:cubicBezTo>
                      <a:pt x="1150312" y="343212"/>
                      <a:pt x="1161021" y="335363"/>
                      <a:pt x="1171731" y="326801"/>
                    </a:cubicBezTo>
                    <a:cubicBezTo>
                      <a:pt x="1181726" y="318953"/>
                      <a:pt x="1192436" y="311104"/>
                      <a:pt x="1203146" y="302542"/>
                    </a:cubicBezTo>
                    <a:cubicBezTo>
                      <a:pt x="1229563" y="281850"/>
                      <a:pt x="1258122" y="259731"/>
                      <a:pt x="1288823" y="236185"/>
                    </a:cubicBezTo>
                    <a:lnTo>
                      <a:pt x="1306672" y="259018"/>
                    </a:lnTo>
                    <a:cubicBezTo>
                      <a:pt x="1306672" y="259018"/>
                      <a:pt x="1306672" y="259018"/>
                      <a:pt x="1308100" y="261158"/>
                    </a:cubicBezTo>
                    <a:cubicBezTo>
                      <a:pt x="1301674" y="265439"/>
                      <a:pt x="1280255" y="282563"/>
                      <a:pt x="1203146" y="342498"/>
                    </a:cubicBezTo>
                    <a:cubicBezTo>
                      <a:pt x="1193864" y="349634"/>
                      <a:pt x="1183154" y="358196"/>
                      <a:pt x="1171731" y="366758"/>
                    </a:cubicBezTo>
                    <a:cubicBezTo>
                      <a:pt x="1162449" y="374606"/>
                      <a:pt x="1151739" y="382455"/>
                      <a:pt x="1140316" y="391017"/>
                    </a:cubicBezTo>
                    <a:cubicBezTo>
                      <a:pt x="1083198" y="435968"/>
                      <a:pt x="1006088" y="495903"/>
                      <a:pt x="903276" y="575817"/>
                    </a:cubicBezTo>
                    <a:cubicBezTo>
                      <a:pt x="898278" y="580098"/>
                      <a:pt x="891852" y="583665"/>
                      <a:pt x="885426" y="585806"/>
                    </a:cubicBezTo>
                    <a:cubicBezTo>
                      <a:pt x="876859" y="588660"/>
                      <a:pt x="868291" y="590087"/>
                      <a:pt x="859723" y="590087"/>
                    </a:cubicBezTo>
                    <a:cubicBezTo>
                      <a:pt x="846158" y="590087"/>
                      <a:pt x="833306" y="586519"/>
                      <a:pt x="822596" y="580098"/>
                    </a:cubicBezTo>
                    <a:cubicBezTo>
                      <a:pt x="822596" y="580098"/>
                      <a:pt x="822596" y="580098"/>
                      <a:pt x="796179" y="600076"/>
                    </a:cubicBezTo>
                    <a:cubicBezTo>
                      <a:pt x="796179" y="600076"/>
                      <a:pt x="796179" y="600076"/>
                      <a:pt x="739775" y="570822"/>
                    </a:cubicBezTo>
                    <a:cubicBezTo>
                      <a:pt x="739775" y="570822"/>
                      <a:pt x="739775" y="570822"/>
                      <a:pt x="786184" y="534433"/>
                    </a:cubicBezTo>
                    <a:cubicBezTo>
                      <a:pt x="780472" y="513741"/>
                      <a:pt x="783328" y="490909"/>
                      <a:pt x="795465" y="471644"/>
                    </a:cubicBezTo>
                    <a:cubicBezTo>
                      <a:pt x="795465" y="471644"/>
                      <a:pt x="795465" y="471644"/>
                      <a:pt x="796179" y="471644"/>
                    </a:cubicBezTo>
                    <a:cubicBezTo>
                      <a:pt x="799749" y="465222"/>
                      <a:pt x="804747" y="460228"/>
                      <a:pt x="810459" y="455947"/>
                    </a:cubicBezTo>
                    <a:cubicBezTo>
                      <a:pt x="810459" y="455947"/>
                      <a:pt x="810459" y="455947"/>
                      <a:pt x="1140316" y="199083"/>
                    </a:cubicBezTo>
                    <a:cubicBezTo>
                      <a:pt x="1151025" y="191234"/>
                      <a:pt x="1161021" y="183385"/>
                      <a:pt x="1171731" y="174823"/>
                    </a:cubicBezTo>
                    <a:cubicBezTo>
                      <a:pt x="1182440" y="166975"/>
                      <a:pt x="1192436" y="158412"/>
                      <a:pt x="1203146" y="150564"/>
                    </a:cubicBezTo>
                    <a:cubicBezTo>
                      <a:pt x="1207430" y="146996"/>
                      <a:pt x="1210999" y="144142"/>
                      <a:pt x="1214569" y="141288"/>
                    </a:cubicBezTo>
                    <a:close/>
                    <a:moveTo>
                      <a:pt x="1320238" y="63500"/>
                    </a:moveTo>
                    <a:cubicBezTo>
                      <a:pt x="1323788" y="63500"/>
                      <a:pt x="1328048" y="64920"/>
                      <a:pt x="1330178" y="67759"/>
                    </a:cubicBezTo>
                    <a:cubicBezTo>
                      <a:pt x="1330178" y="67759"/>
                      <a:pt x="1330178" y="67759"/>
                      <a:pt x="1406150" y="165720"/>
                    </a:cubicBezTo>
                    <a:cubicBezTo>
                      <a:pt x="1409700" y="170689"/>
                      <a:pt x="1408990" y="177787"/>
                      <a:pt x="1404020" y="182046"/>
                    </a:cubicBezTo>
                    <a:cubicBezTo>
                      <a:pt x="1404020" y="182046"/>
                      <a:pt x="1404020" y="182046"/>
                      <a:pt x="1333728" y="237415"/>
                    </a:cubicBezTo>
                    <a:cubicBezTo>
                      <a:pt x="1333728" y="237415"/>
                      <a:pt x="1333018" y="238125"/>
                      <a:pt x="1332308" y="238125"/>
                    </a:cubicBezTo>
                    <a:cubicBezTo>
                      <a:pt x="1332308" y="238125"/>
                      <a:pt x="1332308" y="238125"/>
                      <a:pt x="1307457" y="206182"/>
                    </a:cubicBezTo>
                    <a:cubicBezTo>
                      <a:pt x="1298227" y="194114"/>
                      <a:pt x="1285447" y="177787"/>
                      <a:pt x="1267696" y="155072"/>
                    </a:cubicBezTo>
                    <a:cubicBezTo>
                      <a:pt x="1259886" y="145134"/>
                      <a:pt x="1251366" y="133776"/>
                      <a:pt x="1241425" y="121708"/>
                    </a:cubicBezTo>
                    <a:cubicBezTo>
                      <a:pt x="1241425" y="121708"/>
                      <a:pt x="1241425" y="121708"/>
                      <a:pt x="1243555" y="120289"/>
                    </a:cubicBezTo>
                    <a:cubicBezTo>
                      <a:pt x="1247815" y="116739"/>
                      <a:pt x="1262726" y="105382"/>
                      <a:pt x="1313137" y="65630"/>
                    </a:cubicBezTo>
                    <a:cubicBezTo>
                      <a:pt x="1315267" y="64210"/>
                      <a:pt x="1318108" y="63500"/>
                      <a:pt x="1320238" y="63500"/>
                    </a:cubicBezTo>
                    <a:close/>
                    <a:moveTo>
                      <a:pt x="15730" y="0"/>
                    </a:moveTo>
                    <a:cubicBezTo>
                      <a:pt x="15730" y="0"/>
                      <a:pt x="15730" y="0"/>
                      <a:pt x="1187595" y="0"/>
                    </a:cubicBezTo>
                    <a:cubicBezTo>
                      <a:pt x="1196175" y="0"/>
                      <a:pt x="1203325" y="6433"/>
                      <a:pt x="1203325" y="15724"/>
                    </a:cubicBezTo>
                    <a:cubicBezTo>
                      <a:pt x="1203325" y="15724"/>
                      <a:pt x="1203325" y="15724"/>
                      <a:pt x="1203325" y="109355"/>
                    </a:cubicBezTo>
                    <a:cubicBezTo>
                      <a:pt x="1203325" y="109355"/>
                      <a:pt x="1203325" y="109355"/>
                      <a:pt x="1195460" y="115073"/>
                    </a:cubicBezTo>
                    <a:cubicBezTo>
                      <a:pt x="1195460" y="115073"/>
                      <a:pt x="1195460" y="115073"/>
                      <a:pt x="1171866" y="133656"/>
                    </a:cubicBezTo>
                    <a:cubicBezTo>
                      <a:pt x="1171866" y="133656"/>
                      <a:pt x="1171866" y="133656"/>
                      <a:pt x="1171866" y="31449"/>
                    </a:cubicBezTo>
                    <a:cubicBezTo>
                      <a:pt x="1171866" y="31449"/>
                      <a:pt x="1171866" y="31449"/>
                      <a:pt x="31460" y="31449"/>
                    </a:cubicBezTo>
                    <a:cubicBezTo>
                      <a:pt x="31460" y="31449"/>
                      <a:pt x="31460" y="31449"/>
                      <a:pt x="31460" y="902002"/>
                    </a:cubicBezTo>
                    <a:cubicBezTo>
                      <a:pt x="31460" y="902002"/>
                      <a:pt x="31460" y="902002"/>
                      <a:pt x="1171866" y="902002"/>
                    </a:cubicBezTo>
                    <a:lnTo>
                      <a:pt x="1171866" y="405972"/>
                    </a:lnTo>
                    <a:cubicBezTo>
                      <a:pt x="1171866" y="405972"/>
                      <a:pt x="1171866" y="405972"/>
                      <a:pt x="1203325" y="381671"/>
                    </a:cubicBezTo>
                    <a:cubicBezTo>
                      <a:pt x="1203325" y="381671"/>
                      <a:pt x="1203325" y="381671"/>
                      <a:pt x="1203325" y="917726"/>
                    </a:cubicBezTo>
                    <a:cubicBezTo>
                      <a:pt x="1203325" y="927017"/>
                      <a:pt x="1196175" y="933450"/>
                      <a:pt x="1187595" y="933450"/>
                    </a:cubicBezTo>
                    <a:cubicBezTo>
                      <a:pt x="1187595" y="933450"/>
                      <a:pt x="1187595" y="933450"/>
                      <a:pt x="15730" y="933450"/>
                    </a:cubicBezTo>
                    <a:cubicBezTo>
                      <a:pt x="7150" y="933450"/>
                      <a:pt x="0" y="927017"/>
                      <a:pt x="0" y="917726"/>
                    </a:cubicBezTo>
                    <a:cubicBezTo>
                      <a:pt x="0" y="917726"/>
                      <a:pt x="0" y="917726"/>
                      <a:pt x="0" y="15724"/>
                    </a:cubicBezTo>
                    <a:cubicBezTo>
                      <a:pt x="0" y="6433"/>
                      <a:pt x="7150" y="0"/>
                      <a:pt x="157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29"/>
              <p:cNvSpPr>
                <a:spLocks/>
              </p:cNvSpPr>
              <p:nvPr/>
            </p:nvSpPr>
            <p:spPr bwMode="auto">
              <a:xfrm>
                <a:off x="6697663" y="3025775"/>
                <a:ext cx="1076325" cy="806450"/>
              </a:xfrm>
              <a:custGeom>
                <a:avLst/>
                <a:gdLst>
                  <a:gd name="connsiteX0" fmla="*/ 111125 w 1076325"/>
                  <a:gd name="connsiteY0" fmla="*/ 560388 h 806450"/>
                  <a:gd name="connsiteX1" fmla="*/ 271463 w 1076325"/>
                  <a:gd name="connsiteY1" fmla="*/ 560388 h 806450"/>
                  <a:gd name="connsiteX2" fmla="*/ 271463 w 1076325"/>
                  <a:gd name="connsiteY2" fmla="*/ 635001 h 806450"/>
                  <a:gd name="connsiteX3" fmla="*/ 111125 w 1076325"/>
                  <a:gd name="connsiteY3" fmla="*/ 635001 h 806450"/>
                  <a:gd name="connsiteX4" fmla="*/ 95159 w 1076325"/>
                  <a:gd name="connsiteY4" fmla="*/ 528638 h 806450"/>
                  <a:gd name="connsiteX5" fmla="*/ 79375 w 1076325"/>
                  <a:gd name="connsiteY5" fmla="*/ 544282 h 806450"/>
                  <a:gd name="connsiteX6" fmla="*/ 79375 w 1076325"/>
                  <a:gd name="connsiteY6" fmla="*/ 649520 h 806450"/>
                  <a:gd name="connsiteX7" fmla="*/ 95159 w 1076325"/>
                  <a:gd name="connsiteY7" fmla="*/ 665163 h 806450"/>
                  <a:gd name="connsiteX8" fmla="*/ 287430 w 1076325"/>
                  <a:gd name="connsiteY8" fmla="*/ 665163 h 806450"/>
                  <a:gd name="connsiteX9" fmla="*/ 303213 w 1076325"/>
                  <a:gd name="connsiteY9" fmla="*/ 649520 h 806450"/>
                  <a:gd name="connsiteX10" fmla="*/ 303213 w 1076325"/>
                  <a:gd name="connsiteY10" fmla="*/ 544282 h 806450"/>
                  <a:gd name="connsiteX11" fmla="*/ 287430 w 1076325"/>
                  <a:gd name="connsiteY11" fmla="*/ 528638 h 806450"/>
                  <a:gd name="connsiteX12" fmla="*/ 95159 w 1076325"/>
                  <a:gd name="connsiteY12" fmla="*/ 528638 h 806450"/>
                  <a:gd name="connsiteX13" fmla="*/ 392112 w 1076325"/>
                  <a:gd name="connsiteY13" fmla="*/ 366713 h 806450"/>
                  <a:gd name="connsiteX14" fmla="*/ 552450 w 1076325"/>
                  <a:gd name="connsiteY14" fmla="*/ 366713 h 806450"/>
                  <a:gd name="connsiteX15" fmla="*/ 552450 w 1076325"/>
                  <a:gd name="connsiteY15" fmla="*/ 439738 h 806450"/>
                  <a:gd name="connsiteX16" fmla="*/ 392112 w 1076325"/>
                  <a:gd name="connsiteY16" fmla="*/ 439738 h 806450"/>
                  <a:gd name="connsiteX17" fmla="*/ 111125 w 1076325"/>
                  <a:gd name="connsiteY17" fmla="*/ 366713 h 806450"/>
                  <a:gd name="connsiteX18" fmla="*/ 271463 w 1076325"/>
                  <a:gd name="connsiteY18" fmla="*/ 366713 h 806450"/>
                  <a:gd name="connsiteX19" fmla="*/ 271463 w 1076325"/>
                  <a:gd name="connsiteY19" fmla="*/ 439738 h 806450"/>
                  <a:gd name="connsiteX20" fmla="*/ 111125 w 1076325"/>
                  <a:gd name="connsiteY20" fmla="*/ 439738 h 806450"/>
                  <a:gd name="connsiteX21" fmla="*/ 376034 w 1076325"/>
                  <a:gd name="connsiteY21" fmla="*/ 334963 h 806450"/>
                  <a:gd name="connsiteX22" fmla="*/ 360362 w 1076325"/>
                  <a:gd name="connsiteY22" fmla="*/ 350607 h 806450"/>
                  <a:gd name="connsiteX23" fmla="*/ 360362 w 1076325"/>
                  <a:gd name="connsiteY23" fmla="*/ 455845 h 806450"/>
                  <a:gd name="connsiteX24" fmla="*/ 376034 w 1076325"/>
                  <a:gd name="connsiteY24" fmla="*/ 471488 h 806450"/>
                  <a:gd name="connsiteX25" fmla="*/ 566941 w 1076325"/>
                  <a:gd name="connsiteY25" fmla="*/ 471488 h 806450"/>
                  <a:gd name="connsiteX26" fmla="*/ 582612 w 1076325"/>
                  <a:gd name="connsiteY26" fmla="*/ 455845 h 806450"/>
                  <a:gd name="connsiteX27" fmla="*/ 582612 w 1076325"/>
                  <a:gd name="connsiteY27" fmla="*/ 350607 h 806450"/>
                  <a:gd name="connsiteX28" fmla="*/ 566941 w 1076325"/>
                  <a:gd name="connsiteY28" fmla="*/ 334963 h 806450"/>
                  <a:gd name="connsiteX29" fmla="*/ 376034 w 1076325"/>
                  <a:gd name="connsiteY29" fmla="*/ 334963 h 806450"/>
                  <a:gd name="connsiteX30" fmla="*/ 95159 w 1076325"/>
                  <a:gd name="connsiteY30" fmla="*/ 334963 h 806450"/>
                  <a:gd name="connsiteX31" fmla="*/ 79375 w 1076325"/>
                  <a:gd name="connsiteY31" fmla="*/ 350607 h 806450"/>
                  <a:gd name="connsiteX32" fmla="*/ 79375 w 1076325"/>
                  <a:gd name="connsiteY32" fmla="*/ 455845 h 806450"/>
                  <a:gd name="connsiteX33" fmla="*/ 95159 w 1076325"/>
                  <a:gd name="connsiteY33" fmla="*/ 471488 h 806450"/>
                  <a:gd name="connsiteX34" fmla="*/ 287430 w 1076325"/>
                  <a:gd name="connsiteY34" fmla="*/ 471488 h 806450"/>
                  <a:gd name="connsiteX35" fmla="*/ 303213 w 1076325"/>
                  <a:gd name="connsiteY35" fmla="*/ 455845 h 806450"/>
                  <a:gd name="connsiteX36" fmla="*/ 303213 w 1076325"/>
                  <a:gd name="connsiteY36" fmla="*/ 350607 h 806450"/>
                  <a:gd name="connsiteX37" fmla="*/ 287430 w 1076325"/>
                  <a:gd name="connsiteY37" fmla="*/ 334963 h 806450"/>
                  <a:gd name="connsiteX38" fmla="*/ 95159 w 1076325"/>
                  <a:gd name="connsiteY38" fmla="*/ 334963 h 806450"/>
                  <a:gd name="connsiteX39" fmla="*/ 392112 w 1076325"/>
                  <a:gd name="connsiteY39" fmla="*/ 171450 h 806450"/>
                  <a:gd name="connsiteX40" fmla="*/ 552450 w 1076325"/>
                  <a:gd name="connsiteY40" fmla="*/ 171450 h 806450"/>
                  <a:gd name="connsiteX41" fmla="*/ 552450 w 1076325"/>
                  <a:gd name="connsiteY41" fmla="*/ 246063 h 806450"/>
                  <a:gd name="connsiteX42" fmla="*/ 392112 w 1076325"/>
                  <a:gd name="connsiteY42" fmla="*/ 246063 h 806450"/>
                  <a:gd name="connsiteX43" fmla="*/ 111125 w 1076325"/>
                  <a:gd name="connsiteY43" fmla="*/ 171450 h 806450"/>
                  <a:gd name="connsiteX44" fmla="*/ 271463 w 1076325"/>
                  <a:gd name="connsiteY44" fmla="*/ 171450 h 806450"/>
                  <a:gd name="connsiteX45" fmla="*/ 271463 w 1076325"/>
                  <a:gd name="connsiteY45" fmla="*/ 246063 h 806450"/>
                  <a:gd name="connsiteX46" fmla="*/ 111125 w 1076325"/>
                  <a:gd name="connsiteY46" fmla="*/ 246063 h 806450"/>
                  <a:gd name="connsiteX47" fmla="*/ 376034 w 1076325"/>
                  <a:gd name="connsiteY47" fmla="*/ 141288 h 806450"/>
                  <a:gd name="connsiteX48" fmla="*/ 360362 w 1076325"/>
                  <a:gd name="connsiteY48" fmla="*/ 156932 h 806450"/>
                  <a:gd name="connsiteX49" fmla="*/ 360362 w 1076325"/>
                  <a:gd name="connsiteY49" fmla="*/ 262170 h 806450"/>
                  <a:gd name="connsiteX50" fmla="*/ 376034 w 1076325"/>
                  <a:gd name="connsiteY50" fmla="*/ 277813 h 806450"/>
                  <a:gd name="connsiteX51" fmla="*/ 566941 w 1076325"/>
                  <a:gd name="connsiteY51" fmla="*/ 277813 h 806450"/>
                  <a:gd name="connsiteX52" fmla="*/ 582612 w 1076325"/>
                  <a:gd name="connsiteY52" fmla="*/ 262170 h 806450"/>
                  <a:gd name="connsiteX53" fmla="*/ 582612 w 1076325"/>
                  <a:gd name="connsiteY53" fmla="*/ 156932 h 806450"/>
                  <a:gd name="connsiteX54" fmla="*/ 566941 w 1076325"/>
                  <a:gd name="connsiteY54" fmla="*/ 141288 h 806450"/>
                  <a:gd name="connsiteX55" fmla="*/ 376034 w 1076325"/>
                  <a:gd name="connsiteY55" fmla="*/ 141288 h 806450"/>
                  <a:gd name="connsiteX56" fmla="*/ 95159 w 1076325"/>
                  <a:gd name="connsiteY56" fmla="*/ 141288 h 806450"/>
                  <a:gd name="connsiteX57" fmla="*/ 79375 w 1076325"/>
                  <a:gd name="connsiteY57" fmla="*/ 156932 h 806450"/>
                  <a:gd name="connsiteX58" fmla="*/ 79375 w 1076325"/>
                  <a:gd name="connsiteY58" fmla="*/ 262170 h 806450"/>
                  <a:gd name="connsiteX59" fmla="*/ 95159 w 1076325"/>
                  <a:gd name="connsiteY59" fmla="*/ 277813 h 806450"/>
                  <a:gd name="connsiteX60" fmla="*/ 287430 w 1076325"/>
                  <a:gd name="connsiteY60" fmla="*/ 277813 h 806450"/>
                  <a:gd name="connsiteX61" fmla="*/ 303213 w 1076325"/>
                  <a:gd name="connsiteY61" fmla="*/ 262170 h 806450"/>
                  <a:gd name="connsiteX62" fmla="*/ 303213 w 1076325"/>
                  <a:gd name="connsiteY62" fmla="*/ 156932 h 806450"/>
                  <a:gd name="connsiteX63" fmla="*/ 287430 w 1076325"/>
                  <a:gd name="connsiteY63" fmla="*/ 141288 h 806450"/>
                  <a:gd name="connsiteX64" fmla="*/ 95159 w 1076325"/>
                  <a:gd name="connsiteY64" fmla="*/ 141288 h 806450"/>
                  <a:gd name="connsiteX65" fmla="*/ 0 w 1076325"/>
                  <a:gd name="connsiteY65" fmla="*/ 0 h 806450"/>
                  <a:gd name="connsiteX66" fmla="*/ 1076325 w 1076325"/>
                  <a:gd name="connsiteY66" fmla="*/ 0 h 806450"/>
                  <a:gd name="connsiteX67" fmla="*/ 1076325 w 1076325"/>
                  <a:gd name="connsiteY67" fmla="*/ 94919 h 806450"/>
                  <a:gd name="connsiteX68" fmla="*/ 727073 w 1076325"/>
                  <a:gd name="connsiteY68" fmla="*/ 366828 h 806450"/>
                  <a:gd name="connsiteX69" fmla="*/ 708503 w 1076325"/>
                  <a:gd name="connsiteY69" fmla="*/ 386097 h 806450"/>
                  <a:gd name="connsiteX70" fmla="*/ 704932 w 1076325"/>
                  <a:gd name="connsiteY70" fmla="*/ 391093 h 806450"/>
                  <a:gd name="connsiteX71" fmla="*/ 688505 w 1076325"/>
                  <a:gd name="connsiteY71" fmla="*/ 456751 h 806450"/>
                  <a:gd name="connsiteX72" fmla="*/ 656366 w 1076325"/>
                  <a:gd name="connsiteY72" fmla="*/ 481729 h 806450"/>
                  <a:gd name="connsiteX73" fmla="*/ 644224 w 1076325"/>
                  <a:gd name="connsiteY73" fmla="*/ 509562 h 806450"/>
                  <a:gd name="connsiteX74" fmla="*/ 661365 w 1076325"/>
                  <a:gd name="connsiteY74" fmla="*/ 534541 h 806450"/>
                  <a:gd name="connsiteX75" fmla="*/ 717788 w 1076325"/>
                  <a:gd name="connsiteY75" fmla="*/ 563801 h 806450"/>
                  <a:gd name="connsiteX76" fmla="*/ 732073 w 1076325"/>
                  <a:gd name="connsiteY76" fmla="*/ 567370 h 806450"/>
                  <a:gd name="connsiteX77" fmla="*/ 751356 w 1076325"/>
                  <a:gd name="connsiteY77" fmla="*/ 560947 h 806450"/>
                  <a:gd name="connsiteX78" fmla="*/ 762784 w 1076325"/>
                  <a:gd name="connsiteY78" fmla="*/ 552383 h 806450"/>
                  <a:gd name="connsiteX79" fmla="*/ 795638 w 1076325"/>
                  <a:gd name="connsiteY79" fmla="*/ 557378 h 806450"/>
                  <a:gd name="connsiteX80" fmla="*/ 831349 w 1076325"/>
                  <a:gd name="connsiteY80" fmla="*/ 551669 h 806450"/>
                  <a:gd name="connsiteX81" fmla="*/ 859203 w 1076325"/>
                  <a:gd name="connsiteY81" fmla="*/ 535968 h 806450"/>
                  <a:gd name="connsiteX82" fmla="*/ 1076325 w 1076325"/>
                  <a:gd name="connsiteY82" fmla="*/ 366828 h 806450"/>
                  <a:gd name="connsiteX83" fmla="*/ 1076325 w 1076325"/>
                  <a:gd name="connsiteY83" fmla="*/ 806450 h 806450"/>
                  <a:gd name="connsiteX84" fmla="*/ 0 w 1076325"/>
                  <a:gd name="connsiteY84" fmla="*/ 806450 h 806450"/>
                  <a:gd name="connsiteX85" fmla="*/ 0 w 1076325"/>
                  <a:gd name="connsiteY85"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076325" h="806450">
                    <a:moveTo>
                      <a:pt x="111125" y="560388"/>
                    </a:moveTo>
                    <a:cubicBezTo>
                      <a:pt x="111125" y="560388"/>
                      <a:pt x="111125" y="560388"/>
                      <a:pt x="271463" y="560388"/>
                    </a:cubicBezTo>
                    <a:cubicBezTo>
                      <a:pt x="271463" y="560388"/>
                      <a:pt x="271463" y="560388"/>
                      <a:pt x="271463" y="635001"/>
                    </a:cubicBezTo>
                    <a:cubicBezTo>
                      <a:pt x="271463" y="635001"/>
                      <a:pt x="271463" y="635001"/>
                      <a:pt x="111125" y="635001"/>
                    </a:cubicBezTo>
                    <a:close/>
                    <a:moveTo>
                      <a:pt x="95159" y="528638"/>
                    </a:moveTo>
                    <a:cubicBezTo>
                      <a:pt x="86550" y="528638"/>
                      <a:pt x="79375" y="535749"/>
                      <a:pt x="79375" y="544282"/>
                    </a:cubicBezTo>
                    <a:cubicBezTo>
                      <a:pt x="79375" y="649520"/>
                      <a:pt x="79375" y="649520"/>
                      <a:pt x="79375" y="649520"/>
                    </a:cubicBezTo>
                    <a:cubicBezTo>
                      <a:pt x="79375" y="658052"/>
                      <a:pt x="86550" y="665163"/>
                      <a:pt x="95159" y="665163"/>
                    </a:cubicBezTo>
                    <a:cubicBezTo>
                      <a:pt x="287430" y="665163"/>
                      <a:pt x="287430" y="665163"/>
                      <a:pt x="287430" y="665163"/>
                    </a:cubicBezTo>
                    <a:cubicBezTo>
                      <a:pt x="296039" y="665163"/>
                      <a:pt x="303213" y="658052"/>
                      <a:pt x="303213" y="649520"/>
                    </a:cubicBezTo>
                    <a:lnTo>
                      <a:pt x="303213" y="544282"/>
                    </a:lnTo>
                    <a:cubicBezTo>
                      <a:pt x="303213" y="535749"/>
                      <a:pt x="296039" y="528638"/>
                      <a:pt x="287430" y="528638"/>
                    </a:cubicBezTo>
                    <a:cubicBezTo>
                      <a:pt x="95159" y="528638"/>
                      <a:pt x="95159" y="528638"/>
                      <a:pt x="95159" y="528638"/>
                    </a:cubicBezTo>
                    <a:close/>
                    <a:moveTo>
                      <a:pt x="392112" y="366713"/>
                    </a:moveTo>
                    <a:cubicBezTo>
                      <a:pt x="552450" y="366713"/>
                      <a:pt x="552450" y="366713"/>
                      <a:pt x="552450" y="366713"/>
                    </a:cubicBezTo>
                    <a:cubicBezTo>
                      <a:pt x="552450" y="439738"/>
                      <a:pt x="552450" y="439738"/>
                      <a:pt x="552450" y="439738"/>
                    </a:cubicBezTo>
                    <a:cubicBezTo>
                      <a:pt x="392112" y="439738"/>
                      <a:pt x="392112" y="439738"/>
                      <a:pt x="392112" y="439738"/>
                    </a:cubicBezTo>
                    <a:close/>
                    <a:moveTo>
                      <a:pt x="111125" y="366713"/>
                    </a:moveTo>
                    <a:cubicBezTo>
                      <a:pt x="111125" y="366713"/>
                      <a:pt x="111125" y="366713"/>
                      <a:pt x="271463" y="366713"/>
                    </a:cubicBezTo>
                    <a:cubicBezTo>
                      <a:pt x="271463" y="366713"/>
                      <a:pt x="271463" y="366713"/>
                      <a:pt x="271463" y="439738"/>
                    </a:cubicBezTo>
                    <a:cubicBezTo>
                      <a:pt x="271463" y="439738"/>
                      <a:pt x="271463" y="439738"/>
                      <a:pt x="111125" y="439738"/>
                    </a:cubicBezTo>
                    <a:close/>
                    <a:moveTo>
                      <a:pt x="376034" y="334963"/>
                    </a:moveTo>
                    <a:cubicBezTo>
                      <a:pt x="367486" y="334963"/>
                      <a:pt x="360362" y="342074"/>
                      <a:pt x="360362" y="350607"/>
                    </a:cubicBezTo>
                    <a:cubicBezTo>
                      <a:pt x="360362" y="455845"/>
                      <a:pt x="360362" y="455845"/>
                      <a:pt x="360362" y="455845"/>
                    </a:cubicBezTo>
                    <a:cubicBezTo>
                      <a:pt x="360362" y="464377"/>
                      <a:pt x="367486" y="471488"/>
                      <a:pt x="376034" y="471488"/>
                    </a:cubicBezTo>
                    <a:cubicBezTo>
                      <a:pt x="566941" y="471488"/>
                      <a:pt x="566941" y="471488"/>
                      <a:pt x="566941" y="471488"/>
                    </a:cubicBezTo>
                    <a:cubicBezTo>
                      <a:pt x="575489" y="471488"/>
                      <a:pt x="582612" y="464377"/>
                      <a:pt x="582612" y="455845"/>
                    </a:cubicBezTo>
                    <a:lnTo>
                      <a:pt x="582612" y="350607"/>
                    </a:lnTo>
                    <a:cubicBezTo>
                      <a:pt x="582612" y="342074"/>
                      <a:pt x="575489" y="334963"/>
                      <a:pt x="566941" y="334963"/>
                    </a:cubicBezTo>
                    <a:cubicBezTo>
                      <a:pt x="376034" y="334963"/>
                      <a:pt x="376034" y="334963"/>
                      <a:pt x="376034" y="334963"/>
                    </a:cubicBezTo>
                    <a:close/>
                    <a:moveTo>
                      <a:pt x="95159" y="334963"/>
                    </a:moveTo>
                    <a:cubicBezTo>
                      <a:pt x="86550" y="334963"/>
                      <a:pt x="79375" y="342074"/>
                      <a:pt x="79375" y="350607"/>
                    </a:cubicBezTo>
                    <a:cubicBezTo>
                      <a:pt x="79375" y="455845"/>
                      <a:pt x="79375" y="455845"/>
                      <a:pt x="79375" y="455845"/>
                    </a:cubicBezTo>
                    <a:cubicBezTo>
                      <a:pt x="79375" y="464377"/>
                      <a:pt x="86550" y="471488"/>
                      <a:pt x="95159" y="471488"/>
                    </a:cubicBezTo>
                    <a:cubicBezTo>
                      <a:pt x="287430" y="471488"/>
                      <a:pt x="287430" y="471488"/>
                      <a:pt x="287430" y="471488"/>
                    </a:cubicBezTo>
                    <a:cubicBezTo>
                      <a:pt x="296039" y="471488"/>
                      <a:pt x="303213" y="464377"/>
                      <a:pt x="303213" y="455845"/>
                    </a:cubicBezTo>
                    <a:lnTo>
                      <a:pt x="303213" y="350607"/>
                    </a:lnTo>
                    <a:cubicBezTo>
                      <a:pt x="303213" y="342074"/>
                      <a:pt x="296039" y="334963"/>
                      <a:pt x="287430" y="334963"/>
                    </a:cubicBezTo>
                    <a:cubicBezTo>
                      <a:pt x="95159" y="334963"/>
                      <a:pt x="95159" y="334963"/>
                      <a:pt x="95159" y="334963"/>
                    </a:cubicBezTo>
                    <a:close/>
                    <a:moveTo>
                      <a:pt x="392112" y="171450"/>
                    </a:moveTo>
                    <a:cubicBezTo>
                      <a:pt x="392112" y="171450"/>
                      <a:pt x="392112" y="171450"/>
                      <a:pt x="552450" y="171450"/>
                    </a:cubicBezTo>
                    <a:cubicBezTo>
                      <a:pt x="552450" y="171450"/>
                      <a:pt x="552450" y="171450"/>
                      <a:pt x="552450" y="246063"/>
                    </a:cubicBezTo>
                    <a:cubicBezTo>
                      <a:pt x="552450" y="246063"/>
                      <a:pt x="552450" y="246063"/>
                      <a:pt x="392112" y="246063"/>
                    </a:cubicBezTo>
                    <a:close/>
                    <a:moveTo>
                      <a:pt x="111125" y="171450"/>
                    </a:moveTo>
                    <a:cubicBezTo>
                      <a:pt x="111125" y="171450"/>
                      <a:pt x="111125" y="171450"/>
                      <a:pt x="271463" y="171450"/>
                    </a:cubicBezTo>
                    <a:cubicBezTo>
                      <a:pt x="271463" y="171450"/>
                      <a:pt x="271463" y="171450"/>
                      <a:pt x="271463" y="246063"/>
                    </a:cubicBezTo>
                    <a:cubicBezTo>
                      <a:pt x="271463" y="246063"/>
                      <a:pt x="271463" y="246063"/>
                      <a:pt x="111125" y="246063"/>
                    </a:cubicBezTo>
                    <a:close/>
                    <a:moveTo>
                      <a:pt x="376034" y="141288"/>
                    </a:moveTo>
                    <a:cubicBezTo>
                      <a:pt x="367486" y="141288"/>
                      <a:pt x="360362" y="148399"/>
                      <a:pt x="360362" y="156932"/>
                    </a:cubicBezTo>
                    <a:cubicBezTo>
                      <a:pt x="360362" y="262170"/>
                      <a:pt x="360362" y="262170"/>
                      <a:pt x="360362" y="262170"/>
                    </a:cubicBezTo>
                    <a:cubicBezTo>
                      <a:pt x="360362" y="270702"/>
                      <a:pt x="367486" y="277813"/>
                      <a:pt x="376034" y="277813"/>
                    </a:cubicBezTo>
                    <a:cubicBezTo>
                      <a:pt x="566941" y="277813"/>
                      <a:pt x="566941" y="277813"/>
                      <a:pt x="566941" y="277813"/>
                    </a:cubicBezTo>
                    <a:cubicBezTo>
                      <a:pt x="575489" y="277813"/>
                      <a:pt x="582612" y="270702"/>
                      <a:pt x="582612" y="262170"/>
                    </a:cubicBezTo>
                    <a:lnTo>
                      <a:pt x="582612" y="156932"/>
                    </a:lnTo>
                    <a:cubicBezTo>
                      <a:pt x="582612" y="148399"/>
                      <a:pt x="575489" y="141288"/>
                      <a:pt x="566941" y="141288"/>
                    </a:cubicBezTo>
                    <a:cubicBezTo>
                      <a:pt x="376034" y="141288"/>
                      <a:pt x="376034" y="141288"/>
                      <a:pt x="376034" y="141288"/>
                    </a:cubicBezTo>
                    <a:close/>
                    <a:moveTo>
                      <a:pt x="95159" y="141288"/>
                    </a:moveTo>
                    <a:cubicBezTo>
                      <a:pt x="86550" y="141288"/>
                      <a:pt x="79375" y="148399"/>
                      <a:pt x="79375" y="156932"/>
                    </a:cubicBezTo>
                    <a:cubicBezTo>
                      <a:pt x="79375" y="262170"/>
                      <a:pt x="79375" y="262170"/>
                      <a:pt x="79375" y="262170"/>
                    </a:cubicBezTo>
                    <a:cubicBezTo>
                      <a:pt x="79375" y="270702"/>
                      <a:pt x="86550" y="277813"/>
                      <a:pt x="95159" y="277813"/>
                    </a:cubicBezTo>
                    <a:cubicBezTo>
                      <a:pt x="287430" y="277813"/>
                      <a:pt x="287430" y="277813"/>
                      <a:pt x="287430" y="277813"/>
                    </a:cubicBezTo>
                    <a:cubicBezTo>
                      <a:pt x="296039" y="277813"/>
                      <a:pt x="303213" y="270702"/>
                      <a:pt x="303213" y="262170"/>
                    </a:cubicBezTo>
                    <a:lnTo>
                      <a:pt x="303213" y="156932"/>
                    </a:lnTo>
                    <a:cubicBezTo>
                      <a:pt x="303213" y="148399"/>
                      <a:pt x="296039" y="141288"/>
                      <a:pt x="287430" y="141288"/>
                    </a:cubicBezTo>
                    <a:cubicBezTo>
                      <a:pt x="95159" y="141288"/>
                      <a:pt x="95159" y="141288"/>
                      <a:pt x="95159" y="141288"/>
                    </a:cubicBezTo>
                    <a:close/>
                    <a:moveTo>
                      <a:pt x="0" y="0"/>
                    </a:moveTo>
                    <a:cubicBezTo>
                      <a:pt x="0" y="0"/>
                      <a:pt x="0" y="0"/>
                      <a:pt x="1076325" y="0"/>
                    </a:cubicBezTo>
                    <a:cubicBezTo>
                      <a:pt x="1076325" y="0"/>
                      <a:pt x="1076325" y="0"/>
                      <a:pt x="1076325" y="94919"/>
                    </a:cubicBezTo>
                    <a:cubicBezTo>
                      <a:pt x="1076325" y="94919"/>
                      <a:pt x="1076325" y="94919"/>
                      <a:pt x="727073" y="366828"/>
                    </a:cubicBezTo>
                    <a:cubicBezTo>
                      <a:pt x="719931" y="372537"/>
                      <a:pt x="713503" y="378960"/>
                      <a:pt x="708503" y="386097"/>
                    </a:cubicBezTo>
                    <a:cubicBezTo>
                      <a:pt x="707075" y="387524"/>
                      <a:pt x="705647" y="388952"/>
                      <a:pt x="704932" y="391093"/>
                    </a:cubicBezTo>
                    <a:cubicBezTo>
                      <a:pt x="692076" y="410362"/>
                      <a:pt x="686363" y="433913"/>
                      <a:pt x="688505" y="456751"/>
                    </a:cubicBezTo>
                    <a:cubicBezTo>
                      <a:pt x="688505" y="456751"/>
                      <a:pt x="688505" y="456751"/>
                      <a:pt x="656366" y="481729"/>
                    </a:cubicBezTo>
                    <a:cubicBezTo>
                      <a:pt x="647795" y="488866"/>
                      <a:pt x="643510" y="498857"/>
                      <a:pt x="644224" y="509562"/>
                    </a:cubicBezTo>
                    <a:cubicBezTo>
                      <a:pt x="645652" y="520267"/>
                      <a:pt x="652080" y="529545"/>
                      <a:pt x="661365" y="534541"/>
                    </a:cubicBezTo>
                    <a:cubicBezTo>
                      <a:pt x="661365" y="534541"/>
                      <a:pt x="661365" y="534541"/>
                      <a:pt x="717788" y="563801"/>
                    </a:cubicBezTo>
                    <a:cubicBezTo>
                      <a:pt x="722074" y="565943"/>
                      <a:pt x="727073" y="567370"/>
                      <a:pt x="732073" y="567370"/>
                    </a:cubicBezTo>
                    <a:cubicBezTo>
                      <a:pt x="739215" y="567370"/>
                      <a:pt x="745643" y="565229"/>
                      <a:pt x="751356" y="560947"/>
                    </a:cubicBezTo>
                    <a:cubicBezTo>
                      <a:pt x="751356" y="560947"/>
                      <a:pt x="751356" y="560947"/>
                      <a:pt x="762784" y="552383"/>
                    </a:cubicBezTo>
                    <a:cubicBezTo>
                      <a:pt x="773497" y="555951"/>
                      <a:pt x="784210" y="557378"/>
                      <a:pt x="795638" y="557378"/>
                    </a:cubicBezTo>
                    <a:cubicBezTo>
                      <a:pt x="807780" y="557378"/>
                      <a:pt x="819921" y="555237"/>
                      <a:pt x="831349" y="551669"/>
                    </a:cubicBezTo>
                    <a:cubicBezTo>
                      <a:pt x="841348" y="548101"/>
                      <a:pt x="851347" y="542391"/>
                      <a:pt x="859203" y="535968"/>
                    </a:cubicBezTo>
                    <a:cubicBezTo>
                      <a:pt x="859203" y="535968"/>
                      <a:pt x="859203" y="535968"/>
                      <a:pt x="1076325" y="366828"/>
                    </a:cubicBezTo>
                    <a:cubicBezTo>
                      <a:pt x="1076325" y="366828"/>
                      <a:pt x="1076325" y="366828"/>
                      <a:pt x="1076325" y="806450"/>
                    </a:cubicBezTo>
                    <a:cubicBezTo>
                      <a:pt x="1076325" y="806450"/>
                      <a:pt x="1076325" y="806450"/>
                      <a:pt x="0" y="806450"/>
                    </a:cubicBezTo>
                    <a:cubicBezTo>
                      <a:pt x="0" y="806450"/>
                      <a:pt x="0" y="806450"/>
                      <a:pt x="0"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06787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4581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25"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350" cy="332399"/>
          </a:xfrm>
        </p:spPr>
        <p:txBody>
          <a:bodyPr/>
          <a:lstStyle/>
          <a:p>
            <a:r>
              <a:rPr lang="en-US" dirty="0">
                <a:solidFill>
                  <a:schemeClr val="accent6">
                    <a:lumMod val="75000"/>
                  </a:schemeClr>
                </a:solidFill>
              </a:rPr>
              <a:t>Visuals</a:t>
            </a:r>
          </a:p>
        </p:txBody>
      </p:sp>
      <p:grpSp>
        <p:nvGrpSpPr>
          <p:cNvPr id="45" name="Group 44"/>
          <p:cNvGrpSpPr/>
          <p:nvPr/>
        </p:nvGrpSpPr>
        <p:grpSpPr>
          <a:xfrm>
            <a:off x="575091" y="1752986"/>
            <a:ext cx="11041818" cy="3410494"/>
            <a:chOff x="1569720" y="2251901"/>
            <a:chExt cx="8350352" cy="2579179"/>
          </a:xfrm>
        </p:grpSpPr>
        <p:grpSp>
          <p:nvGrpSpPr>
            <p:cNvPr id="38" name="Group 37"/>
            <p:cNvGrpSpPr>
              <a:grpSpLocks noChangeAspect="1"/>
            </p:cNvGrpSpPr>
            <p:nvPr/>
          </p:nvGrpSpPr>
          <p:grpSpPr>
            <a:xfrm>
              <a:off x="8463707" y="2251901"/>
              <a:ext cx="828428" cy="829230"/>
              <a:chOff x="5273675" y="2514600"/>
              <a:chExt cx="1644650" cy="1646238"/>
            </a:xfrm>
          </p:grpSpPr>
          <p:sp>
            <p:nvSpPr>
              <p:cNvPr id="39" name="AutoShape 91"/>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0" name="Group 39"/>
              <p:cNvGrpSpPr/>
              <p:nvPr/>
            </p:nvGrpSpPr>
            <p:grpSpPr>
              <a:xfrm>
                <a:off x="5508625" y="2774949"/>
                <a:ext cx="1174751" cy="1108076"/>
                <a:chOff x="5508625" y="2774949"/>
                <a:chExt cx="1174751" cy="1108076"/>
              </a:xfrm>
            </p:grpSpPr>
            <p:sp>
              <p:nvSpPr>
                <p:cNvPr id="41" name="Freeform 40"/>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 name="Freeform 95"/>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 name="Group 43"/>
            <p:cNvGrpSpPr/>
            <p:nvPr/>
          </p:nvGrpSpPr>
          <p:grpSpPr>
            <a:xfrm>
              <a:off x="1569720" y="2643525"/>
              <a:ext cx="8350352" cy="2187555"/>
              <a:chOff x="1569720" y="2643525"/>
              <a:chExt cx="8350352" cy="2187555"/>
            </a:xfrm>
          </p:grpSpPr>
          <p:grpSp>
            <p:nvGrpSpPr>
              <p:cNvPr id="12" name="Group 11"/>
              <p:cNvGrpSpPr>
                <a:grpSpLocks noChangeAspect="1"/>
              </p:cNvGrpSpPr>
              <p:nvPr/>
            </p:nvGrpSpPr>
            <p:grpSpPr>
              <a:xfrm>
                <a:off x="4112737" y="2705311"/>
                <a:ext cx="1202450" cy="1203612"/>
                <a:chOff x="5273675" y="2605088"/>
                <a:chExt cx="1644650" cy="1646237"/>
              </a:xfrm>
            </p:grpSpPr>
            <p:sp>
              <p:nvSpPr>
                <p:cNvPr id="13" name="AutoShape 787"/>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 13"/>
                <p:cNvGrpSpPr/>
                <p:nvPr/>
              </p:nvGrpSpPr>
              <p:grpSpPr>
                <a:xfrm>
                  <a:off x="5521325" y="2832100"/>
                  <a:ext cx="1150938" cy="1192213"/>
                  <a:chOff x="5521325" y="2832100"/>
                  <a:chExt cx="1150938" cy="1192213"/>
                </a:xfrm>
              </p:grpSpPr>
              <p:sp>
                <p:nvSpPr>
                  <p:cNvPr id="15" name="Freeform 14"/>
                  <p:cNvSpPr>
                    <a:spLocks noChangeArrowheads="1"/>
                  </p:cNvSpPr>
                  <p:nvPr/>
                </p:nvSpPr>
                <p:spPr bwMode="auto">
                  <a:xfrm>
                    <a:off x="5587999" y="2832100"/>
                    <a:ext cx="1084264" cy="1125538"/>
                  </a:xfrm>
                  <a:custGeom>
                    <a:avLst/>
                    <a:gdLst>
                      <a:gd name="connsiteX0" fmla="*/ 287820 w 1084264"/>
                      <a:gd name="connsiteY0" fmla="*/ 584200 h 1125538"/>
                      <a:gd name="connsiteX1" fmla="*/ 287820 w 1084264"/>
                      <a:gd name="connsiteY1" fmla="*/ 626393 h 1125538"/>
                      <a:gd name="connsiteX2" fmla="*/ 233466 w 1084264"/>
                      <a:gd name="connsiteY2" fmla="*/ 659289 h 1125538"/>
                      <a:gd name="connsiteX3" fmla="*/ 213440 w 1084264"/>
                      <a:gd name="connsiteY3" fmla="*/ 715785 h 1125538"/>
                      <a:gd name="connsiteX4" fmla="*/ 220592 w 1084264"/>
                      <a:gd name="connsiteY4" fmla="*/ 755833 h 1125538"/>
                      <a:gd name="connsiteX5" fmla="*/ 242763 w 1084264"/>
                      <a:gd name="connsiteY5" fmla="*/ 786584 h 1125538"/>
                      <a:gd name="connsiteX6" fmla="*/ 294972 w 1084264"/>
                      <a:gd name="connsiteY6" fmla="*/ 818765 h 1125538"/>
                      <a:gd name="connsiteX7" fmla="*/ 347181 w 1084264"/>
                      <a:gd name="connsiteY7" fmla="*/ 855237 h 1125538"/>
                      <a:gd name="connsiteX8" fmla="*/ 360769 w 1084264"/>
                      <a:gd name="connsiteY8" fmla="*/ 890278 h 1125538"/>
                      <a:gd name="connsiteX9" fmla="*/ 306415 w 1084264"/>
                      <a:gd name="connsiteY9" fmla="*/ 927465 h 1125538"/>
                      <a:gd name="connsiteX10" fmla="*/ 235611 w 1084264"/>
                      <a:gd name="connsiteY10" fmla="*/ 901720 h 1125538"/>
                      <a:gd name="connsiteX11" fmla="*/ 212725 w 1084264"/>
                      <a:gd name="connsiteY11" fmla="*/ 957501 h 1125538"/>
                      <a:gd name="connsiteX12" fmla="*/ 287820 w 1084264"/>
                      <a:gd name="connsiteY12" fmla="*/ 982531 h 1125538"/>
                      <a:gd name="connsiteX13" fmla="*/ 287820 w 1084264"/>
                      <a:gd name="connsiteY13" fmla="*/ 1031875 h 1125538"/>
                      <a:gd name="connsiteX14" fmla="*/ 342174 w 1084264"/>
                      <a:gd name="connsiteY14" fmla="*/ 1031875 h 1125538"/>
                      <a:gd name="connsiteX15" fmla="*/ 342174 w 1084264"/>
                      <a:gd name="connsiteY15" fmla="*/ 977525 h 1125538"/>
                      <a:gd name="connsiteX16" fmla="*/ 400820 w 1084264"/>
                      <a:gd name="connsiteY16" fmla="*/ 943913 h 1125538"/>
                      <a:gd name="connsiteX17" fmla="*/ 422275 w 1084264"/>
                      <a:gd name="connsiteY17" fmla="*/ 885987 h 1125538"/>
                      <a:gd name="connsiteX18" fmla="*/ 413693 w 1084264"/>
                      <a:gd name="connsiteY18" fmla="*/ 843079 h 1125538"/>
                      <a:gd name="connsiteX19" fmla="*/ 390807 w 1084264"/>
                      <a:gd name="connsiteY19" fmla="*/ 810183 h 1125538"/>
                      <a:gd name="connsiteX20" fmla="*/ 340744 w 1084264"/>
                      <a:gd name="connsiteY20" fmla="*/ 777287 h 1125538"/>
                      <a:gd name="connsiteX21" fmla="*/ 274947 w 1084264"/>
                      <a:gd name="connsiteY21" fmla="*/ 715785 h 1125538"/>
                      <a:gd name="connsiteX22" fmla="*/ 287105 w 1084264"/>
                      <a:gd name="connsiteY22" fmla="*/ 687180 h 1125538"/>
                      <a:gd name="connsiteX23" fmla="*/ 319288 w 1084264"/>
                      <a:gd name="connsiteY23" fmla="*/ 675022 h 1125538"/>
                      <a:gd name="connsiteX24" fmla="*/ 387946 w 1084264"/>
                      <a:gd name="connsiteY24" fmla="*/ 698622 h 1125538"/>
                      <a:gd name="connsiteX25" fmla="*/ 405826 w 1084264"/>
                      <a:gd name="connsiteY25" fmla="*/ 645702 h 1125538"/>
                      <a:gd name="connsiteX26" fmla="*/ 342174 w 1084264"/>
                      <a:gd name="connsiteY26" fmla="*/ 623533 h 1125538"/>
                      <a:gd name="connsiteX27" fmla="*/ 342174 w 1084264"/>
                      <a:gd name="connsiteY27" fmla="*/ 584200 h 1125538"/>
                      <a:gd name="connsiteX28" fmla="*/ 287820 w 1084264"/>
                      <a:gd name="connsiteY28" fmla="*/ 584200 h 1125538"/>
                      <a:gd name="connsiteX29" fmla="*/ 316707 w 1084264"/>
                      <a:gd name="connsiteY29" fmla="*/ 490538 h 1125538"/>
                      <a:gd name="connsiteX30" fmla="*/ 633414 w 1084264"/>
                      <a:gd name="connsiteY30" fmla="*/ 808038 h 1125538"/>
                      <a:gd name="connsiteX31" fmla="*/ 316707 w 1084264"/>
                      <a:gd name="connsiteY31" fmla="*/ 1125538 h 1125538"/>
                      <a:gd name="connsiteX32" fmla="*/ 0 w 1084264"/>
                      <a:gd name="connsiteY32" fmla="*/ 808038 h 1125538"/>
                      <a:gd name="connsiteX33" fmla="*/ 316707 w 1084264"/>
                      <a:gd name="connsiteY33" fmla="*/ 490538 h 1125538"/>
                      <a:gd name="connsiteX34" fmla="*/ 715527 w 1084264"/>
                      <a:gd name="connsiteY34" fmla="*/ 0 h 1125538"/>
                      <a:gd name="connsiteX35" fmla="*/ 1084264 w 1084264"/>
                      <a:gd name="connsiteY35" fmla="*/ 370245 h 1125538"/>
                      <a:gd name="connsiteX36" fmla="*/ 727652 w 1084264"/>
                      <a:gd name="connsiteY36" fmla="*/ 739775 h 1125538"/>
                      <a:gd name="connsiteX37" fmla="*/ 726938 w 1084264"/>
                      <a:gd name="connsiteY37" fmla="*/ 734057 h 1125538"/>
                      <a:gd name="connsiteX38" fmla="*/ 721233 w 1084264"/>
                      <a:gd name="connsiteY38" fmla="*/ 708326 h 1125538"/>
                      <a:gd name="connsiteX39" fmla="*/ 1052882 w 1084264"/>
                      <a:gd name="connsiteY39" fmla="*/ 370245 h 1125538"/>
                      <a:gd name="connsiteX40" fmla="*/ 715527 w 1084264"/>
                      <a:gd name="connsiteY40" fmla="*/ 30734 h 1125538"/>
                      <a:gd name="connsiteX41" fmla="*/ 377458 w 1084264"/>
                      <a:gd name="connsiteY41" fmla="*/ 370245 h 1125538"/>
                      <a:gd name="connsiteX42" fmla="*/ 378885 w 1084264"/>
                      <a:gd name="connsiteY42" fmla="*/ 396691 h 1125538"/>
                      <a:gd name="connsiteX43" fmla="*/ 353209 w 1084264"/>
                      <a:gd name="connsiteY43" fmla="*/ 393832 h 1125538"/>
                      <a:gd name="connsiteX44" fmla="*/ 346789 w 1084264"/>
                      <a:gd name="connsiteY44" fmla="*/ 393117 h 1125538"/>
                      <a:gd name="connsiteX45" fmla="*/ 346076 w 1084264"/>
                      <a:gd name="connsiteY45" fmla="*/ 370245 h 1125538"/>
                      <a:gd name="connsiteX46" fmla="*/ 715527 w 1084264"/>
                      <a:gd name="connsiteY46"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84264" h="1125538">
                        <a:moveTo>
                          <a:pt x="287820" y="584200"/>
                        </a:moveTo>
                        <a:cubicBezTo>
                          <a:pt x="287820" y="584200"/>
                          <a:pt x="287820" y="584200"/>
                          <a:pt x="287820" y="626393"/>
                        </a:cubicBezTo>
                        <a:cubicBezTo>
                          <a:pt x="264934" y="632114"/>
                          <a:pt x="247054" y="642841"/>
                          <a:pt x="233466" y="659289"/>
                        </a:cubicBezTo>
                        <a:cubicBezTo>
                          <a:pt x="219877" y="676453"/>
                          <a:pt x="213440" y="694331"/>
                          <a:pt x="213440" y="715785"/>
                        </a:cubicBezTo>
                        <a:cubicBezTo>
                          <a:pt x="213440" y="730803"/>
                          <a:pt x="215586" y="744391"/>
                          <a:pt x="220592" y="755833"/>
                        </a:cubicBezTo>
                        <a:cubicBezTo>
                          <a:pt x="225599" y="767275"/>
                          <a:pt x="232751" y="777287"/>
                          <a:pt x="242763" y="786584"/>
                        </a:cubicBezTo>
                        <a:cubicBezTo>
                          <a:pt x="251345" y="794450"/>
                          <a:pt x="268510" y="805892"/>
                          <a:pt x="294972" y="818765"/>
                        </a:cubicBezTo>
                        <a:cubicBezTo>
                          <a:pt x="320003" y="831637"/>
                          <a:pt x="337883" y="844510"/>
                          <a:pt x="347181" y="855237"/>
                        </a:cubicBezTo>
                        <a:cubicBezTo>
                          <a:pt x="356478" y="865964"/>
                          <a:pt x="360769" y="877406"/>
                          <a:pt x="360769" y="890278"/>
                        </a:cubicBezTo>
                        <a:cubicBezTo>
                          <a:pt x="360769" y="914593"/>
                          <a:pt x="342889" y="927465"/>
                          <a:pt x="306415" y="927465"/>
                        </a:cubicBezTo>
                        <a:cubicBezTo>
                          <a:pt x="282814" y="927465"/>
                          <a:pt x="259928" y="918884"/>
                          <a:pt x="235611" y="901720"/>
                        </a:cubicBezTo>
                        <a:cubicBezTo>
                          <a:pt x="235611" y="901720"/>
                          <a:pt x="235611" y="901720"/>
                          <a:pt x="212725" y="957501"/>
                        </a:cubicBezTo>
                        <a:cubicBezTo>
                          <a:pt x="235611" y="971804"/>
                          <a:pt x="260643" y="980385"/>
                          <a:pt x="287820" y="982531"/>
                        </a:cubicBezTo>
                        <a:cubicBezTo>
                          <a:pt x="287820" y="982531"/>
                          <a:pt x="287820" y="982531"/>
                          <a:pt x="287820" y="1031875"/>
                        </a:cubicBezTo>
                        <a:cubicBezTo>
                          <a:pt x="287820" y="1031875"/>
                          <a:pt x="287820" y="1031875"/>
                          <a:pt x="342174" y="1031875"/>
                        </a:cubicBezTo>
                        <a:cubicBezTo>
                          <a:pt x="342174" y="1031875"/>
                          <a:pt x="342174" y="1031875"/>
                          <a:pt x="342174" y="977525"/>
                        </a:cubicBezTo>
                        <a:cubicBezTo>
                          <a:pt x="367206" y="971089"/>
                          <a:pt x="387231" y="959646"/>
                          <a:pt x="400820" y="943913"/>
                        </a:cubicBezTo>
                        <a:cubicBezTo>
                          <a:pt x="415123" y="926750"/>
                          <a:pt x="422275" y="907442"/>
                          <a:pt x="422275" y="885987"/>
                        </a:cubicBezTo>
                        <a:cubicBezTo>
                          <a:pt x="422275" y="869539"/>
                          <a:pt x="419414" y="855952"/>
                          <a:pt x="413693" y="843079"/>
                        </a:cubicBezTo>
                        <a:cubicBezTo>
                          <a:pt x="408687" y="830922"/>
                          <a:pt x="400820" y="818765"/>
                          <a:pt x="390807" y="810183"/>
                        </a:cubicBezTo>
                        <a:cubicBezTo>
                          <a:pt x="380794" y="799456"/>
                          <a:pt x="363630" y="789444"/>
                          <a:pt x="340744" y="777287"/>
                        </a:cubicBezTo>
                        <a:cubicBezTo>
                          <a:pt x="296402" y="755833"/>
                          <a:pt x="274947" y="735809"/>
                          <a:pt x="274947" y="715785"/>
                        </a:cubicBezTo>
                        <a:cubicBezTo>
                          <a:pt x="274947" y="704343"/>
                          <a:pt x="278523" y="694331"/>
                          <a:pt x="287105" y="687180"/>
                        </a:cubicBezTo>
                        <a:cubicBezTo>
                          <a:pt x="294257" y="679313"/>
                          <a:pt x="304984" y="675022"/>
                          <a:pt x="319288" y="675022"/>
                        </a:cubicBezTo>
                        <a:cubicBezTo>
                          <a:pt x="343605" y="675022"/>
                          <a:pt x="366491" y="682889"/>
                          <a:pt x="387946" y="698622"/>
                        </a:cubicBezTo>
                        <a:cubicBezTo>
                          <a:pt x="387946" y="698622"/>
                          <a:pt x="387946" y="698622"/>
                          <a:pt x="405826" y="645702"/>
                        </a:cubicBezTo>
                        <a:cubicBezTo>
                          <a:pt x="392237" y="633544"/>
                          <a:pt x="370782" y="627108"/>
                          <a:pt x="342174" y="623533"/>
                        </a:cubicBezTo>
                        <a:cubicBezTo>
                          <a:pt x="342174" y="623533"/>
                          <a:pt x="342174" y="623533"/>
                          <a:pt x="342174" y="584200"/>
                        </a:cubicBezTo>
                        <a:cubicBezTo>
                          <a:pt x="342174" y="584200"/>
                          <a:pt x="342174" y="584200"/>
                          <a:pt x="287820" y="584200"/>
                        </a:cubicBezTo>
                        <a:close/>
                        <a:moveTo>
                          <a:pt x="316707" y="490538"/>
                        </a:moveTo>
                        <a:cubicBezTo>
                          <a:pt x="491619" y="490538"/>
                          <a:pt x="633414" y="632688"/>
                          <a:pt x="633414" y="808038"/>
                        </a:cubicBezTo>
                        <a:cubicBezTo>
                          <a:pt x="633414" y="983388"/>
                          <a:pt x="491619" y="1125538"/>
                          <a:pt x="316707" y="1125538"/>
                        </a:cubicBezTo>
                        <a:cubicBezTo>
                          <a:pt x="141795" y="1125538"/>
                          <a:pt x="0" y="983388"/>
                          <a:pt x="0" y="808038"/>
                        </a:cubicBezTo>
                        <a:cubicBezTo>
                          <a:pt x="0" y="632688"/>
                          <a:pt x="141795" y="490538"/>
                          <a:pt x="316707" y="490538"/>
                        </a:cubicBezTo>
                        <a:close/>
                        <a:moveTo>
                          <a:pt x="715527" y="0"/>
                        </a:moveTo>
                        <a:cubicBezTo>
                          <a:pt x="918796" y="0"/>
                          <a:pt x="1084264" y="165824"/>
                          <a:pt x="1084264" y="370245"/>
                        </a:cubicBezTo>
                        <a:cubicBezTo>
                          <a:pt x="1084264" y="570377"/>
                          <a:pt x="925928" y="732628"/>
                          <a:pt x="727652" y="739775"/>
                        </a:cubicBezTo>
                        <a:cubicBezTo>
                          <a:pt x="727652" y="737631"/>
                          <a:pt x="726938" y="735487"/>
                          <a:pt x="726938" y="734057"/>
                        </a:cubicBezTo>
                        <a:cubicBezTo>
                          <a:pt x="725512" y="725480"/>
                          <a:pt x="723372" y="716903"/>
                          <a:pt x="721233" y="708326"/>
                        </a:cubicBezTo>
                        <a:cubicBezTo>
                          <a:pt x="905245" y="704752"/>
                          <a:pt x="1052882" y="554653"/>
                          <a:pt x="1052882" y="370245"/>
                        </a:cubicBezTo>
                        <a:cubicBezTo>
                          <a:pt x="1052882" y="182978"/>
                          <a:pt x="901679" y="30734"/>
                          <a:pt x="715527" y="30734"/>
                        </a:cubicBezTo>
                        <a:cubicBezTo>
                          <a:pt x="529375" y="30734"/>
                          <a:pt x="377458" y="182978"/>
                          <a:pt x="377458" y="370245"/>
                        </a:cubicBezTo>
                        <a:cubicBezTo>
                          <a:pt x="377458" y="378822"/>
                          <a:pt x="378171" y="388114"/>
                          <a:pt x="378885" y="396691"/>
                        </a:cubicBezTo>
                        <a:cubicBezTo>
                          <a:pt x="370326" y="395261"/>
                          <a:pt x="361767" y="394547"/>
                          <a:pt x="353209" y="393832"/>
                        </a:cubicBezTo>
                        <a:cubicBezTo>
                          <a:pt x="351069" y="393832"/>
                          <a:pt x="348929" y="393832"/>
                          <a:pt x="346789" y="393117"/>
                        </a:cubicBezTo>
                        <a:cubicBezTo>
                          <a:pt x="346789" y="385969"/>
                          <a:pt x="346076" y="378107"/>
                          <a:pt x="346076" y="370245"/>
                        </a:cubicBezTo>
                        <a:cubicBezTo>
                          <a:pt x="346076" y="165824"/>
                          <a:pt x="512258" y="0"/>
                          <a:pt x="715527"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 name="Freeform 15"/>
                  <p:cNvSpPr>
                    <a:spLocks/>
                  </p:cNvSpPr>
                  <p:nvPr/>
                </p:nvSpPr>
                <p:spPr bwMode="auto">
                  <a:xfrm>
                    <a:off x="5521325" y="2993034"/>
                    <a:ext cx="999811" cy="1031279"/>
                  </a:xfrm>
                  <a:custGeom>
                    <a:avLst/>
                    <a:gdLst>
                      <a:gd name="connsiteX0" fmla="*/ 383025 w 999811"/>
                      <a:gd name="connsiteY0" fmla="*/ 294679 h 1031279"/>
                      <a:gd name="connsiteX1" fmla="*/ 30163 w 999811"/>
                      <a:gd name="connsiteY1" fmla="*/ 647540 h 1031279"/>
                      <a:gd name="connsiteX2" fmla="*/ 383025 w 999811"/>
                      <a:gd name="connsiteY2" fmla="*/ 1001116 h 1031279"/>
                      <a:gd name="connsiteX3" fmla="*/ 736601 w 999811"/>
                      <a:gd name="connsiteY3" fmla="*/ 647540 h 1031279"/>
                      <a:gd name="connsiteX4" fmla="*/ 729458 w 999811"/>
                      <a:gd name="connsiteY4" fmla="*/ 575397 h 1031279"/>
                      <a:gd name="connsiteX5" fmla="*/ 720887 w 999811"/>
                      <a:gd name="connsiteY5" fmla="*/ 543254 h 1031279"/>
                      <a:gd name="connsiteX6" fmla="*/ 455169 w 999811"/>
                      <a:gd name="connsiteY6" fmla="*/ 301822 h 1031279"/>
                      <a:gd name="connsiteX7" fmla="*/ 421597 w 999811"/>
                      <a:gd name="connsiteY7" fmla="*/ 296822 h 1031279"/>
                      <a:gd name="connsiteX8" fmla="*/ 383025 w 999811"/>
                      <a:gd name="connsiteY8" fmla="*/ 294679 h 1031279"/>
                      <a:gd name="connsiteX9" fmla="*/ 383461 w 999811"/>
                      <a:gd name="connsiteY9" fmla="*/ 262929 h 1031279"/>
                      <a:gd name="connsiteX10" fmla="*/ 415595 w 999811"/>
                      <a:gd name="connsiteY10" fmla="*/ 264357 h 1031279"/>
                      <a:gd name="connsiteX11" fmla="*/ 447728 w 999811"/>
                      <a:gd name="connsiteY11" fmla="*/ 268642 h 1031279"/>
                      <a:gd name="connsiteX12" fmla="*/ 755497 w 999811"/>
                      <a:gd name="connsiteY12" fmla="*/ 547133 h 1031279"/>
                      <a:gd name="connsiteX13" fmla="*/ 762638 w 999811"/>
                      <a:gd name="connsiteY13" fmla="*/ 577838 h 1031279"/>
                      <a:gd name="connsiteX14" fmla="*/ 768350 w 999811"/>
                      <a:gd name="connsiteY14" fmla="*/ 647104 h 1031279"/>
                      <a:gd name="connsiteX15" fmla="*/ 383461 w 999811"/>
                      <a:gd name="connsiteY15" fmla="*/ 1031279 h 1031279"/>
                      <a:gd name="connsiteX16" fmla="*/ 0 w 999811"/>
                      <a:gd name="connsiteY16" fmla="*/ 647104 h 1031279"/>
                      <a:gd name="connsiteX17" fmla="*/ 383461 w 999811"/>
                      <a:gd name="connsiteY17" fmla="*/ 262929 h 1031279"/>
                      <a:gd name="connsiteX18" fmla="*/ 985137 w 999811"/>
                      <a:gd name="connsiteY18" fmla="*/ 133 h 1031279"/>
                      <a:gd name="connsiteX19" fmla="*/ 996010 w 999811"/>
                      <a:gd name="connsiteY19" fmla="*/ 6372 h 1031279"/>
                      <a:gd name="connsiteX20" fmla="*/ 993871 w 999811"/>
                      <a:gd name="connsiteY20" fmla="*/ 29189 h 1031279"/>
                      <a:gd name="connsiteX21" fmla="*/ 786398 w 999811"/>
                      <a:gd name="connsiteY21" fmla="*/ 206733 h 1031279"/>
                      <a:gd name="connsiteX22" fmla="*/ 786398 w 999811"/>
                      <a:gd name="connsiteY22" fmla="*/ 208159 h 1031279"/>
                      <a:gd name="connsiteX23" fmla="*/ 744333 w 999811"/>
                      <a:gd name="connsiteY23" fmla="*/ 250228 h 1031279"/>
                      <a:gd name="connsiteX24" fmla="*/ 702268 w 999811"/>
                      <a:gd name="connsiteY24" fmla="*/ 209586 h 1031279"/>
                      <a:gd name="connsiteX25" fmla="*/ 570370 w 999811"/>
                      <a:gd name="connsiteY25" fmla="*/ 119031 h 1031279"/>
                      <a:gd name="connsiteX26" fmla="*/ 565379 w 999811"/>
                      <a:gd name="connsiteY26" fmla="*/ 96214 h 1031279"/>
                      <a:gd name="connsiteX27" fmla="*/ 587481 w 999811"/>
                      <a:gd name="connsiteY27" fmla="*/ 91223 h 1031279"/>
                      <a:gd name="connsiteX28" fmla="*/ 728648 w 999811"/>
                      <a:gd name="connsiteY28" fmla="*/ 168943 h 1031279"/>
                      <a:gd name="connsiteX29" fmla="*/ 744333 w 999811"/>
                      <a:gd name="connsiteY29" fmla="*/ 166091 h 1031279"/>
                      <a:gd name="connsiteX30" fmla="*/ 755028 w 999811"/>
                      <a:gd name="connsiteY30" fmla="*/ 167517 h 1031279"/>
                      <a:gd name="connsiteX31" fmla="*/ 973195 w 999811"/>
                      <a:gd name="connsiteY31" fmla="*/ 3520 h 1031279"/>
                      <a:gd name="connsiteX32" fmla="*/ 985137 w 999811"/>
                      <a:gd name="connsiteY32" fmla="*/ 133 h 103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99811" h="1031279">
                        <a:moveTo>
                          <a:pt x="383025" y="294679"/>
                        </a:moveTo>
                        <a:cubicBezTo>
                          <a:pt x="188737" y="294679"/>
                          <a:pt x="30163" y="453252"/>
                          <a:pt x="30163" y="647540"/>
                        </a:cubicBezTo>
                        <a:cubicBezTo>
                          <a:pt x="30163" y="842543"/>
                          <a:pt x="188737" y="1001116"/>
                          <a:pt x="383025" y="1001116"/>
                        </a:cubicBezTo>
                        <a:cubicBezTo>
                          <a:pt x="578028" y="1001116"/>
                          <a:pt x="736601" y="842543"/>
                          <a:pt x="736601" y="647540"/>
                        </a:cubicBezTo>
                        <a:cubicBezTo>
                          <a:pt x="736601" y="622540"/>
                          <a:pt x="734458" y="598968"/>
                          <a:pt x="729458" y="575397"/>
                        </a:cubicBezTo>
                        <a:cubicBezTo>
                          <a:pt x="727315" y="564682"/>
                          <a:pt x="724458" y="553968"/>
                          <a:pt x="720887" y="543254"/>
                        </a:cubicBezTo>
                        <a:cubicBezTo>
                          <a:pt x="683029" y="421824"/>
                          <a:pt x="581599" y="328251"/>
                          <a:pt x="455169" y="301822"/>
                        </a:cubicBezTo>
                        <a:cubicBezTo>
                          <a:pt x="444454" y="299679"/>
                          <a:pt x="433026" y="298251"/>
                          <a:pt x="421597" y="296822"/>
                        </a:cubicBezTo>
                        <a:cubicBezTo>
                          <a:pt x="408740" y="295393"/>
                          <a:pt x="395882" y="294679"/>
                          <a:pt x="383025" y="294679"/>
                        </a:cubicBezTo>
                        <a:close/>
                        <a:moveTo>
                          <a:pt x="383461" y="262929"/>
                        </a:moveTo>
                        <a:cubicBezTo>
                          <a:pt x="394172" y="262929"/>
                          <a:pt x="404884" y="263643"/>
                          <a:pt x="415595" y="264357"/>
                        </a:cubicBezTo>
                        <a:cubicBezTo>
                          <a:pt x="426306" y="265071"/>
                          <a:pt x="437017" y="266500"/>
                          <a:pt x="447728" y="268642"/>
                        </a:cubicBezTo>
                        <a:cubicBezTo>
                          <a:pt x="596257" y="293635"/>
                          <a:pt x="716222" y="403603"/>
                          <a:pt x="755497" y="547133"/>
                        </a:cubicBezTo>
                        <a:cubicBezTo>
                          <a:pt x="758353" y="557130"/>
                          <a:pt x="760495" y="567127"/>
                          <a:pt x="762638" y="577838"/>
                        </a:cubicBezTo>
                        <a:cubicBezTo>
                          <a:pt x="766208" y="600689"/>
                          <a:pt x="768350" y="623540"/>
                          <a:pt x="768350" y="647104"/>
                        </a:cubicBezTo>
                        <a:cubicBezTo>
                          <a:pt x="768350" y="859186"/>
                          <a:pt x="596257" y="1031279"/>
                          <a:pt x="383461" y="1031279"/>
                        </a:cubicBezTo>
                        <a:cubicBezTo>
                          <a:pt x="171379" y="1031279"/>
                          <a:pt x="0" y="859186"/>
                          <a:pt x="0" y="647104"/>
                        </a:cubicBezTo>
                        <a:cubicBezTo>
                          <a:pt x="0" y="435736"/>
                          <a:pt x="171379" y="262929"/>
                          <a:pt x="383461" y="262929"/>
                        </a:cubicBezTo>
                        <a:close/>
                        <a:moveTo>
                          <a:pt x="985137" y="133"/>
                        </a:moveTo>
                        <a:cubicBezTo>
                          <a:pt x="989236" y="668"/>
                          <a:pt x="993158" y="2807"/>
                          <a:pt x="996010" y="6372"/>
                        </a:cubicBezTo>
                        <a:cubicBezTo>
                          <a:pt x="1001713" y="13503"/>
                          <a:pt x="1001000" y="23485"/>
                          <a:pt x="993871" y="29189"/>
                        </a:cubicBezTo>
                        <a:lnTo>
                          <a:pt x="786398" y="206733"/>
                        </a:lnTo>
                        <a:cubicBezTo>
                          <a:pt x="786398" y="207446"/>
                          <a:pt x="786398" y="207446"/>
                          <a:pt x="786398" y="208159"/>
                        </a:cubicBezTo>
                        <a:cubicBezTo>
                          <a:pt x="786398" y="230976"/>
                          <a:pt x="767148" y="250228"/>
                          <a:pt x="744333" y="250228"/>
                        </a:cubicBezTo>
                        <a:cubicBezTo>
                          <a:pt x="721518" y="250228"/>
                          <a:pt x="702981" y="232402"/>
                          <a:pt x="702268" y="209586"/>
                        </a:cubicBezTo>
                        <a:cubicBezTo>
                          <a:pt x="702268" y="209586"/>
                          <a:pt x="702268" y="209586"/>
                          <a:pt x="570370" y="119031"/>
                        </a:cubicBezTo>
                        <a:cubicBezTo>
                          <a:pt x="562527" y="114040"/>
                          <a:pt x="560388" y="104057"/>
                          <a:pt x="565379" y="96214"/>
                        </a:cubicBezTo>
                        <a:cubicBezTo>
                          <a:pt x="569657" y="88371"/>
                          <a:pt x="580351" y="86232"/>
                          <a:pt x="587481" y="91223"/>
                        </a:cubicBezTo>
                        <a:cubicBezTo>
                          <a:pt x="587481" y="91223"/>
                          <a:pt x="587481" y="91223"/>
                          <a:pt x="728648" y="168943"/>
                        </a:cubicBezTo>
                        <a:cubicBezTo>
                          <a:pt x="733639" y="166804"/>
                          <a:pt x="738629" y="166091"/>
                          <a:pt x="744333" y="166091"/>
                        </a:cubicBezTo>
                        <a:cubicBezTo>
                          <a:pt x="747898" y="166091"/>
                          <a:pt x="751463" y="166804"/>
                          <a:pt x="755028" y="167517"/>
                        </a:cubicBezTo>
                        <a:cubicBezTo>
                          <a:pt x="755028" y="167517"/>
                          <a:pt x="755028" y="167517"/>
                          <a:pt x="973195" y="3520"/>
                        </a:cubicBezTo>
                        <a:cubicBezTo>
                          <a:pt x="976760" y="668"/>
                          <a:pt x="981037" y="-401"/>
                          <a:pt x="985137" y="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9" name="Group 28"/>
              <p:cNvGrpSpPr/>
              <p:nvPr/>
            </p:nvGrpSpPr>
            <p:grpSpPr>
              <a:xfrm>
                <a:off x="2073278" y="2681518"/>
                <a:ext cx="1202450" cy="1202450"/>
                <a:chOff x="3374803" y="2681518"/>
                <a:chExt cx="1202450" cy="1202450"/>
              </a:xfrm>
            </p:grpSpPr>
            <p:grpSp>
              <p:nvGrpSpPr>
                <p:cNvPr id="8" name="Group 7"/>
                <p:cNvGrpSpPr>
                  <a:grpSpLocks noChangeAspect="1"/>
                </p:cNvGrpSpPr>
                <p:nvPr/>
              </p:nvGrpSpPr>
              <p:grpSpPr>
                <a:xfrm>
                  <a:off x="3444240" y="3054143"/>
                  <a:ext cx="457200" cy="457200"/>
                  <a:chOff x="5867400" y="3200400"/>
                  <a:chExt cx="457200" cy="457200"/>
                </a:xfrm>
              </p:grpSpPr>
              <p:sp>
                <p:nvSpPr>
                  <p:cNvPr id="9" name="AutoShape 95"/>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894388" y="3227388"/>
                    <a:ext cx="403225" cy="403225"/>
                  </a:xfrm>
                  <a:custGeom>
                    <a:avLst/>
                    <a:gdLst>
                      <a:gd name="connsiteX0" fmla="*/ 179101 w 403225"/>
                      <a:gd name="connsiteY0" fmla="*/ 196179 h 403225"/>
                      <a:gd name="connsiteX1" fmla="*/ 176347 w 403225"/>
                      <a:gd name="connsiteY1" fmla="*/ 197553 h 403225"/>
                      <a:gd name="connsiteX2" fmla="*/ 146509 w 403225"/>
                      <a:gd name="connsiteY2" fmla="*/ 324946 h 403225"/>
                      <a:gd name="connsiteX3" fmla="*/ 150182 w 403225"/>
                      <a:gd name="connsiteY3" fmla="*/ 326779 h 403225"/>
                      <a:gd name="connsiteX4" fmla="*/ 221791 w 403225"/>
                      <a:gd name="connsiteY4" fmla="*/ 216800 h 403225"/>
                      <a:gd name="connsiteX5" fmla="*/ 220414 w 403225"/>
                      <a:gd name="connsiteY5" fmla="*/ 213592 h 403225"/>
                      <a:gd name="connsiteX6" fmla="*/ 219037 w 403225"/>
                      <a:gd name="connsiteY6" fmla="*/ 213134 h 403225"/>
                      <a:gd name="connsiteX7" fmla="*/ 216742 w 403225"/>
                      <a:gd name="connsiteY7" fmla="*/ 213592 h 403225"/>
                      <a:gd name="connsiteX8" fmla="*/ 193790 w 403225"/>
                      <a:gd name="connsiteY8" fmla="*/ 219091 h 403225"/>
                      <a:gd name="connsiteX9" fmla="*/ 181855 w 403225"/>
                      <a:gd name="connsiteY9" fmla="*/ 198928 h 403225"/>
                      <a:gd name="connsiteX10" fmla="*/ 180478 w 403225"/>
                      <a:gd name="connsiteY10" fmla="*/ 196637 h 403225"/>
                      <a:gd name="connsiteX11" fmla="*/ 179101 w 403225"/>
                      <a:gd name="connsiteY11" fmla="*/ 196179 h 403225"/>
                      <a:gd name="connsiteX12" fmla="*/ 254631 w 403225"/>
                      <a:gd name="connsiteY12" fmla="*/ 76446 h 403225"/>
                      <a:gd name="connsiteX13" fmla="*/ 183021 w 403225"/>
                      <a:gd name="connsiteY13" fmla="*/ 184161 h 403225"/>
                      <a:gd name="connsiteX14" fmla="*/ 183939 w 403225"/>
                      <a:gd name="connsiteY14" fmla="*/ 186911 h 403225"/>
                      <a:gd name="connsiteX15" fmla="*/ 185776 w 403225"/>
                      <a:gd name="connsiteY15" fmla="*/ 187369 h 403225"/>
                      <a:gd name="connsiteX16" fmla="*/ 188071 w 403225"/>
                      <a:gd name="connsiteY16" fmla="*/ 187369 h 403225"/>
                      <a:gd name="connsiteX17" fmla="*/ 211022 w 403225"/>
                      <a:gd name="connsiteY17" fmla="*/ 181869 h 403225"/>
                      <a:gd name="connsiteX18" fmla="*/ 222957 w 403225"/>
                      <a:gd name="connsiteY18" fmla="*/ 202037 h 403225"/>
                      <a:gd name="connsiteX19" fmla="*/ 223876 w 403225"/>
                      <a:gd name="connsiteY19" fmla="*/ 203870 h 403225"/>
                      <a:gd name="connsiteX20" fmla="*/ 225712 w 403225"/>
                      <a:gd name="connsiteY20" fmla="*/ 204787 h 403225"/>
                      <a:gd name="connsiteX21" fmla="*/ 228466 w 403225"/>
                      <a:gd name="connsiteY21" fmla="*/ 202954 h 403225"/>
                      <a:gd name="connsiteX22" fmla="*/ 258303 w 403225"/>
                      <a:gd name="connsiteY22" fmla="*/ 77821 h 403225"/>
                      <a:gd name="connsiteX23" fmla="*/ 254631 w 403225"/>
                      <a:gd name="connsiteY23" fmla="*/ 76446 h 403225"/>
                      <a:gd name="connsiteX24" fmla="*/ 202407 w 403225"/>
                      <a:gd name="connsiteY24" fmla="*/ 39687 h 403225"/>
                      <a:gd name="connsiteX25" fmla="*/ 316389 w 403225"/>
                      <a:gd name="connsiteY25" fmla="*/ 87393 h 403225"/>
                      <a:gd name="connsiteX26" fmla="*/ 363538 w 403225"/>
                      <a:gd name="connsiteY26" fmla="*/ 201612 h 403225"/>
                      <a:gd name="connsiteX27" fmla="*/ 316389 w 403225"/>
                      <a:gd name="connsiteY27" fmla="*/ 315831 h 403225"/>
                      <a:gd name="connsiteX28" fmla="*/ 202407 w 403225"/>
                      <a:gd name="connsiteY28" fmla="*/ 363537 h 403225"/>
                      <a:gd name="connsiteX29" fmla="*/ 88425 w 403225"/>
                      <a:gd name="connsiteY29" fmla="*/ 315831 h 403225"/>
                      <a:gd name="connsiteX30" fmla="*/ 41275 w 403225"/>
                      <a:gd name="connsiteY30" fmla="*/ 201612 h 403225"/>
                      <a:gd name="connsiteX31" fmla="*/ 88425 w 403225"/>
                      <a:gd name="connsiteY31" fmla="*/ 87393 h 403225"/>
                      <a:gd name="connsiteX32" fmla="*/ 202407 w 403225"/>
                      <a:gd name="connsiteY32" fmla="*/ 39687 h 403225"/>
                      <a:gd name="connsiteX33" fmla="*/ 201612 w 403225"/>
                      <a:gd name="connsiteY33" fmla="*/ 20637 h 403225"/>
                      <a:gd name="connsiteX34" fmla="*/ 73650 w 403225"/>
                      <a:gd name="connsiteY34" fmla="*/ 74206 h 403225"/>
                      <a:gd name="connsiteX35" fmla="*/ 20637 w 403225"/>
                      <a:gd name="connsiteY35" fmla="*/ 202406 h 403225"/>
                      <a:gd name="connsiteX36" fmla="*/ 73650 w 403225"/>
                      <a:gd name="connsiteY36" fmla="*/ 330606 h 403225"/>
                      <a:gd name="connsiteX37" fmla="*/ 201612 w 403225"/>
                      <a:gd name="connsiteY37" fmla="*/ 384175 h 403225"/>
                      <a:gd name="connsiteX38" fmla="*/ 329574 w 403225"/>
                      <a:gd name="connsiteY38" fmla="*/ 330606 h 403225"/>
                      <a:gd name="connsiteX39" fmla="*/ 382587 w 403225"/>
                      <a:gd name="connsiteY39" fmla="*/ 202406 h 403225"/>
                      <a:gd name="connsiteX40" fmla="*/ 329574 w 403225"/>
                      <a:gd name="connsiteY40" fmla="*/ 74206 h 403225"/>
                      <a:gd name="connsiteX41" fmla="*/ 201612 w 403225"/>
                      <a:gd name="connsiteY41" fmla="*/ 20637 h 403225"/>
                      <a:gd name="connsiteX42" fmla="*/ 201613 w 403225"/>
                      <a:gd name="connsiteY42" fmla="*/ 0 h 403225"/>
                      <a:gd name="connsiteX43" fmla="*/ 344116 w 403225"/>
                      <a:gd name="connsiteY43" fmla="*/ 59432 h 403225"/>
                      <a:gd name="connsiteX44" fmla="*/ 403225 w 403225"/>
                      <a:gd name="connsiteY44" fmla="*/ 201613 h 403225"/>
                      <a:gd name="connsiteX45" fmla="*/ 344116 w 403225"/>
                      <a:gd name="connsiteY45" fmla="*/ 343793 h 403225"/>
                      <a:gd name="connsiteX46" fmla="*/ 201613 w 403225"/>
                      <a:gd name="connsiteY46" fmla="*/ 403225 h 403225"/>
                      <a:gd name="connsiteX47" fmla="*/ 59109 w 403225"/>
                      <a:gd name="connsiteY47" fmla="*/ 343793 h 403225"/>
                      <a:gd name="connsiteX48" fmla="*/ 0 w 403225"/>
                      <a:gd name="connsiteY48" fmla="*/ 201613 h 403225"/>
                      <a:gd name="connsiteX49" fmla="*/ 59109 w 403225"/>
                      <a:gd name="connsiteY49" fmla="*/ 59432 h 403225"/>
                      <a:gd name="connsiteX50" fmla="*/ 201613 w 403225"/>
                      <a:gd name="connsiteY50"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3225" h="403225">
                        <a:moveTo>
                          <a:pt x="179101" y="196179"/>
                        </a:moveTo>
                        <a:cubicBezTo>
                          <a:pt x="177724" y="195262"/>
                          <a:pt x="176347" y="196179"/>
                          <a:pt x="176347" y="197553"/>
                        </a:cubicBezTo>
                        <a:cubicBezTo>
                          <a:pt x="146509" y="324946"/>
                          <a:pt x="146509" y="324946"/>
                          <a:pt x="146509" y="324946"/>
                        </a:cubicBezTo>
                        <a:cubicBezTo>
                          <a:pt x="146050" y="327237"/>
                          <a:pt x="148804" y="328612"/>
                          <a:pt x="150182" y="326779"/>
                        </a:cubicBezTo>
                        <a:cubicBezTo>
                          <a:pt x="221791" y="216800"/>
                          <a:pt x="221791" y="216800"/>
                          <a:pt x="221791" y="216800"/>
                        </a:cubicBezTo>
                        <a:cubicBezTo>
                          <a:pt x="222250" y="215883"/>
                          <a:pt x="221791" y="214509"/>
                          <a:pt x="220414" y="213592"/>
                        </a:cubicBezTo>
                        <a:cubicBezTo>
                          <a:pt x="219037" y="213134"/>
                          <a:pt x="219037" y="213134"/>
                          <a:pt x="219037" y="213134"/>
                        </a:cubicBezTo>
                        <a:cubicBezTo>
                          <a:pt x="218119" y="212676"/>
                          <a:pt x="217201" y="213134"/>
                          <a:pt x="216742" y="213592"/>
                        </a:cubicBezTo>
                        <a:cubicBezTo>
                          <a:pt x="211233" y="220007"/>
                          <a:pt x="202512" y="222299"/>
                          <a:pt x="193790" y="219091"/>
                        </a:cubicBezTo>
                        <a:cubicBezTo>
                          <a:pt x="185527" y="215425"/>
                          <a:pt x="181396" y="207177"/>
                          <a:pt x="181855" y="198928"/>
                        </a:cubicBezTo>
                        <a:cubicBezTo>
                          <a:pt x="181855" y="198012"/>
                          <a:pt x="181396" y="197095"/>
                          <a:pt x="180478" y="196637"/>
                        </a:cubicBezTo>
                        <a:cubicBezTo>
                          <a:pt x="179101" y="196179"/>
                          <a:pt x="179101" y="196179"/>
                          <a:pt x="179101" y="196179"/>
                        </a:cubicBezTo>
                        <a:close/>
                        <a:moveTo>
                          <a:pt x="254631" y="76446"/>
                        </a:moveTo>
                        <a:cubicBezTo>
                          <a:pt x="183021" y="184161"/>
                          <a:pt x="183021" y="184161"/>
                          <a:pt x="183021" y="184161"/>
                        </a:cubicBezTo>
                        <a:cubicBezTo>
                          <a:pt x="182562" y="185078"/>
                          <a:pt x="183021" y="186453"/>
                          <a:pt x="183939" y="186911"/>
                        </a:cubicBezTo>
                        <a:cubicBezTo>
                          <a:pt x="185776" y="187369"/>
                          <a:pt x="185776" y="187369"/>
                          <a:pt x="185776" y="187369"/>
                        </a:cubicBezTo>
                        <a:cubicBezTo>
                          <a:pt x="186694" y="187828"/>
                          <a:pt x="187153" y="187828"/>
                          <a:pt x="188071" y="187369"/>
                        </a:cubicBezTo>
                        <a:cubicBezTo>
                          <a:pt x="193579" y="180952"/>
                          <a:pt x="202760" y="178660"/>
                          <a:pt x="211022" y="181869"/>
                        </a:cubicBezTo>
                        <a:cubicBezTo>
                          <a:pt x="218826" y="185536"/>
                          <a:pt x="223876" y="193328"/>
                          <a:pt x="222957" y="202037"/>
                        </a:cubicBezTo>
                        <a:cubicBezTo>
                          <a:pt x="222498" y="202495"/>
                          <a:pt x="223416" y="203412"/>
                          <a:pt x="223876" y="203870"/>
                        </a:cubicBezTo>
                        <a:cubicBezTo>
                          <a:pt x="225712" y="204787"/>
                          <a:pt x="225712" y="204787"/>
                          <a:pt x="225712" y="204787"/>
                        </a:cubicBezTo>
                        <a:cubicBezTo>
                          <a:pt x="226630" y="204787"/>
                          <a:pt x="228007" y="204329"/>
                          <a:pt x="228466" y="202954"/>
                        </a:cubicBezTo>
                        <a:cubicBezTo>
                          <a:pt x="258303" y="77821"/>
                          <a:pt x="258303" y="77821"/>
                          <a:pt x="258303" y="77821"/>
                        </a:cubicBezTo>
                        <a:cubicBezTo>
                          <a:pt x="258762" y="75987"/>
                          <a:pt x="256008" y="74612"/>
                          <a:pt x="254631" y="76446"/>
                        </a:cubicBezTo>
                        <a:close/>
                        <a:moveTo>
                          <a:pt x="202407" y="39687"/>
                        </a:moveTo>
                        <a:cubicBezTo>
                          <a:pt x="245436" y="39687"/>
                          <a:pt x="285719" y="56659"/>
                          <a:pt x="316389" y="87393"/>
                        </a:cubicBezTo>
                        <a:cubicBezTo>
                          <a:pt x="346601" y="117668"/>
                          <a:pt x="363538" y="158493"/>
                          <a:pt x="363538" y="201612"/>
                        </a:cubicBezTo>
                        <a:cubicBezTo>
                          <a:pt x="363538" y="244731"/>
                          <a:pt x="346601" y="285556"/>
                          <a:pt x="316389" y="315831"/>
                        </a:cubicBezTo>
                        <a:cubicBezTo>
                          <a:pt x="286177" y="346565"/>
                          <a:pt x="245436" y="363537"/>
                          <a:pt x="202407" y="363537"/>
                        </a:cubicBezTo>
                        <a:cubicBezTo>
                          <a:pt x="159377" y="363537"/>
                          <a:pt x="119094" y="346565"/>
                          <a:pt x="88425" y="315831"/>
                        </a:cubicBezTo>
                        <a:cubicBezTo>
                          <a:pt x="58212" y="285556"/>
                          <a:pt x="41275" y="244731"/>
                          <a:pt x="41275" y="201612"/>
                        </a:cubicBezTo>
                        <a:cubicBezTo>
                          <a:pt x="41275" y="158493"/>
                          <a:pt x="58212" y="117668"/>
                          <a:pt x="88425" y="87393"/>
                        </a:cubicBezTo>
                        <a:cubicBezTo>
                          <a:pt x="118637" y="56659"/>
                          <a:pt x="159377" y="39687"/>
                          <a:pt x="202407" y="39687"/>
                        </a:cubicBezTo>
                        <a:close/>
                        <a:moveTo>
                          <a:pt x="201612" y="20637"/>
                        </a:moveTo>
                        <a:cubicBezTo>
                          <a:pt x="153169" y="20637"/>
                          <a:pt x="107926" y="39867"/>
                          <a:pt x="73650" y="74206"/>
                        </a:cubicBezTo>
                        <a:cubicBezTo>
                          <a:pt x="39375" y="108088"/>
                          <a:pt x="20637" y="153873"/>
                          <a:pt x="20637" y="202406"/>
                        </a:cubicBezTo>
                        <a:cubicBezTo>
                          <a:pt x="20637" y="250939"/>
                          <a:pt x="39375" y="296725"/>
                          <a:pt x="73650" y="330606"/>
                        </a:cubicBezTo>
                        <a:cubicBezTo>
                          <a:pt x="107926" y="364945"/>
                          <a:pt x="153169" y="384175"/>
                          <a:pt x="201612" y="384175"/>
                        </a:cubicBezTo>
                        <a:cubicBezTo>
                          <a:pt x="250055" y="384175"/>
                          <a:pt x="295299" y="364945"/>
                          <a:pt x="329574" y="330606"/>
                        </a:cubicBezTo>
                        <a:cubicBezTo>
                          <a:pt x="363850" y="296725"/>
                          <a:pt x="382587" y="250939"/>
                          <a:pt x="382587" y="202406"/>
                        </a:cubicBezTo>
                        <a:cubicBezTo>
                          <a:pt x="382587" y="153873"/>
                          <a:pt x="363850" y="108088"/>
                          <a:pt x="329574" y="74206"/>
                        </a:cubicBezTo>
                        <a:cubicBezTo>
                          <a:pt x="295299" y="39867"/>
                          <a:pt x="250055" y="20637"/>
                          <a:pt x="201612" y="20637"/>
                        </a:cubicBezTo>
                        <a:close/>
                        <a:moveTo>
                          <a:pt x="201613" y="0"/>
                        </a:moveTo>
                        <a:cubicBezTo>
                          <a:pt x="255223" y="0"/>
                          <a:pt x="306085" y="21030"/>
                          <a:pt x="344116" y="59432"/>
                        </a:cubicBezTo>
                        <a:cubicBezTo>
                          <a:pt x="382148" y="97378"/>
                          <a:pt x="403225" y="147666"/>
                          <a:pt x="403225" y="201613"/>
                        </a:cubicBezTo>
                        <a:cubicBezTo>
                          <a:pt x="403225" y="255559"/>
                          <a:pt x="382148" y="305848"/>
                          <a:pt x="344116" y="343793"/>
                        </a:cubicBezTo>
                        <a:cubicBezTo>
                          <a:pt x="306085" y="382195"/>
                          <a:pt x="255223" y="403225"/>
                          <a:pt x="201613" y="403225"/>
                        </a:cubicBezTo>
                        <a:cubicBezTo>
                          <a:pt x="148002" y="403225"/>
                          <a:pt x="97141" y="382195"/>
                          <a:pt x="59109" y="343793"/>
                        </a:cubicBezTo>
                        <a:cubicBezTo>
                          <a:pt x="21078" y="305848"/>
                          <a:pt x="0" y="255559"/>
                          <a:pt x="0" y="201613"/>
                        </a:cubicBezTo>
                        <a:cubicBezTo>
                          <a:pt x="0" y="147666"/>
                          <a:pt x="21078" y="97378"/>
                          <a:pt x="59109" y="59432"/>
                        </a:cubicBezTo>
                        <a:cubicBezTo>
                          <a:pt x="97141" y="21030"/>
                          <a:pt x="148002" y="0"/>
                          <a:pt x="201613"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7" name="Group 16"/>
                <p:cNvGrpSpPr>
                  <a:grpSpLocks noChangeAspect="1"/>
                </p:cNvGrpSpPr>
                <p:nvPr/>
              </p:nvGrpSpPr>
              <p:grpSpPr>
                <a:xfrm>
                  <a:off x="3374803" y="2681518"/>
                  <a:ext cx="1202450" cy="1202450"/>
                  <a:chOff x="4234656" y="2600325"/>
                  <a:chExt cx="1657350" cy="1657350"/>
                </a:xfrm>
              </p:grpSpPr>
              <p:sp>
                <p:nvSpPr>
                  <p:cNvPr id="18"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 name="Group 18"/>
                  <p:cNvGrpSpPr/>
                  <p:nvPr/>
                </p:nvGrpSpPr>
                <p:grpSpPr>
                  <a:xfrm>
                    <a:off x="4404519" y="2772126"/>
                    <a:ext cx="1316038" cy="1315687"/>
                    <a:chOff x="4404519" y="2772126"/>
                    <a:chExt cx="1316038" cy="1315687"/>
                  </a:xfrm>
                </p:grpSpPr>
                <p:sp>
                  <p:nvSpPr>
                    <p:cNvPr id="20" name="Freeform 19"/>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rgbClr val="FFFFFF"/>
                    </a:solidFill>
                    <a:ln w="9525" cap="flat" cmpd="sng" algn="ctr">
                      <a:solidFill>
                        <a:srgbClr val="295E7E"/>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sp>
                  <p:nvSpPr>
                    <p:cNvPr id="21"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rgbClr val="03522D"/>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2" name="Group 21"/>
              <p:cNvGrpSpPr>
                <a:grpSpLocks noChangeAspect="1"/>
              </p:cNvGrpSpPr>
              <p:nvPr/>
            </p:nvGrpSpPr>
            <p:grpSpPr>
              <a:xfrm>
                <a:off x="6148883" y="2643525"/>
                <a:ext cx="1327184" cy="1327184"/>
                <a:chOff x="5858669" y="3200400"/>
                <a:chExt cx="457200" cy="457200"/>
              </a:xfrm>
            </p:grpSpPr>
            <p:sp>
              <p:nvSpPr>
                <p:cNvPr id="23" name="AutoShape 4"/>
                <p:cNvSpPr>
                  <a:spLocks noChangeAspect="1" noChangeArrowheads="1" noTextEdit="1"/>
                </p:cNvSpPr>
                <p:nvPr/>
              </p:nvSpPr>
              <p:spPr bwMode="auto">
                <a:xfrm>
                  <a:off x="5858669"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
                <p:cNvSpPr>
                  <a:spLocks noEditPoints="1"/>
                </p:cNvSpPr>
                <p:nvPr/>
              </p:nvSpPr>
              <p:spPr bwMode="auto">
                <a:xfrm>
                  <a:off x="5905500" y="3276600"/>
                  <a:ext cx="363538" cy="322263"/>
                </a:xfrm>
                <a:custGeom>
                  <a:avLst/>
                  <a:gdLst>
                    <a:gd name="T0" fmla="*/ 796 w 796"/>
                    <a:gd name="T1" fmla="*/ 578 h 702"/>
                    <a:gd name="T2" fmla="*/ 538 w 796"/>
                    <a:gd name="T3" fmla="*/ 677 h 702"/>
                    <a:gd name="T4" fmla="*/ 247 w 796"/>
                    <a:gd name="T5" fmla="*/ 623 h 702"/>
                    <a:gd name="T6" fmla="*/ 37 w 796"/>
                    <a:gd name="T7" fmla="*/ 651 h 702"/>
                    <a:gd name="T8" fmla="*/ 239 w 796"/>
                    <a:gd name="T9" fmla="*/ 469 h 702"/>
                    <a:gd name="T10" fmla="*/ 276 w 796"/>
                    <a:gd name="T11" fmla="*/ 555 h 702"/>
                    <a:gd name="T12" fmla="*/ 317 w 796"/>
                    <a:gd name="T13" fmla="*/ 570 h 702"/>
                    <a:gd name="T14" fmla="*/ 317 w 796"/>
                    <a:gd name="T15" fmla="*/ 570 h 702"/>
                    <a:gd name="T16" fmla="*/ 385 w 796"/>
                    <a:gd name="T17" fmla="*/ 522 h 702"/>
                    <a:gd name="T18" fmla="*/ 374 w 796"/>
                    <a:gd name="T19" fmla="*/ 451 h 702"/>
                    <a:gd name="T20" fmla="*/ 371 w 796"/>
                    <a:gd name="T21" fmla="*/ 444 h 702"/>
                    <a:gd name="T22" fmla="*/ 429 w 796"/>
                    <a:gd name="T23" fmla="*/ 441 h 702"/>
                    <a:gd name="T24" fmla="*/ 796 w 796"/>
                    <a:gd name="T25" fmla="*/ 578 h 702"/>
                    <a:gd name="T26" fmla="*/ 92 w 796"/>
                    <a:gd name="T27" fmla="*/ 142 h 702"/>
                    <a:gd name="T28" fmla="*/ 96 w 796"/>
                    <a:gd name="T29" fmla="*/ 147 h 702"/>
                    <a:gd name="T30" fmla="*/ 74 w 796"/>
                    <a:gd name="T31" fmla="*/ 200 h 702"/>
                    <a:gd name="T32" fmla="*/ 107 w 796"/>
                    <a:gd name="T33" fmla="*/ 284 h 702"/>
                    <a:gd name="T34" fmla="*/ 107 w 796"/>
                    <a:gd name="T35" fmla="*/ 284 h 702"/>
                    <a:gd name="T36" fmla="*/ 126 w 796"/>
                    <a:gd name="T37" fmla="*/ 277 h 702"/>
                    <a:gd name="T38" fmla="*/ 126 w 796"/>
                    <a:gd name="T39" fmla="*/ 274 h 702"/>
                    <a:gd name="T40" fmla="*/ 160 w 796"/>
                    <a:gd name="T41" fmla="*/ 165 h 702"/>
                    <a:gd name="T42" fmla="*/ 180 w 796"/>
                    <a:gd name="T43" fmla="*/ 143 h 702"/>
                    <a:gd name="T44" fmla="*/ 186 w 796"/>
                    <a:gd name="T45" fmla="*/ 144 h 702"/>
                    <a:gd name="T46" fmla="*/ 306 w 796"/>
                    <a:gd name="T47" fmla="*/ 521 h 702"/>
                    <a:gd name="T48" fmla="*/ 345 w 796"/>
                    <a:gd name="T49" fmla="*/ 508 h 702"/>
                    <a:gd name="T50" fmla="*/ 257 w 796"/>
                    <a:gd name="T51" fmla="*/ 269 h 702"/>
                    <a:gd name="T52" fmla="*/ 212 w 796"/>
                    <a:gd name="T53" fmla="*/ 139 h 702"/>
                    <a:gd name="T54" fmla="*/ 215 w 796"/>
                    <a:gd name="T55" fmla="*/ 135 h 702"/>
                    <a:gd name="T56" fmla="*/ 293 w 796"/>
                    <a:gd name="T57" fmla="*/ 163 h 702"/>
                    <a:gd name="T58" fmla="*/ 322 w 796"/>
                    <a:gd name="T59" fmla="*/ 197 h 702"/>
                    <a:gd name="T60" fmla="*/ 324 w 796"/>
                    <a:gd name="T61" fmla="*/ 199 h 702"/>
                    <a:gd name="T62" fmla="*/ 343 w 796"/>
                    <a:gd name="T63" fmla="*/ 195 h 702"/>
                    <a:gd name="T64" fmla="*/ 343 w 796"/>
                    <a:gd name="T65" fmla="*/ 195 h 702"/>
                    <a:gd name="T66" fmla="*/ 342 w 796"/>
                    <a:gd name="T67" fmla="*/ 127 h 702"/>
                    <a:gd name="T68" fmla="*/ 287 w 796"/>
                    <a:gd name="T69" fmla="*/ 75 h 702"/>
                    <a:gd name="T70" fmla="*/ 280 w 796"/>
                    <a:gd name="T71" fmla="*/ 73 h 702"/>
                    <a:gd name="T72" fmla="*/ 280 w 796"/>
                    <a:gd name="T73" fmla="*/ 66 h 702"/>
                    <a:gd name="T74" fmla="*/ 327 w 796"/>
                    <a:gd name="T75" fmla="*/ 58 h 702"/>
                    <a:gd name="T76" fmla="*/ 327 w 796"/>
                    <a:gd name="T77" fmla="*/ 58 h 702"/>
                    <a:gd name="T78" fmla="*/ 335 w 796"/>
                    <a:gd name="T79" fmla="*/ 35 h 702"/>
                    <a:gd name="T80" fmla="*/ 334 w 796"/>
                    <a:gd name="T81" fmla="*/ 35 h 702"/>
                    <a:gd name="T82" fmla="*/ 198 w 796"/>
                    <a:gd name="T83" fmla="*/ 51 h 702"/>
                    <a:gd name="T84" fmla="*/ 195 w 796"/>
                    <a:gd name="T85" fmla="*/ 54 h 702"/>
                    <a:gd name="T86" fmla="*/ 189 w 796"/>
                    <a:gd name="T87" fmla="*/ 54 h 702"/>
                    <a:gd name="T88" fmla="*/ 183 w 796"/>
                    <a:gd name="T89" fmla="*/ 45 h 702"/>
                    <a:gd name="T90" fmla="*/ 52 w 796"/>
                    <a:gd name="T91" fmla="*/ 31 h 702"/>
                    <a:gd name="T92" fmla="*/ 52 w 796"/>
                    <a:gd name="T93" fmla="*/ 31 h 702"/>
                    <a:gd name="T94" fmla="*/ 52 w 796"/>
                    <a:gd name="T95" fmla="*/ 31 h 702"/>
                    <a:gd name="T96" fmla="*/ 59 w 796"/>
                    <a:gd name="T97" fmla="*/ 56 h 702"/>
                    <a:gd name="T98" fmla="*/ 59 w 796"/>
                    <a:gd name="T99" fmla="*/ 56 h 702"/>
                    <a:gd name="T100" fmla="*/ 102 w 796"/>
                    <a:gd name="T101" fmla="*/ 67 h 702"/>
                    <a:gd name="T102" fmla="*/ 101 w 796"/>
                    <a:gd name="T103" fmla="*/ 71 h 702"/>
                    <a:gd name="T104" fmla="*/ 101 w 796"/>
                    <a:gd name="T105" fmla="*/ 71 h 702"/>
                    <a:gd name="T106" fmla="*/ 4 w 796"/>
                    <a:gd name="T107" fmla="*/ 180 h 702"/>
                    <a:gd name="T108" fmla="*/ 4 w 796"/>
                    <a:gd name="T109" fmla="*/ 180 h 702"/>
                    <a:gd name="T110" fmla="*/ 4 w 796"/>
                    <a:gd name="T111" fmla="*/ 183 h 702"/>
                    <a:gd name="T112" fmla="*/ 25 w 796"/>
                    <a:gd name="T113" fmla="*/ 188 h 702"/>
                    <a:gd name="T114" fmla="*/ 26 w 796"/>
                    <a:gd name="T115" fmla="*/ 188 h 702"/>
                    <a:gd name="T116" fmla="*/ 92 w 796"/>
                    <a:gd name="T117" fmla="*/ 14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6" h="702">
                      <a:moveTo>
                        <a:pt x="796" y="578"/>
                      </a:moveTo>
                      <a:cubicBezTo>
                        <a:pt x="791" y="578"/>
                        <a:pt x="669" y="651"/>
                        <a:pt x="538" y="677"/>
                      </a:cubicBezTo>
                      <a:cubicBezTo>
                        <a:pt x="414" y="702"/>
                        <a:pt x="324" y="643"/>
                        <a:pt x="247" y="623"/>
                      </a:cubicBezTo>
                      <a:cubicBezTo>
                        <a:pt x="194" y="610"/>
                        <a:pt x="146" y="593"/>
                        <a:pt x="37" y="651"/>
                      </a:cubicBezTo>
                      <a:cubicBezTo>
                        <a:pt x="40" y="575"/>
                        <a:pt x="121" y="506"/>
                        <a:pt x="239" y="469"/>
                      </a:cubicBezTo>
                      <a:cubicBezTo>
                        <a:pt x="259" y="536"/>
                        <a:pt x="265" y="545"/>
                        <a:pt x="276" y="555"/>
                      </a:cubicBezTo>
                      <a:cubicBezTo>
                        <a:pt x="288" y="565"/>
                        <a:pt x="302" y="570"/>
                        <a:pt x="317" y="570"/>
                      </a:cubicBezTo>
                      <a:cubicBezTo>
                        <a:pt x="317" y="570"/>
                        <a:pt x="317" y="570"/>
                        <a:pt x="317" y="570"/>
                      </a:cubicBezTo>
                      <a:cubicBezTo>
                        <a:pt x="349" y="570"/>
                        <a:pt x="377" y="546"/>
                        <a:pt x="385" y="522"/>
                      </a:cubicBezTo>
                      <a:cubicBezTo>
                        <a:pt x="391" y="503"/>
                        <a:pt x="386" y="486"/>
                        <a:pt x="374" y="451"/>
                      </a:cubicBezTo>
                      <a:cubicBezTo>
                        <a:pt x="373" y="449"/>
                        <a:pt x="372" y="446"/>
                        <a:pt x="371" y="444"/>
                      </a:cubicBezTo>
                      <a:cubicBezTo>
                        <a:pt x="390" y="442"/>
                        <a:pt x="409" y="441"/>
                        <a:pt x="429" y="441"/>
                      </a:cubicBezTo>
                      <a:cubicBezTo>
                        <a:pt x="597" y="441"/>
                        <a:pt x="741" y="498"/>
                        <a:pt x="796" y="578"/>
                      </a:cubicBezTo>
                      <a:close/>
                      <a:moveTo>
                        <a:pt x="92" y="142"/>
                      </a:moveTo>
                      <a:cubicBezTo>
                        <a:pt x="95" y="141"/>
                        <a:pt x="98" y="144"/>
                        <a:pt x="96" y="147"/>
                      </a:cubicBezTo>
                      <a:cubicBezTo>
                        <a:pt x="84" y="164"/>
                        <a:pt x="77" y="181"/>
                        <a:pt x="74" y="200"/>
                      </a:cubicBezTo>
                      <a:cubicBezTo>
                        <a:pt x="70" y="234"/>
                        <a:pt x="83" y="261"/>
                        <a:pt x="107" y="284"/>
                      </a:cubicBezTo>
                      <a:cubicBezTo>
                        <a:pt x="107" y="284"/>
                        <a:pt x="107" y="284"/>
                        <a:pt x="107" y="284"/>
                      </a:cubicBezTo>
                      <a:cubicBezTo>
                        <a:pt x="114" y="290"/>
                        <a:pt x="125" y="286"/>
                        <a:pt x="126" y="277"/>
                      </a:cubicBezTo>
                      <a:cubicBezTo>
                        <a:pt x="126" y="276"/>
                        <a:pt x="126" y="275"/>
                        <a:pt x="126" y="274"/>
                      </a:cubicBezTo>
                      <a:cubicBezTo>
                        <a:pt x="130" y="227"/>
                        <a:pt x="134" y="197"/>
                        <a:pt x="160" y="165"/>
                      </a:cubicBezTo>
                      <a:cubicBezTo>
                        <a:pt x="166" y="158"/>
                        <a:pt x="173" y="151"/>
                        <a:pt x="180" y="143"/>
                      </a:cubicBezTo>
                      <a:cubicBezTo>
                        <a:pt x="182" y="141"/>
                        <a:pt x="185" y="141"/>
                        <a:pt x="186" y="144"/>
                      </a:cubicBezTo>
                      <a:cubicBezTo>
                        <a:pt x="213" y="201"/>
                        <a:pt x="290" y="508"/>
                        <a:pt x="306" y="521"/>
                      </a:cubicBezTo>
                      <a:cubicBezTo>
                        <a:pt x="322" y="535"/>
                        <a:pt x="342" y="517"/>
                        <a:pt x="345" y="508"/>
                      </a:cubicBezTo>
                      <a:cubicBezTo>
                        <a:pt x="349" y="498"/>
                        <a:pt x="329" y="451"/>
                        <a:pt x="257" y="269"/>
                      </a:cubicBezTo>
                      <a:cubicBezTo>
                        <a:pt x="224" y="186"/>
                        <a:pt x="218" y="176"/>
                        <a:pt x="212" y="139"/>
                      </a:cubicBezTo>
                      <a:cubicBezTo>
                        <a:pt x="211" y="137"/>
                        <a:pt x="213" y="135"/>
                        <a:pt x="215" y="135"/>
                      </a:cubicBezTo>
                      <a:cubicBezTo>
                        <a:pt x="244" y="134"/>
                        <a:pt x="272" y="140"/>
                        <a:pt x="293" y="163"/>
                      </a:cubicBezTo>
                      <a:cubicBezTo>
                        <a:pt x="304" y="173"/>
                        <a:pt x="313" y="186"/>
                        <a:pt x="322" y="197"/>
                      </a:cubicBezTo>
                      <a:cubicBezTo>
                        <a:pt x="323" y="198"/>
                        <a:pt x="323" y="198"/>
                        <a:pt x="324" y="199"/>
                      </a:cubicBezTo>
                      <a:cubicBezTo>
                        <a:pt x="330" y="206"/>
                        <a:pt x="341" y="204"/>
                        <a:pt x="343" y="195"/>
                      </a:cubicBezTo>
                      <a:cubicBezTo>
                        <a:pt x="343" y="195"/>
                        <a:pt x="343" y="195"/>
                        <a:pt x="343" y="195"/>
                      </a:cubicBezTo>
                      <a:cubicBezTo>
                        <a:pt x="349" y="172"/>
                        <a:pt x="349" y="149"/>
                        <a:pt x="342" y="127"/>
                      </a:cubicBezTo>
                      <a:cubicBezTo>
                        <a:pt x="333" y="100"/>
                        <a:pt x="314" y="83"/>
                        <a:pt x="287" y="75"/>
                      </a:cubicBezTo>
                      <a:cubicBezTo>
                        <a:pt x="285" y="74"/>
                        <a:pt x="283" y="74"/>
                        <a:pt x="280" y="73"/>
                      </a:cubicBezTo>
                      <a:cubicBezTo>
                        <a:pt x="276" y="72"/>
                        <a:pt x="276" y="67"/>
                        <a:pt x="280" y="66"/>
                      </a:cubicBezTo>
                      <a:cubicBezTo>
                        <a:pt x="294" y="62"/>
                        <a:pt x="306" y="60"/>
                        <a:pt x="327" y="58"/>
                      </a:cubicBezTo>
                      <a:cubicBezTo>
                        <a:pt x="327" y="58"/>
                        <a:pt x="327" y="58"/>
                        <a:pt x="327" y="58"/>
                      </a:cubicBezTo>
                      <a:cubicBezTo>
                        <a:pt x="339" y="56"/>
                        <a:pt x="343" y="43"/>
                        <a:pt x="335" y="35"/>
                      </a:cubicBezTo>
                      <a:cubicBezTo>
                        <a:pt x="335" y="35"/>
                        <a:pt x="334" y="35"/>
                        <a:pt x="334" y="35"/>
                      </a:cubicBezTo>
                      <a:cubicBezTo>
                        <a:pt x="294" y="1"/>
                        <a:pt x="233" y="8"/>
                        <a:pt x="198" y="51"/>
                      </a:cubicBezTo>
                      <a:cubicBezTo>
                        <a:pt x="197" y="51"/>
                        <a:pt x="196" y="53"/>
                        <a:pt x="195" y="54"/>
                      </a:cubicBezTo>
                      <a:cubicBezTo>
                        <a:pt x="194" y="56"/>
                        <a:pt x="190" y="56"/>
                        <a:pt x="189" y="54"/>
                      </a:cubicBezTo>
                      <a:cubicBezTo>
                        <a:pt x="187" y="51"/>
                        <a:pt x="185" y="48"/>
                        <a:pt x="183" y="45"/>
                      </a:cubicBezTo>
                      <a:cubicBezTo>
                        <a:pt x="148" y="6"/>
                        <a:pt x="94" y="0"/>
                        <a:pt x="52" y="31"/>
                      </a:cubicBezTo>
                      <a:cubicBezTo>
                        <a:pt x="52" y="31"/>
                        <a:pt x="52" y="31"/>
                        <a:pt x="52" y="31"/>
                      </a:cubicBezTo>
                      <a:cubicBezTo>
                        <a:pt x="52" y="31"/>
                        <a:pt x="52" y="31"/>
                        <a:pt x="52" y="31"/>
                      </a:cubicBezTo>
                      <a:cubicBezTo>
                        <a:pt x="42" y="39"/>
                        <a:pt x="47" y="53"/>
                        <a:pt x="59" y="56"/>
                      </a:cubicBezTo>
                      <a:cubicBezTo>
                        <a:pt x="59" y="56"/>
                        <a:pt x="59" y="56"/>
                        <a:pt x="59" y="56"/>
                      </a:cubicBezTo>
                      <a:cubicBezTo>
                        <a:pt x="71" y="58"/>
                        <a:pt x="91" y="64"/>
                        <a:pt x="102" y="67"/>
                      </a:cubicBezTo>
                      <a:cubicBezTo>
                        <a:pt x="104" y="68"/>
                        <a:pt x="104" y="71"/>
                        <a:pt x="101" y="71"/>
                      </a:cubicBezTo>
                      <a:cubicBezTo>
                        <a:pt x="101" y="71"/>
                        <a:pt x="101" y="71"/>
                        <a:pt x="101" y="71"/>
                      </a:cubicBezTo>
                      <a:cubicBezTo>
                        <a:pt x="42" y="76"/>
                        <a:pt x="0" y="122"/>
                        <a:pt x="4" y="180"/>
                      </a:cubicBezTo>
                      <a:cubicBezTo>
                        <a:pt x="4" y="180"/>
                        <a:pt x="4" y="180"/>
                        <a:pt x="4" y="180"/>
                      </a:cubicBezTo>
                      <a:cubicBezTo>
                        <a:pt x="4" y="181"/>
                        <a:pt x="4" y="182"/>
                        <a:pt x="4" y="183"/>
                      </a:cubicBezTo>
                      <a:cubicBezTo>
                        <a:pt x="6" y="192"/>
                        <a:pt x="19" y="196"/>
                        <a:pt x="25" y="188"/>
                      </a:cubicBezTo>
                      <a:cubicBezTo>
                        <a:pt x="25" y="188"/>
                        <a:pt x="26" y="188"/>
                        <a:pt x="26" y="188"/>
                      </a:cubicBezTo>
                      <a:cubicBezTo>
                        <a:pt x="43" y="167"/>
                        <a:pt x="66" y="151"/>
                        <a:pt x="92" y="142"/>
                      </a:cubicBezTo>
                      <a:close/>
                    </a:path>
                  </a:pathLst>
                </a:custGeom>
                <a:solidFill>
                  <a:srgbClr val="295E7E"/>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6" name="TextBox 25"/>
              <p:cNvSpPr txBox="1"/>
              <p:nvPr/>
            </p:nvSpPr>
            <p:spPr>
              <a:xfrm>
                <a:off x="1569720" y="4130236"/>
                <a:ext cx="2087880" cy="7008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Routes by Airline</a:t>
                </a:r>
              </a:p>
            </p:txBody>
          </p:sp>
          <p:sp>
            <p:nvSpPr>
              <p:cNvPr id="27" name="TextBox 26"/>
              <p:cNvSpPr txBox="1"/>
              <p:nvPr/>
            </p:nvSpPr>
            <p:spPr>
              <a:xfrm>
                <a:off x="3762629" y="4121892"/>
                <a:ext cx="1902666" cy="7008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Revenue</a:t>
                </a:r>
              </a:p>
            </p:txBody>
          </p:sp>
          <p:sp>
            <p:nvSpPr>
              <p:cNvPr id="28" name="TextBox 27"/>
              <p:cNvSpPr txBox="1"/>
              <p:nvPr/>
            </p:nvSpPr>
            <p:spPr>
              <a:xfrm>
                <a:off x="5770324" y="4121891"/>
                <a:ext cx="2084303" cy="7008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Top Destinations</a:t>
                </a:r>
              </a:p>
            </p:txBody>
          </p:sp>
          <p:grpSp>
            <p:nvGrpSpPr>
              <p:cNvPr id="35" name="bcgBugs_Plane"/>
              <p:cNvGrpSpPr>
                <a:grpSpLocks noChangeAspect="1"/>
              </p:cNvGrpSpPr>
              <p:nvPr/>
            </p:nvGrpSpPr>
            <p:grpSpPr bwMode="auto">
              <a:xfrm>
                <a:off x="8309763" y="2829728"/>
                <a:ext cx="982372" cy="983332"/>
                <a:chOff x="2818" y="1137"/>
                <a:chExt cx="2044" cy="2046"/>
              </a:xfrm>
            </p:grpSpPr>
            <p:sp>
              <p:nvSpPr>
                <p:cNvPr id="3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7835769" y="4114877"/>
                <a:ext cx="2084303" cy="7008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Flight Paths</a:t>
                </a:r>
              </a:p>
            </p:txBody>
          </p:sp>
        </p:grpSp>
      </p:grpSp>
    </p:spTree>
    <p:extLst>
      <p:ext uri="{BB962C8B-B14F-4D97-AF65-F5344CB8AC3E}">
        <p14:creationId xmlns:p14="http://schemas.microsoft.com/office/powerpoint/2010/main" val="303958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100000">
              <a:srgbClr val="527083"/>
            </a:gs>
            <a:gs pos="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8951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10"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pPr algn="ctr"/>
            <a:r>
              <a:rPr lang="en-US" sz="3600" dirty="0"/>
              <a:t>Process</a:t>
            </a:r>
          </a:p>
        </p:txBody>
      </p:sp>
      <p:grpSp>
        <p:nvGrpSpPr>
          <p:cNvPr id="10" name="Group 9"/>
          <p:cNvGrpSpPr>
            <a:grpSpLocks noChangeAspect="1"/>
          </p:cNvGrpSpPr>
          <p:nvPr/>
        </p:nvGrpSpPr>
        <p:grpSpPr>
          <a:xfrm>
            <a:off x="10205760" y="4732565"/>
            <a:ext cx="1646238" cy="1644650"/>
            <a:chOff x="5273675" y="2606675"/>
            <a:chExt cx="1646238" cy="1644650"/>
          </a:xfrm>
        </p:grpSpPr>
        <p:sp>
          <p:nvSpPr>
            <p:cNvPr id="11"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5608638" y="2881313"/>
              <a:ext cx="977900" cy="1093788"/>
              <a:chOff x="5608638" y="2881313"/>
              <a:chExt cx="977900" cy="1093788"/>
            </a:xfrm>
          </p:grpSpPr>
          <p:sp>
            <p:nvSpPr>
              <p:cNvPr id="13" name="Freeform 12"/>
              <p:cNvSpPr>
                <a:spLocks/>
              </p:cNvSpPr>
              <p:nvPr/>
            </p:nvSpPr>
            <p:spPr bwMode="auto">
              <a:xfrm>
                <a:off x="5608638" y="2881313"/>
                <a:ext cx="977900" cy="1093788"/>
              </a:xfrm>
              <a:custGeom>
                <a:avLst/>
                <a:gdLst>
                  <a:gd name="connsiteX0" fmla="*/ 488514 w 977900"/>
                  <a:gd name="connsiteY0" fmla="*/ 61912 h 1093788"/>
                  <a:gd name="connsiteX1" fmla="*/ 917575 w 977900"/>
                  <a:gd name="connsiteY1" fmla="*/ 219512 h 1093788"/>
                  <a:gd name="connsiteX2" fmla="*/ 488514 w 977900"/>
                  <a:gd name="connsiteY2" fmla="*/ 377825 h 1093788"/>
                  <a:gd name="connsiteX3" fmla="*/ 58737 w 977900"/>
                  <a:gd name="connsiteY3" fmla="*/ 224504 h 1093788"/>
                  <a:gd name="connsiteX4" fmla="*/ 58737 w 977900"/>
                  <a:gd name="connsiteY4" fmla="*/ 215233 h 1093788"/>
                  <a:gd name="connsiteX5" fmla="*/ 488514 w 977900"/>
                  <a:gd name="connsiteY5" fmla="*/ 61912 h 1093788"/>
                  <a:gd name="connsiteX6" fmla="*/ 477508 w 977900"/>
                  <a:gd name="connsiteY6" fmla="*/ 28575 h 1093788"/>
                  <a:gd name="connsiteX7" fmla="*/ 173585 w 977900"/>
                  <a:gd name="connsiteY7" fmla="*/ 78482 h 1093788"/>
                  <a:gd name="connsiteX8" fmla="*/ 172155 w 977900"/>
                  <a:gd name="connsiteY8" fmla="*/ 79195 h 1093788"/>
                  <a:gd name="connsiteX9" fmla="*/ 165719 w 977900"/>
                  <a:gd name="connsiteY9" fmla="*/ 81334 h 1093788"/>
                  <a:gd name="connsiteX10" fmla="*/ 164289 w 977900"/>
                  <a:gd name="connsiteY10" fmla="*/ 82047 h 1093788"/>
                  <a:gd name="connsiteX11" fmla="*/ 157138 w 977900"/>
                  <a:gd name="connsiteY11" fmla="*/ 84899 h 1093788"/>
                  <a:gd name="connsiteX12" fmla="*/ 149271 w 977900"/>
                  <a:gd name="connsiteY12" fmla="*/ 88463 h 1093788"/>
                  <a:gd name="connsiteX13" fmla="*/ 144981 w 977900"/>
                  <a:gd name="connsiteY13" fmla="*/ 89889 h 1093788"/>
                  <a:gd name="connsiteX14" fmla="*/ 142835 w 977900"/>
                  <a:gd name="connsiteY14" fmla="*/ 91315 h 1093788"/>
                  <a:gd name="connsiteX15" fmla="*/ 50586 w 977900"/>
                  <a:gd name="connsiteY15" fmla="*/ 153342 h 1093788"/>
                  <a:gd name="connsiteX16" fmla="*/ 49156 w 977900"/>
                  <a:gd name="connsiteY16" fmla="*/ 154768 h 1093788"/>
                  <a:gd name="connsiteX17" fmla="*/ 47726 w 977900"/>
                  <a:gd name="connsiteY17" fmla="*/ 156907 h 1093788"/>
                  <a:gd name="connsiteX18" fmla="*/ 44150 w 977900"/>
                  <a:gd name="connsiteY18" fmla="*/ 161185 h 1093788"/>
                  <a:gd name="connsiteX19" fmla="*/ 43435 w 977900"/>
                  <a:gd name="connsiteY19" fmla="*/ 161898 h 1093788"/>
                  <a:gd name="connsiteX20" fmla="*/ 41289 w 977900"/>
                  <a:gd name="connsiteY20" fmla="*/ 165463 h 1093788"/>
                  <a:gd name="connsiteX21" fmla="*/ 39859 w 977900"/>
                  <a:gd name="connsiteY21" fmla="*/ 167602 h 1093788"/>
                  <a:gd name="connsiteX22" fmla="*/ 38429 w 977900"/>
                  <a:gd name="connsiteY22" fmla="*/ 169740 h 1093788"/>
                  <a:gd name="connsiteX23" fmla="*/ 36999 w 977900"/>
                  <a:gd name="connsiteY23" fmla="*/ 171879 h 1093788"/>
                  <a:gd name="connsiteX24" fmla="*/ 36284 w 977900"/>
                  <a:gd name="connsiteY24" fmla="*/ 174018 h 1093788"/>
                  <a:gd name="connsiteX25" fmla="*/ 34853 w 977900"/>
                  <a:gd name="connsiteY25" fmla="*/ 176870 h 1093788"/>
                  <a:gd name="connsiteX26" fmla="*/ 34138 w 977900"/>
                  <a:gd name="connsiteY26" fmla="*/ 178296 h 1093788"/>
                  <a:gd name="connsiteX27" fmla="*/ 32708 w 977900"/>
                  <a:gd name="connsiteY27" fmla="*/ 181148 h 1093788"/>
                  <a:gd name="connsiteX28" fmla="*/ 31993 w 977900"/>
                  <a:gd name="connsiteY28" fmla="*/ 182574 h 1093788"/>
                  <a:gd name="connsiteX29" fmla="*/ 31278 w 977900"/>
                  <a:gd name="connsiteY29" fmla="*/ 186138 h 1093788"/>
                  <a:gd name="connsiteX30" fmla="*/ 30563 w 977900"/>
                  <a:gd name="connsiteY30" fmla="*/ 187564 h 1093788"/>
                  <a:gd name="connsiteX31" fmla="*/ 29848 w 977900"/>
                  <a:gd name="connsiteY31" fmla="*/ 190416 h 1093788"/>
                  <a:gd name="connsiteX32" fmla="*/ 29133 w 977900"/>
                  <a:gd name="connsiteY32" fmla="*/ 191842 h 1093788"/>
                  <a:gd name="connsiteX33" fmla="*/ 28417 w 977900"/>
                  <a:gd name="connsiteY33" fmla="*/ 195407 h 1093788"/>
                  <a:gd name="connsiteX34" fmla="*/ 28417 w 977900"/>
                  <a:gd name="connsiteY34" fmla="*/ 196833 h 1093788"/>
                  <a:gd name="connsiteX35" fmla="*/ 27702 w 977900"/>
                  <a:gd name="connsiteY35" fmla="*/ 199685 h 1093788"/>
                  <a:gd name="connsiteX36" fmla="*/ 27702 w 977900"/>
                  <a:gd name="connsiteY36" fmla="*/ 201823 h 1093788"/>
                  <a:gd name="connsiteX37" fmla="*/ 26987 w 977900"/>
                  <a:gd name="connsiteY37" fmla="*/ 203962 h 1093788"/>
                  <a:gd name="connsiteX38" fmla="*/ 26987 w 977900"/>
                  <a:gd name="connsiteY38" fmla="*/ 208953 h 1093788"/>
                  <a:gd name="connsiteX39" fmla="*/ 26987 w 977900"/>
                  <a:gd name="connsiteY39" fmla="*/ 210379 h 1093788"/>
                  <a:gd name="connsiteX40" fmla="*/ 26987 w 977900"/>
                  <a:gd name="connsiteY40" fmla="*/ 211092 h 1093788"/>
                  <a:gd name="connsiteX41" fmla="*/ 26987 w 977900"/>
                  <a:gd name="connsiteY41" fmla="*/ 211805 h 1093788"/>
                  <a:gd name="connsiteX42" fmla="*/ 26987 w 977900"/>
                  <a:gd name="connsiteY42" fmla="*/ 215370 h 1093788"/>
                  <a:gd name="connsiteX43" fmla="*/ 27702 w 977900"/>
                  <a:gd name="connsiteY43" fmla="*/ 217508 h 1093788"/>
                  <a:gd name="connsiteX44" fmla="*/ 27702 w 977900"/>
                  <a:gd name="connsiteY44" fmla="*/ 876280 h 1093788"/>
                  <a:gd name="connsiteX45" fmla="*/ 26987 w 977900"/>
                  <a:gd name="connsiteY45" fmla="*/ 878419 h 1093788"/>
                  <a:gd name="connsiteX46" fmla="*/ 26987 w 977900"/>
                  <a:gd name="connsiteY46" fmla="*/ 881983 h 1093788"/>
                  <a:gd name="connsiteX47" fmla="*/ 26987 w 977900"/>
                  <a:gd name="connsiteY47" fmla="*/ 882696 h 1093788"/>
                  <a:gd name="connsiteX48" fmla="*/ 26987 w 977900"/>
                  <a:gd name="connsiteY48" fmla="*/ 883409 h 1093788"/>
                  <a:gd name="connsiteX49" fmla="*/ 26987 w 977900"/>
                  <a:gd name="connsiteY49" fmla="*/ 884835 h 1093788"/>
                  <a:gd name="connsiteX50" fmla="*/ 26987 w 977900"/>
                  <a:gd name="connsiteY50" fmla="*/ 889826 h 1093788"/>
                  <a:gd name="connsiteX51" fmla="*/ 27702 w 977900"/>
                  <a:gd name="connsiteY51" fmla="*/ 891965 h 1093788"/>
                  <a:gd name="connsiteX52" fmla="*/ 27702 w 977900"/>
                  <a:gd name="connsiteY52" fmla="*/ 894104 h 1093788"/>
                  <a:gd name="connsiteX53" fmla="*/ 28417 w 977900"/>
                  <a:gd name="connsiteY53" fmla="*/ 896956 h 1093788"/>
                  <a:gd name="connsiteX54" fmla="*/ 28417 w 977900"/>
                  <a:gd name="connsiteY54" fmla="*/ 898381 h 1093788"/>
                  <a:gd name="connsiteX55" fmla="*/ 29133 w 977900"/>
                  <a:gd name="connsiteY55" fmla="*/ 901946 h 1093788"/>
                  <a:gd name="connsiteX56" fmla="*/ 29848 w 977900"/>
                  <a:gd name="connsiteY56" fmla="*/ 903372 h 1093788"/>
                  <a:gd name="connsiteX57" fmla="*/ 30563 w 977900"/>
                  <a:gd name="connsiteY57" fmla="*/ 906224 h 1093788"/>
                  <a:gd name="connsiteX58" fmla="*/ 31278 w 977900"/>
                  <a:gd name="connsiteY58" fmla="*/ 907650 h 1093788"/>
                  <a:gd name="connsiteX59" fmla="*/ 31993 w 977900"/>
                  <a:gd name="connsiteY59" fmla="*/ 911215 h 1093788"/>
                  <a:gd name="connsiteX60" fmla="*/ 32708 w 977900"/>
                  <a:gd name="connsiteY60" fmla="*/ 912641 h 1093788"/>
                  <a:gd name="connsiteX61" fmla="*/ 34138 w 977900"/>
                  <a:gd name="connsiteY61" fmla="*/ 915492 h 1093788"/>
                  <a:gd name="connsiteX62" fmla="*/ 34853 w 977900"/>
                  <a:gd name="connsiteY62" fmla="*/ 916918 h 1093788"/>
                  <a:gd name="connsiteX63" fmla="*/ 36284 w 977900"/>
                  <a:gd name="connsiteY63" fmla="*/ 919770 h 1093788"/>
                  <a:gd name="connsiteX64" fmla="*/ 36999 w 977900"/>
                  <a:gd name="connsiteY64" fmla="*/ 921909 h 1093788"/>
                  <a:gd name="connsiteX65" fmla="*/ 38429 w 977900"/>
                  <a:gd name="connsiteY65" fmla="*/ 924048 h 1093788"/>
                  <a:gd name="connsiteX66" fmla="*/ 39859 w 977900"/>
                  <a:gd name="connsiteY66" fmla="*/ 926187 h 1093788"/>
                  <a:gd name="connsiteX67" fmla="*/ 41289 w 977900"/>
                  <a:gd name="connsiteY67" fmla="*/ 928326 h 1093788"/>
                  <a:gd name="connsiteX68" fmla="*/ 43435 w 977900"/>
                  <a:gd name="connsiteY68" fmla="*/ 931890 h 1093788"/>
                  <a:gd name="connsiteX69" fmla="*/ 44150 w 977900"/>
                  <a:gd name="connsiteY69" fmla="*/ 931890 h 1093788"/>
                  <a:gd name="connsiteX70" fmla="*/ 47726 w 977900"/>
                  <a:gd name="connsiteY70" fmla="*/ 936881 h 1093788"/>
                  <a:gd name="connsiteX71" fmla="*/ 49156 w 977900"/>
                  <a:gd name="connsiteY71" fmla="*/ 939020 h 1093788"/>
                  <a:gd name="connsiteX72" fmla="*/ 50586 w 977900"/>
                  <a:gd name="connsiteY72" fmla="*/ 940446 h 1093788"/>
                  <a:gd name="connsiteX73" fmla="*/ 142835 w 977900"/>
                  <a:gd name="connsiteY73" fmla="*/ 1002473 h 1093788"/>
                  <a:gd name="connsiteX74" fmla="*/ 144981 w 977900"/>
                  <a:gd name="connsiteY74" fmla="*/ 1003899 h 1093788"/>
                  <a:gd name="connsiteX75" fmla="*/ 149271 w 977900"/>
                  <a:gd name="connsiteY75" fmla="*/ 1005325 h 1093788"/>
                  <a:gd name="connsiteX76" fmla="*/ 157138 w 977900"/>
                  <a:gd name="connsiteY76" fmla="*/ 1008890 h 1093788"/>
                  <a:gd name="connsiteX77" fmla="*/ 162859 w 977900"/>
                  <a:gd name="connsiteY77" fmla="*/ 1011029 h 1093788"/>
                  <a:gd name="connsiteX78" fmla="*/ 164289 w 977900"/>
                  <a:gd name="connsiteY78" fmla="*/ 1011741 h 1093788"/>
                  <a:gd name="connsiteX79" fmla="*/ 172155 w 977900"/>
                  <a:gd name="connsiteY79" fmla="*/ 1014593 h 1093788"/>
                  <a:gd name="connsiteX80" fmla="*/ 172870 w 977900"/>
                  <a:gd name="connsiteY80" fmla="*/ 1015306 h 1093788"/>
                  <a:gd name="connsiteX81" fmla="*/ 477508 w 977900"/>
                  <a:gd name="connsiteY81" fmla="*/ 1065213 h 1093788"/>
                  <a:gd name="connsiteX82" fmla="*/ 486089 w 977900"/>
                  <a:gd name="connsiteY82" fmla="*/ 1065213 h 1093788"/>
                  <a:gd name="connsiteX83" fmla="*/ 488950 w 977900"/>
                  <a:gd name="connsiteY83" fmla="*/ 1065213 h 1093788"/>
                  <a:gd name="connsiteX84" fmla="*/ 491810 w 977900"/>
                  <a:gd name="connsiteY84" fmla="*/ 1065213 h 1093788"/>
                  <a:gd name="connsiteX85" fmla="*/ 500392 w 977900"/>
                  <a:gd name="connsiteY85" fmla="*/ 1065213 h 1093788"/>
                  <a:gd name="connsiteX86" fmla="*/ 805029 w 977900"/>
                  <a:gd name="connsiteY86" fmla="*/ 1015306 h 1093788"/>
                  <a:gd name="connsiteX87" fmla="*/ 805744 w 977900"/>
                  <a:gd name="connsiteY87" fmla="*/ 1014593 h 1093788"/>
                  <a:gd name="connsiteX88" fmla="*/ 813611 w 977900"/>
                  <a:gd name="connsiteY88" fmla="*/ 1011741 h 1093788"/>
                  <a:gd name="connsiteX89" fmla="*/ 814326 w 977900"/>
                  <a:gd name="connsiteY89" fmla="*/ 1011741 h 1093788"/>
                  <a:gd name="connsiteX90" fmla="*/ 820762 w 977900"/>
                  <a:gd name="connsiteY90" fmla="*/ 1008890 h 1093788"/>
                  <a:gd name="connsiteX91" fmla="*/ 828628 w 977900"/>
                  <a:gd name="connsiteY91" fmla="*/ 1005325 h 1093788"/>
                  <a:gd name="connsiteX92" fmla="*/ 832919 w 977900"/>
                  <a:gd name="connsiteY92" fmla="*/ 1003899 h 1093788"/>
                  <a:gd name="connsiteX93" fmla="*/ 835064 w 977900"/>
                  <a:gd name="connsiteY93" fmla="*/ 1002473 h 1093788"/>
                  <a:gd name="connsiteX94" fmla="*/ 927314 w 977900"/>
                  <a:gd name="connsiteY94" fmla="*/ 940446 h 1093788"/>
                  <a:gd name="connsiteX95" fmla="*/ 928744 w 977900"/>
                  <a:gd name="connsiteY95" fmla="*/ 939020 h 1093788"/>
                  <a:gd name="connsiteX96" fmla="*/ 930174 w 977900"/>
                  <a:gd name="connsiteY96" fmla="*/ 936881 h 1093788"/>
                  <a:gd name="connsiteX97" fmla="*/ 933750 w 977900"/>
                  <a:gd name="connsiteY97" fmla="*/ 931890 h 1093788"/>
                  <a:gd name="connsiteX98" fmla="*/ 934465 w 977900"/>
                  <a:gd name="connsiteY98" fmla="*/ 931890 h 1093788"/>
                  <a:gd name="connsiteX99" fmla="*/ 936610 w 977900"/>
                  <a:gd name="connsiteY99" fmla="*/ 928326 h 1093788"/>
                  <a:gd name="connsiteX100" fmla="*/ 938040 w 977900"/>
                  <a:gd name="connsiteY100" fmla="*/ 926187 h 1093788"/>
                  <a:gd name="connsiteX101" fmla="*/ 939470 w 977900"/>
                  <a:gd name="connsiteY101" fmla="*/ 924048 h 1093788"/>
                  <a:gd name="connsiteX102" fmla="*/ 940901 w 977900"/>
                  <a:gd name="connsiteY102" fmla="*/ 921909 h 1093788"/>
                  <a:gd name="connsiteX103" fmla="*/ 941616 w 977900"/>
                  <a:gd name="connsiteY103" fmla="*/ 919770 h 1093788"/>
                  <a:gd name="connsiteX104" fmla="*/ 943046 w 977900"/>
                  <a:gd name="connsiteY104" fmla="*/ 916918 h 1093788"/>
                  <a:gd name="connsiteX105" fmla="*/ 943761 w 977900"/>
                  <a:gd name="connsiteY105" fmla="*/ 915492 h 1093788"/>
                  <a:gd name="connsiteX106" fmla="*/ 945191 w 977900"/>
                  <a:gd name="connsiteY106" fmla="*/ 912641 h 1093788"/>
                  <a:gd name="connsiteX107" fmla="*/ 945906 w 977900"/>
                  <a:gd name="connsiteY107" fmla="*/ 911215 h 1093788"/>
                  <a:gd name="connsiteX108" fmla="*/ 946622 w 977900"/>
                  <a:gd name="connsiteY108" fmla="*/ 907650 h 1093788"/>
                  <a:gd name="connsiteX109" fmla="*/ 947337 w 977900"/>
                  <a:gd name="connsiteY109" fmla="*/ 906224 h 1093788"/>
                  <a:gd name="connsiteX110" fmla="*/ 948052 w 977900"/>
                  <a:gd name="connsiteY110" fmla="*/ 903372 h 1093788"/>
                  <a:gd name="connsiteX111" fmla="*/ 948767 w 977900"/>
                  <a:gd name="connsiteY111" fmla="*/ 901946 h 1093788"/>
                  <a:gd name="connsiteX112" fmla="*/ 949482 w 977900"/>
                  <a:gd name="connsiteY112" fmla="*/ 898381 h 1093788"/>
                  <a:gd name="connsiteX113" fmla="*/ 949482 w 977900"/>
                  <a:gd name="connsiteY113" fmla="*/ 896956 h 1093788"/>
                  <a:gd name="connsiteX114" fmla="*/ 950197 w 977900"/>
                  <a:gd name="connsiteY114" fmla="*/ 894104 h 1093788"/>
                  <a:gd name="connsiteX115" fmla="*/ 950197 w 977900"/>
                  <a:gd name="connsiteY115" fmla="*/ 891965 h 1093788"/>
                  <a:gd name="connsiteX116" fmla="*/ 950912 w 977900"/>
                  <a:gd name="connsiteY116" fmla="*/ 889826 h 1093788"/>
                  <a:gd name="connsiteX117" fmla="*/ 950912 w 977900"/>
                  <a:gd name="connsiteY117" fmla="*/ 884835 h 1093788"/>
                  <a:gd name="connsiteX118" fmla="*/ 950912 w 977900"/>
                  <a:gd name="connsiteY118" fmla="*/ 208240 h 1093788"/>
                  <a:gd name="connsiteX119" fmla="*/ 950912 w 977900"/>
                  <a:gd name="connsiteY119" fmla="*/ 206101 h 1093788"/>
                  <a:gd name="connsiteX120" fmla="*/ 950912 w 977900"/>
                  <a:gd name="connsiteY120" fmla="*/ 203249 h 1093788"/>
                  <a:gd name="connsiteX121" fmla="*/ 950197 w 977900"/>
                  <a:gd name="connsiteY121" fmla="*/ 200398 h 1093788"/>
                  <a:gd name="connsiteX122" fmla="*/ 949482 w 977900"/>
                  <a:gd name="connsiteY122" fmla="*/ 196833 h 1093788"/>
                  <a:gd name="connsiteX123" fmla="*/ 949482 w 977900"/>
                  <a:gd name="connsiteY123" fmla="*/ 195407 h 1093788"/>
                  <a:gd name="connsiteX124" fmla="*/ 948767 w 977900"/>
                  <a:gd name="connsiteY124" fmla="*/ 192555 h 1093788"/>
                  <a:gd name="connsiteX125" fmla="*/ 885122 w 977900"/>
                  <a:gd name="connsiteY125" fmla="*/ 117695 h 1093788"/>
                  <a:gd name="connsiteX126" fmla="*/ 880831 w 977900"/>
                  <a:gd name="connsiteY126" fmla="*/ 114843 h 1093788"/>
                  <a:gd name="connsiteX127" fmla="*/ 879401 w 977900"/>
                  <a:gd name="connsiteY127" fmla="*/ 114130 h 1093788"/>
                  <a:gd name="connsiteX128" fmla="*/ 875110 w 977900"/>
                  <a:gd name="connsiteY128" fmla="*/ 111278 h 1093788"/>
                  <a:gd name="connsiteX129" fmla="*/ 873680 w 977900"/>
                  <a:gd name="connsiteY129" fmla="*/ 110565 h 1093788"/>
                  <a:gd name="connsiteX130" fmla="*/ 870105 w 977900"/>
                  <a:gd name="connsiteY130" fmla="*/ 108426 h 1093788"/>
                  <a:gd name="connsiteX131" fmla="*/ 867959 w 977900"/>
                  <a:gd name="connsiteY131" fmla="*/ 107000 h 1093788"/>
                  <a:gd name="connsiteX132" fmla="*/ 864384 w 977900"/>
                  <a:gd name="connsiteY132" fmla="*/ 104861 h 1093788"/>
                  <a:gd name="connsiteX133" fmla="*/ 861523 w 977900"/>
                  <a:gd name="connsiteY133" fmla="*/ 103436 h 1093788"/>
                  <a:gd name="connsiteX134" fmla="*/ 858663 w 977900"/>
                  <a:gd name="connsiteY134" fmla="*/ 102010 h 1093788"/>
                  <a:gd name="connsiteX135" fmla="*/ 855087 w 977900"/>
                  <a:gd name="connsiteY135" fmla="*/ 99871 h 1093788"/>
                  <a:gd name="connsiteX136" fmla="*/ 852227 w 977900"/>
                  <a:gd name="connsiteY136" fmla="*/ 98445 h 1093788"/>
                  <a:gd name="connsiteX137" fmla="*/ 848651 w 977900"/>
                  <a:gd name="connsiteY137" fmla="*/ 97019 h 1093788"/>
                  <a:gd name="connsiteX138" fmla="*/ 845791 w 977900"/>
                  <a:gd name="connsiteY138" fmla="*/ 95593 h 1093788"/>
                  <a:gd name="connsiteX139" fmla="*/ 841500 w 977900"/>
                  <a:gd name="connsiteY139" fmla="*/ 93454 h 1093788"/>
                  <a:gd name="connsiteX140" fmla="*/ 839355 w 977900"/>
                  <a:gd name="connsiteY140" fmla="*/ 92028 h 1093788"/>
                  <a:gd name="connsiteX141" fmla="*/ 834349 w 977900"/>
                  <a:gd name="connsiteY141" fmla="*/ 90602 h 1093788"/>
                  <a:gd name="connsiteX142" fmla="*/ 830773 w 977900"/>
                  <a:gd name="connsiteY142" fmla="*/ 88463 h 1093788"/>
                  <a:gd name="connsiteX143" fmla="*/ 827198 w 977900"/>
                  <a:gd name="connsiteY143" fmla="*/ 87038 h 1093788"/>
                  <a:gd name="connsiteX144" fmla="*/ 821477 w 977900"/>
                  <a:gd name="connsiteY144" fmla="*/ 84899 h 1093788"/>
                  <a:gd name="connsiteX145" fmla="*/ 820047 w 977900"/>
                  <a:gd name="connsiteY145" fmla="*/ 84186 h 1093788"/>
                  <a:gd name="connsiteX146" fmla="*/ 812180 w 977900"/>
                  <a:gd name="connsiteY146" fmla="*/ 80621 h 1093788"/>
                  <a:gd name="connsiteX147" fmla="*/ 795733 w 977900"/>
                  <a:gd name="connsiteY147" fmla="*/ 74917 h 1093788"/>
                  <a:gd name="connsiteX148" fmla="*/ 795018 w 977900"/>
                  <a:gd name="connsiteY148" fmla="*/ 74917 h 1093788"/>
                  <a:gd name="connsiteX149" fmla="*/ 778570 w 977900"/>
                  <a:gd name="connsiteY149" fmla="*/ 69214 h 1093788"/>
                  <a:gd name="connsiteX150" fmla="*/ 777855 w 977900"/>
                  <a:gd name="connsiteY150" fmla="*/ 68501 h 1093788"/>
                  <a:gd name="connsiteX151" fmla="*/ 760692 w 977900"/>
                  <a:gd name="connsiteY151" fmla="*/ 63510 h 1093788"/>
                  <a:gd name="connsiteX152" fmla="*/ 759977 w 977900"/>
                  <a:gd name="connsiteY152" fmla="*/ 63510 h 1093788"/>
                  <a:gd name="connsiteX153" fmla="*/ 742815 w 977900"/>
                  <a:gd name="connsiteY153" fmla="*/ 58519 h 1093788"/>
                  <a:gd name="connsiteX154" fmla="*/ 741384 w 977900"/>
                  <a:gd name="connsiteY154" fmla="*/ 58519 h 1093788"/>
                  <a:gd name="connsiteX155" fmla="*/ 723507 w 977900"/>
                  <a:gd name="connsiteY155" fmla="*/ 54242 h 1093788"/>
                  <a:gd name="connsiteX156" fmla="*/ 722076 w 977900"/>
                  <a:gd name="connsiteY156" fmla="*/ 53529 h 1093788"/>
                  <a:gd name="connsiteX157" fmla="*/ 704198 w 977900"/>
                  <a:gd name="connsiteY157" fmla="*/ 49251 h 1093788"/>
                  <a:gd name="connsiteX158" fmla="*/ 702768 w 977900"/>
                  <a:gd name="connsiteY158" fmla="*/ 49251 h 1093788"/>
                  <a:gd name="connsiteX159" fmla="*/ 684175 w 977900"/>
                  <a:gd name="connsiteY159" fmla="*/ 45686 h 1093788"/>
                  <a:gd name="connsiteX160" fmla="*/ 682745 w 977900"/>
                  <a:gd name="connsiteY160" fmla="*/ 45686 h 1093788"/>
                  <a:gd name="connsiteX161" fmla="*/ 664152 w 977900"/>
                  <a:gd name="connsiteY161" fmla="*/ 42121 h 1093788"/>
                  <a:gd name="connsiteX162" fmla="*/ 662007 w 977900"/>
                  <a:gd name="connsiteY162" fmla="*/ 42121 h 1093788"/>
                  <a:gd name="connsiteX163" fmla="*/ 643414 w 977900"/>
                  <a:gd name="connsiteY163" fmla="*/ 39269 h 1093788"/>
                  <a:gd name="connsiteX164" fmla="*/ 641984 w 977900"/>
                  <a:gd name="connsiteY164" fmla="*/ 38557 h 1093788"/>
                  <a:gd name="connsiteX165" fmla="*/ 621961 w 977900"/>
                  <a:gd name="connsiteY165" fmla="*/ 36418 h 1093788"/>
                  <a:gd name="connsiteX166" fmla="*/ 620530 w 977900"/>
                  <a:gd name="connsiteY166" fmla="*/ 35705 h 1093788"/>
                  <a:gd name="connsiteX167" fmla="*/ 600507 w 977900"/>
                  <a:gd name="connsiteY167" fmla="*/ 33566 h 1093788"/>
                  <a:gd name="connsiteX168" fmla="*/ 599792 w 977900"/>
                  <a:gd name="connsiteY168" fmla="*/ 33566 h 1093788"/>
                  <a:gd name="connsiteX169" fmla="*/ 578339 w 977900"/>
                  <a:gd name="connsiteY169" fmla="*/ 32140 h 1093788"/>
                  <a:gd name="connsiteX170" fmla="*/ 577624 w 977900"/>
                  <a:gd name="connsiteY170" fmla="*/ 32140 h 1093788"/>
                  <a:gd name="connsiteX171" fmla="*/ 556170 w 977900"/>
                  <a:gd name="connsiteY171" fmla="*/ 30714 h 1093788"/>
                  <a:gd name="connsiteX172" fmla="*/ 534002 w 977900"/>
                  <a:gd name="connsiteY172" fmla="*/ 29288 h 1093788"/>
                  <a:gd name="connsiteX173" fmla="*/ 488950 w 977900"/>
                  <a:gd name="connsiteY173" fmla="*/ 28575 h 1093788"/>
                  <a:gd name="connsiteX174" fmla="*/ 477508 w 977900"/>
                  <a:gd name="connsiteY174" fmla="*/ 28575 h 1093788"/>
                  <a:gd name="connsiteX175" fmla="*/ 488950 w 977900"/>
                  <a:gd name="connsiteY175" fmla="*/ 0 h 1093788"/>
                  <a:gd name="connsiteX176" fmla="*/ 821579 w 977900"/>
                  <a:gd name="connsiteY176" fmla="*/ 54903 h 1093788"/>
                  <a:gd name="connsiteX177" fmla="*/ 976473 w 977900"/>
                  <a:gd name="connsiteY177" fmla="*/ 192518 h 1093788"/>
                  <a:gd name="connsiteX178" fmla="*/ 977900 w 977900"/>
                  <a:gd name="connsiteY178" fmla="*/ 198935 h 1093788"/>
                  <a:gd name="connsiteX179" fmla="*/ 977900 w 977900"/>
                  <a:gd name="connsiteY179" fmla="*/ 884870 h 1093788"/>
                  <a:gd name="connsiteX180" fmla="*/ 488950 w 977900"/>
                  <a:gd name="connsiteY180" fmla="*/ 1093788 h 1093788"/>
                  <a:gd name="connsiteX181" fmla="*/ 0 w 977900"/>
                  <a:gd name="connsiteY181" fmla="*/ 884870 h 1093788"/>
                  <a:gd name="connsiteX182" fmla="*/ 714 w 977900"/>
                  <a:gd name="connsiteY182" fmla="*/ 873462 h 1093788"/>
                  <a:gd name="connsiteX183" fmla="*/ 714 w 977900"/>
                  <a:gd name="connsiteY183" fmla="*/ 220326 h 1093788"/>
                  <a:gd name="connsiteX184" fmla="*/ 0 w 977900"/>
                  <a:gd name="connsiteY184" fmla="*/ 208918 h 1093788"/>
                  <a:gd name="connsiteX185" fmla="*/ 488950 w 977900"/>
                  <a:gd name="connsiteY185" fmla="*/ 0 h 10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77900" h="1093788">
                    <a:moveTo>
                      <a:pt x="488514" y="61912"/>
                    </a:moveTo>
                    <a:cubicBezTo>
                      <a:pt x="725213" y="61912"/>
                      <a:pt x="917575" y="132511"/>
                      <a:pt x="917575" y="219512"/>
                    </a:cubicBezTo>
                    <a:cubicBezTo>
                      <a:pt x="917575" y="306513"/>
                      <a:pt x="725213" y="377825"/>
                      <a:pt x="488514" y="377825"/>
                    </a:cubicBezTo>
                    <a:cubicBezTo>
                      <a:pt x="255390" y="377825"/>
                      <a:pt x="65173" y="308652"/>
                      <a:pt x="58737" y="224504"/>
                    </a:cubicBezTo>
                    <a:cubicBezTo>
                      <a:pt x="58737" y="224504"/>
                      <a:pt x="58737" y="224504"/>
                      <a:pt x="58737" y="215233"/>
                    </a:cubicBezTo>
                    <a:cubicBezTo>
                      <a:pt x="65173" y="129659"/>
                      <a:pt x="255390" y="61912"/>
                      <a:pt x="488514" y="61912"/>
                    </a:cubicBezTo>
                    <a:close/>
                    <a:moveTo>
                      <a:pt x="477508" y="28575"/>
                    </a:moveTo>
                    <a:cubicBezTo>
                      <a:pt x="361660" y="30001"/>
                      <a:pt x="254393" y="48538"/>
                      <a:pt x="173585" y="78482"/>
                    </a:cubicBezTo>
                    <a:cubicBezTo>
                      <a:pt x="173585" y="78482"/>
                      <a:pt x="172870" y="78482"/>
                      <a:pt x="172155" y="79195"/>
                    </a:cubicBezTo>
                    <a:cubicBezTo>
                      <a:pt x="170010" y="79908"/>
                      <a:pt x="167864" y="80621"/>
                      <a:pt x="165719" y="81334"/>
                    </a:cubicBezTo>
                    <a:cubicBezTo>
                      <a:pt x="165719" y="81334"/>
                      <a:pt x="165004" y="82047"/>
                      <a:pt x="164289" y="82047"/>
                    </a:cubicBezTo>
                    <a:cubicBezTo>
                      <a:pt x="162143" y="82760"/>
                      <a:pt x="159283" y="84186"/>
                      <a:pt x="157138" y="84899"/>
                    </a:cubicBezTo>
                    <a:cubicBezTo>
                      <a:pt x="154277" y="86325"/>
                      <a:pt x="151417" y="87038"/>
                      <a:pt x="149271" y="88463"/>
                    </a:cubicBezTo>
                    <a:cubicBezTo>
                      <a:pt x="147841" y="89176"/>
                      <a:pt x="146411" y="89176"/>
                      <a:pt x="144981" y="89889"/>
                    </a:cubicBezTo>
                    <a:cubicBezTo>
                      <a:pt x="144266" y="90602"/>
                      <a:pt x="143551" y="90602"/>
                      <a:pt x="142835" y="91315"/>
                    </a:cubicBezTo>
                    <a:cubicBezTo>
                      <a:pt x="102074" y="109139"/>
                      <a:pt x="70609" y="130528"/>
                      <a:pt x="50586" y="153342"/>
                    </a:cubicBezTo>
                    <a:cubicBezTo>
                      <a:pt x="49871" y="154055"/>
                      <a:pt x="49871" y="154768"/>
                      <a:pt x="49156" y="154768"/>
                    </a:cubicBezTo>
                    <a:cubicBezTo>
                      <a:pt x="48441" y="155481"/>
                      <a:pt x="47726" y="156194"/>
                      <a:pt x="47726" y="156907"/>
                    </a:cubicBezTo>
                    <a:cubicBezTo>
                      <a:pt x="46295" y="158333"/>
                      <a:pt x="44865" y="159759"/>
                      <a:pt x="44150" y="161185"/>
                    </a:cubicBezTo>
                    <a:cubicBezTo>
                      <a:pt x="44150" y="161898"/>
                      <a:pt x="43435" y="161898"/>
                      <a:pt x="43435" y="161898"/>
                    </a:cubicBezTo>
                    <a:cubicBezTo>
                      <a:pt x="42720" y="163324"/>
                      <a:pt x="42005" y="164750"/>
                      <a:pt x="41289" y="165463"/>
                    </a:cubicBezTo>
                    <a:cubicBezTo>
                      <a:pt x="40574" y="166176"/>
                      <a:pt x="40574" y="166889"/>
                      <a:pt x="39859" y="167602"/>
                    </a:cubicBezTo>
                    <a:cubicBezTo>
                      <a:pt x="39859" y="168315"/>
                      <a:pt x="39144" y="169027"/>
                      <a:pt x="38429" y="169740"/>
                    </a:cubicBezTo>
                    <a:cubicBezTo>
                      <a:pt x="38429" y="170453"/>
                      <a:pt x="37714" y="171166"/>
                      <a:pt x="36999" y="171879"/>
                    </a:cubicBezTo>
                    <a:cubicBezTo>
                      <a:pt x="36999" y="172592"/>
                      <a:pt x="36284" y="173305"/>
                      <a:pt x="36284" y="174018"/>
                    </a:cubicBezTo>
                    <a:cubicBezTo>
                      <a:pt x="35569" y="174731"/>
                      <a:pt x="35569" y="176157"/>
                      <a:pt x="34853" y="176870"/>
                    </a:cubicBezTo>
                    <a:cubicBezTo>
                      <a:pt x="34853" y="177583"/>
                      <a:pt x="34138" y="177583"/>
                      <a:pt x="34138" y="178296"/>
                    </a:cubicBezTo>
                    <a:cubicBezTo>
                      <a:pt x="33423" y="179722"/>
                      <a:pt x="33423" y="180435"/>
                      <a:pt x="32708" y="181148"/>
                    </a:cubicBezTo>
                    <a:cubicBezTo>
                      <a:pt x="32708" y="181861"/>
                      <a:pt x="32708" y="182574"/>
                      <a:pt x="31993" y="182574"/>
                    </a:cubicBezTo>
                    <a:cubicBezTo>
                      <a:pt x="31993" y="184000"/>
                      <a:pt x="31278" y="184712"/>
                      <a:pt x="31278" y="186138"/>
                    </a:cubicBezTo>
                    <a:cubicBezTo>
                      <a:pt x="31278" y="186138"/>
                      <a:pt x="30563" y="186851"/>
                      <a:pt x="30563" y="187564"/>
                    </a:cubicBezTo>
                    <a:cubicBezTo>
                      <a:pt x="30563" y="188277"/>
                      <a:pt x="29848" y="189703"/>
                      <a:pt x="29848" y="190416"/>
                    </a:cubicBezTo>
                    <a:cubicBezTo>
                      <a:pt x="29848" y="191129"/>
                      <a:pt x="29133" y="191129"/>
                      <a:pt x="29133" y="191842"/>
                    </a:cubicBezTo>
                    <a:cubicBezTo>
                      <a:pt x="29133" y="193268"/>
                      <a:pt x="29133" y="193981"/>
                      <a:pt x="28417" y="195407"/>
                    </a:cubicBezTo>
                    <a:cubicBezTo>
                      <a:pt x="28417" y="195407"/>
                      <a:pt x="28417" y="196120"/>
                      <a:pt x="28417" y="196833"/>
                    </a:cubicBezTo>
                    <a:cubicBezTo>
                      <a:pt x="28417" y="197546"/>
                      <a:pt x="27702" y="198972"/>
                      <a:pt x="27702" y="199685"/>
                    </a:cubicBezTo>
                    <a:cubicBezTo>
                      <a:pt x="27702" y="200398"/>
                      <a:pt x="27702" y="201110"/>
                      <a:pt x="27702" y="201823"/>
                    </a:cubicBezTo>
                    <a:cubicBezTo>
                      <a:pt x="27702" y="202536"/>
                      <a:pt x="27702" y="203249"/>
                      <a:pt x="26987" y="203962"/>
                    </a:cubicBezTo>
                    <a:cubicBezTo>
                      <a:pt x="26987" y="206101"/>
                      <a:pt x="26987" y="207527"/>
                      <a:pt x="26987" y="208953"/>
                    </a:cubicBezTo>
                    <a:cubicBezTo>
                      <a:pt x="26987" y="209666"/>
                      <a:pt x="26987" y="209666"/>
                      <a:pt x="26987" y="210379"/>
                    </a:cubicBezTo>
                    <a:cubicBezTo>
                      <a:pt x="26987" y="211092"/>
                      <a:pt x="26987" y="211092"/>
                      <a:pt x="26987" y="211092"/>
                    </a:cubicBezTo>
                    <a:cubicBezTo>
                      <a:pt x="26987" y="211092"/>
                      <a:pt x="26987" y="211805"/>
                      <a:pt x="26987" y="211805"/>
                    </a:cubicBezTo>
                    <a:cubicBezTo>
                      <a:pt x="26987" y="211805"/>
                      <a:pt x="26987" y="211805"/>
                      <a:pt x="26987" y="215370"/>
                    </a:cubicBezTo>
                    <a:cubicBezTo>
                      <a:pt x="26987" y="215370"/>
                      <a:pt x="26987" y="215370"/>
                      <a:pt x="27702" y="217508"/>
                    </a:cubicBezTo>
                    <a:cubicBezTo>
                      <a:pt x="27702" y="217508"/>
                      <a:pt x="27702" y="217508"/>
                      <a:pt x="27702" y="876280"/>
                    </a:cubicBezTo>
                    <a:cubicBezTo>
                      <a:pt x="27702" y="876280"/>
                      <a:pt x="27702" y="876280"/>
                      <a:pt x="26987" y="878419"/>
                    </a:cubicBezTo>
                    <a:cubicBezTo>
                      <a:pt x="26987" y="878419"/>
                      <a:pt x="26987" y="878419"/>
                      <a:pt x="26987" y="881983"/>
                    </a:cubicBezTo>
                    <a:cubicBezTo>
                      <a:pt x="26987" y="881983"/>
                      <a:pt x="26987" y="882696"/>
                      <a:pt x="26987" y="882696"/>
                    </a:cubicBezTo>
                    <a:cubicBezTo>
                      <a:pt x="26987" y="882696"/>
                      <a:pt x="26987" y="882696"/>
                      <a:pt x="26987" y="883409"/>
                    </a:cubicBezTo>
                    <a:cubicBezTo>
                      <a:pt x="26987" y="884122"/>
                      <a:pt x="26987" y="884122"/>
                      <a:pt x="26987" y="884835"/>
                    </a:cubicBezTo>
                    <a:cubicBezTo>
                      <a:pt x="26987" y="886261"/>
                      <a:pt x="26987" y="887687"/>
                      <a:pt x="26987" y="889826"/>
                    </a:cubicBezTo>
                    <a:cubicBezTo>
                      <a:pt x="27702" y="890539"/>
                      <a:pt x="27702" y="891252"/>
                      <a:pt x="27702" y="891965"/>
                    </a:cubicBezTo>
                    <a:cubicBezTo>
                      <a:pt x="27702" y="892678"/>
                      <a:pt x="27702" y="893391"/>
                      <a:pt x="27702" y="894104"/>
                    </a:cubicBezTo>
                    <a:cubicBezTo>
                      <a:pt x="27702" y="894817"/>
                      <a:pt x="28417" y="896243"/>
                      <a:pt x="28417" y="896956"/>
                    </a:cubicBezTo>
                    <a:cubicBezTo>
                      <a:pt x="28417" y="897669"/>
                      <a:pt x="28417" y="898381"/>
                      <a:pt x="28417" y="898381"/>
                    </a:cubicBezTo>
                    <a:cubicBezTo>
                      <a:pt x="29133" y="899807"/>
                      <a:pt x="29133" y="900520"/>
                      <a:pt x="29133" y="901946"/>
                    </a:cubicBezTo>
                    <a:cubicBezTo>
                      <a:pt x="29133" y="902659"/>
                      <a:pt x="29848" y="902659"/>
                      <a:pt x="29848" y="903372"/>
                    </a:cubicBezTo>
                    <a:cubicBezTo>
                      <a:pt x="29848" y="904085"/>
                      <a:pt x="30563" y="905511"/>
                      <a:pt x="30563" y="906224"/>
                    </a:cubicBezTo>
                    <a:cubicBezTo>
                      <a:pt x="30563" y="906937"/>
                      <a:pt x="31278" y="907650"/>
                      <a:pt x="31278" y="907650"/>
                    </a:cubicBezTo>
                    <a:cubicBezTo>
                      <a:pt x="31278" y="909076"/>
                      <a:pt x="31993" y="909789"/>
                      <a:pt x="31993" y="911215"/>
                    </a:cubicBezTo>
                    <a:cubicBezTo>
                      <a:pt x="32708" y="911215"/>
                      <a:pt x="32708" y="911928"/>
                      <a:pt x="32708" y="912641"/>
                    </a:cubicBezTo>
                    <a:cubicBezTo>
                      <a:pt x="33423" y="913354"/>
                      <a:pt x="33423" y="914066"/>
                      <a:pt x="34138" y="915492"/>
                    </a:cubicBezTo>
                    <a:cubicBezTo>
                      <a:pt x="34138" y="916205"/>
                      <a:pt x="34853" y="916205"/>
                      <a:pt x="34853" y="916918"/>
                    </a:cubicBezTo>
                    <a:cubicBezTo>
                      <a:pt x="35569" y="917631"/>
                      <a:pt x="35569" y="919057"/>
                      <a:pt x="36284" y="919770"/>
                    </a:cubicBezTo>
                    <a:cubicBezTo>
                      <a:pt x="36284" y="920483"/>
                      <a:pt x="36999" y="921196"/>
                      <a:pt x="36999" y="921909"/>
                    </a:cubicBezTo>
                    <a:cubicBezTo>
                      <a:pt x="37714" y="922622"/>
                      <a:pt x="38429" y="923335"/>
                      <a:pt x="38429" y="924048"/>
                    </a:cubicBezTo>
                    <a:cubicBezTo>
                      <a:pt x="39144" y="924761"/>
                      <a:pt x="39859" y="925474"/>
                      <a:pt x="39859" y="926187"/>
                    </a:cubicBezTo>
                    <a:cubicBezTo>
                      <a:pt x="40574" y="926900"/>
                      <a:pt x="40574" y="927613"/>
                      <a:pt x="41289" y="928326"/>
                    </a:cubicBezTo>
                    <a:cubicBezTo>
                      <a:pt x="42005" y="929039"/>
                      <a:pt x="42720" y="930464"/>
                      <a:pt x="43435" y="931890"/>
                    </a:cubicBezTo>
                    <a:cubicBezTo>
                      <a:pt x="43435" y="931890"/>
                      <a:pt x="44150" y="931890"/>
                      <a:pt x="44150" y="931890"/>
                    </a:cubicBezTo>
                    <a:cubicBezTo>
                      <a:pt x="44865" y="934029"/>
                      <a:pt x="46295" y="935455"/>
                      <a:pt x="47726" y="936881"/>
                    </a:cubicBezTo>
                    <a:cubicBezTo>
                      <a:pt x="47726" y="937594"/>
                      <a:pt x="48441" y="938307"/>
                      <a:pt x="49156" y="939020"/>
                    </a:cubicBezTo>
                    <a:cubicBezTo>
                      <a:pt x="49871" y="939020"/>
                      <a:pt x="49871" y="939733"/>
                      <a:pt x="50586" y="940446"/>
                    </a:cubicBezTo>
                    <a:cubicBezTo>
                      <a:pt x="70609" y="963260"/>
                      <a:pt x="102074" y="984649"/>
                      <a:pt x="142835" y="1002473"/>
                    </a:cubicBezTo>
                    <a:cubicBezTo>
                      <a:pt x="143551" y="1003186"/>
                      <a:pt x="144266" y="1003186"/>
                      <a:pt x="144981" y="1003899"/>
                    </a:cubicBezTo>
                    <a:cubicBezTo>
                      <a:pt x="146411" y="1004612"/>
                      <a:pt x="147841" y="1005325"/>
                      <a:pt x="149271" y="1005325"/>
                    </a:cubicBezTo>
                    <a:cubicBezTo>
                      <a:pt x="151417" y="1006751"/>
                      <a:pt x="154277" y="1008177"/>
                      <a:pt x="157138" y="1008890"/>
                    </a:cubicBezTo>
                    <a:cubicBezTo>
                      <a:pt x="159283" y="1009603"/>
                      <a:pt x="160713" y="1010316"/>
                      <a:pt x="162859" y="1011029"/>
                    </a:cubicBezTo>
                    <a:cubicBezTo>
                      <a:pt x="163574" y="1011741"/>
                      <a:pt x="163574" y="1011741"/>
                      <a:pt x="164289" y="1011741"/>
                    </a:cubicBezTo>
                    <a:cubicBezTo>
                      <a:pt x="167149" y="1013167"/>
                      <a:pt x="170010" y="1013880"/>
                      <a:pt x="172155" y="1014593"/>
                    </a:cubicBezTo>
                    <a:cubicBezTo>
                      <a:pt x="172870" y="1015306"/>
                      <a:pt x="172870" y="1015306"/>
                      <a:pt x="172870" y="1015306"/>
                    </a:cubicBezTo>
                    <a:cubicBezTo>
                      <a:pt x="253678" y="1045250"/>
                      <a:pt x="360945" y="1063787"/>
                      <a:pt x="477508" y="1065213"/>
                    </a:cubicBezTo>
                    <a:cubicBezTo>
                      <a:pt x="480368" y="1065213"/>
                      <a:pt x="483229" y="1065213"/>
                      <a:pt x="486089" y="1065213"/>
                    </a:cubicBezTo>
                    <a:cubicBezTo>
                      <a:pt x="486804" y="1065213"/>
                      <a:pt x="488235" y="1065213"/>
                      <a:pt x="488950" y="1065213"/>
                    </a:cubicBezTo>
                    <a:cubicBezTo>
                      <a:pt x="489665" y="1065213"/>
                      <a:pt x="491095" y="1065213"/>
                      <a:pt x="491810" y="1065213"/>
                    </a:cubicBezTo>
                    <a:cubicBezTo>
                      <a:pt x="494671" y="1065213"/>
                      <a:pt x="497531" y="1065213"/>
                      <a:pt x="500392" y="1065213"/>
                    </a:cubicBezTo>
                    <a:cubicBezTo>
                      <a:pt x="616955" y="1063787"/>
                      <a:pt x="724222" y="1045250"/>
                      <a:pt x="805029" y="1015306"/>
                    </a:cubicBezTo>
                    <a:cubicBezTo>
                      <a:pt x="805029" y="1015306"/>
                      <a:pt x="805029" y="1015306"/>
                      <a:pt x="805744" y="1014593"/>
                    </a:cubicBezTo>
                    <a:cubicBezTo>
                      <a:pt x="807890" y="1013880"/>
                      <a:pt x="810750" y="1013167"/>
                      <a:pt x="813611" y="1011741"/>
                    </a:cubicBezTo>
                    <a:cubicBezTo>
                      <a:pt x="813611" y="1011741"/>
                      <a:pt x="814326" y="1011741"/>
                      <a:pt x="814326" y="1011741"/>
                    </a:cubicBezTo>
                    <a:cubicBezTo>
                      <a:pt x="816471" y="1010316"/>
                      <a:pt x="818616" y="1009603"/>
                      <a:pt x="820762" y="1008890"/>
                    </a:cubicBezTo>
                    <a:cubicBezTo>
                      <a:pt x="823622" y="1008177"/>
                      <a:pt x="826483" y="1006751"/>
                      <a:pt x="828628" y="1005325"/>
                    </a:cubicBezTo>
                    <a:cubicBezTo>
                      <a:pt x="830058" y="1005325"/>
                      <a:pt x="831488" y="1004612"/>
                      <a:pt x="832919" y="1003899"/>
                    </a:cubicBezTo>
                    <a:cubicBezTo>
                      <a:pt x="833634" y="1003186"/>
                      <a:pt x="834349" y="1003186"/>
                      <a:pt x="835064" y="1002473"/>
                    </a:cubicBezTo>
                    <a:cubicBezTo>
                      <a:pt x="875825" y="984649"/>
                      <a:pt x="907290" y="963260"/>
                      <a:pt x="927314" y="940446"/>
                    </a:cubicBezTo>
                    <a:cubicBezTo>
                      <a:pt x="928029" y="939733"/>
                      <a:pt x="928029" y="939020"/>
                      <a:pt x="928744" y="939020"/>
                    </a:cubicBezTo>
                    <a:cubicBezTo>
                      <a:pt x="929459" y="938307"/>
                      <a:pt x="930174" y="937594"/>
                      <a:pt x="930174" y="936881"/>
                    </a:cubicBezTo>
                    <a:cubicBezTo>
                      <a:pt x="931604" y="935455"/>
                      <a:pt x="933034" y="934029"/>
                      <a:pt x="933750" y="931890"/>
                    </a:cubicBezTo>
                    <a:cubicBezTo>
                      <a:pt x="933750" y="931890"/>
                      <a:pt x="934465" y="931890"/>
                      <a:pt x="934465" y="931890"/>
                    </a:cubicBezTo>
                    <a:cubicBezTo>
                      <a:pt x="935180" y="930464"/>
                      <a:pt x="935895" y="929039"/>
                      <a:pt x="936610" y="928326"/>
                    </a:cubicBezTo>
                    <a:cubicBezTo>
                      <a:pt x="937325" y="927613"/>
                      <a:pt x="937325" y="926900"/>
                      <a:pt x="938040" y="926187"/>
                    </a:cubicBezTo>
                    <a:cubicBezTo>
                      <a:pt x="938040" y="925474"/>
                      <a:pt x="938755" y="924761"/>
                      <a:pt x="939470" y="924048"/>
                    </a:cubicBezTo>
                    <a:cubicBezTo>
                      <a:pt x="939470" y="923335"/>
                      <a:pt x="940186" y="922622"/>
                      <a:pt x="940901" y="921909"/>
                    </a:cubicBezTo>
                    <a:cubicBezTo>
                      <a:pt x="940901" y="921196"/>
                      <a:pt x="941616" y="920483"/>
                      <a:pt x="941616" y="919770"/>
                    </a:cubicBezTo>
                    <a:cubicBezTo>
                      <a:pt x="942331" y="919057"/>
                      <a:pt x="942331" y="917631"/>
                      <a:pt x="943046" y="916918"/>
                    </a:cubicBezTo>
                    <a:cubicBezTo>
                      <a:pt x="943046" y="916205"/>
                      <a:pt x="943761" y="916205"/>
                      <a:pt x="943761" y="915492"/>
                    </a:cubicBezTo>
                    <a:cubicBezTo>
                      <a:pt x="944476" y="914066"/>
                      <a:pt x="944476" y="913354"/>
                      <a:pt x="945191" y="912641"/>
                    </a:cubicBezTo>
                    <a:cubicBezTo>
                      <a:pt x="945191" y="911928"/>
                      <a:pt x="945191" y="911215"/>
                      <a:pt x="945906" y="911215"/>
                    </a:cubicBezTo>
                    <a:cubicBezTo>
                      <a:pt x="945906" y="909789"/>
                      <a:pt x="946622" y="909076"/>
                      <a:pt x="946622" y="907650"/>
                    </a:cubicBezTo>
                    <a:cubicBezTo>
                      <a:pt x="946622" y="907650"/>
                      <a:pt x="947337" y="906937"/>
                      <a:pt x="947337" y="906224"/>
                    </a:cubicBezTo>
                    <a:cubicBezTo>
                      <a:pt x="947337" y="905511"/>
                      <a:pt x="948052" y="904085"/>
                      <a:pt x="948052" y="903372"/>
                    </a:cubicBezTo>
                    <a:cubicBezTo>
                      <a:pt x="948052" y="902659"/>
                      <a:pt x="948767" y="902659"/>
                      <a:pt x="948767" y="901946"/>
                    </a:cubicBezTo>
                    <a:cubicBezTo>
                      <a:pt x="948767" y="900520"/>
                      <a:pt x="948767" y="899807"/>
                      <a:pt x="949482" y="898381"/>
                    </a:cubicBezTo>
                    <a:cubicBezTo>
                      <a:pt x="949482" y="898381"/>
                      <a:pt x="949482" y="897669"/>
                      <a:pt x="949482" y="896956"/>
                    </a:cubicBezTo>
                    <a:cubicBezTo>
                      <a:pt x="949482" y="896243"/>
                      <a:pt x="950197" y="894817"/>
                      <a:pt x="950197" y="894104"/>
                    </a:cubicBezTo>
                    <a:cubicBezTo>
                      <a:pt x="950197" y="893391"/>
                      <a:pt x="950197" y="892678"/>
                      <a:pt x="950197" y="891965"/>
                    </a:cubicBezTo>
                    <a:cubicBezTo>
                      <a:pt x="950197" y="891252"/>
                      <a:pt x="950197" y="890539"/>
                      <a:pt x="950912" y="889826"/>
                    </a:cubicBezTo>
                    <a:cubicBezTo>
                      <a:pt x="950912" y="887687"/>
                      <a:pt x="950912" y="886261"/>
                      <a:pt x="950912" y="884835"/>
                    </a:cubicBezTo>
                    <a:cubicBezTo>
                      <a:pt x="950912" y="884835"/>
                      <a:pt x="950912" y="879132"/>
                      <a:pt x="950912" y="208240"/>
                    </a:cubicBezTo>
                    <a:cubicBezTo>
                      <a:pt x="950912" y="207527"/>
                      <a:pt x="950912" y="206814"/>
                      <a:pt x="950912" y="206101"/>
                    </a:cubicBezTo>
                    <a:cubicBezTo>
                      <a:pt x="950912" y="205388"/>
                      <a:pt x="950912" y="203962"/>
                      <a:pt x="950912" y="203249"/>
                    </a:cubicBezTo>
                    <a:cubicBezTo>
                      <a:pt x="950912" y="201823"/>
                      <a:pt x="950912" y="201110"/>
                      <a:pt x="950197" y="200398"/>
                    </a:cubicBezTo>
                    <a:cubicBezTo>
                      <a:pt x="950197" y="198972"/>
                      <a:pt x="949482" y="197546"/>
                      <a:pt x="949482" y="196833"/>
                    </a:cubicBezTo>
                    <a:cubicBezTo>
                      <a:pt x="949482" y="196120"/>
                      <a:pt x="949482" y="196120"/>
                      <a:pt x="949482" y="195407"/>
                    </a:cubicBezTo>
                    <a:cubicBezTo>
                      <a:pt x="948767" y="194694"/>
                      <a:pt x="948767" y="193268"/>
                      <a:pt x="948767" y="192555"/>
                    </a:cubicBezTo>
                    <a:cubicBezTo>
                      <a:pt x="942331" y="166176"/>
                      <a:pt x="920162" y="140509"/>
                      <a:pt x="885122" y="117695"/>
                    </a:cubicBezTo>
                    <a:cubicBezTo>
                      <a:pt x="883692" y="116982"/>
                      <a:pt x="882261" y="115556"/>
                      <a:pt x="880831" y="114843"/>
                    </a:cubicBezTo>
                    <a:cubicBezTo>
                      <a:pt x="880116" y="114130"/>
                      <a:pt x="880116" y="114130"/>
                      <a:pt x="879401" y="114130"/>
                    </a:cubicBezTo>
                    <a:cubicBezTo>
                      <a:pt x="877971" y="113417"/>
                      <a:pt x="876541" y="111991"/>
                      <a:pt x="875110" y="111278"/>
                    </a:cubicBezTo>
                    <a:cubicBezTo>
                      <a:pt x="875110" y="111278"/>
                      <a:pt x="874395" y="110565"/>
                      <a:pt x="873680" y="110565"/>
                    </a:cubicBezTo>
                    <a:cubicBezTo>
                      <a:pt x="872250" y="109852"/>
                      <a:pt x="871535" y="109139"/>
                      <a:pt x="870105" y="108426"/>
                    </a:cubicBezTo>
                    <a:cubicBezTo>
                      <a:pt x="869389" y="107713"/>
                      <a:pt x="868674" y="107713"/>
                      <a:pt x="867959" y="107000"/>
                    </a:cubicBezTo>
                    <a:cubicBezTo>
                      <a:pt x="866529" y="106287"/>
                      <a:pt x="865814" y="105574"/>
                      <a:pt x="864384" y="104861"/>
                    </a:cubicBezTo>
                    <a:cubicBezTo>
                      <a:pt x="863669" y="104861"/>
                      <a:pt x="862238" y="104148"/>
                      <a:pt x="861523" y="103436"/>
                    </a:cubicBezTo>
                    <a:cubicBezTo>
                      <a:pt x="860808" y="102723"/>
                      <a:pt x="859378" y="102723"/>
                      <a:pt x="858663" y="102010"/>
                    </a:cubicBezTo>
                    <a:cubicBezTo>
                      <a:pt x="857233" y="101297"/>
                      <a:pt x="856517" y="100584"/>
                      <a:pt x="855087" y="99871"/>
                    </a:cubicBezTo>
                    <a:cubicBezTo>
                      <a:pt x="854372" y="99871"/>
                      <a:pt x="852942" y="99158"/>
                      <a:pt x="852227" y="98445"/>
                    </a:cubicBezTo>
                    <a:cubicBezTo>
                      <a:pt x="850797" y="98445"/>
                      <a:pt x="849366" y="97732"/>
                      <a:pt x="848651" y="97019"/>
                    </a:cubicBezTo>
                    <a:cubicBezTo>
                      <a:pt x="847221" y="96306"/>
                      <a:pt x="846506" y="96306"/>
                      <a:pt x="845791" y="95593"/>
                    </a:cubicBezTo>
                    <a:cubicBezTo>
                      <a:pt x="844360" y="94880"/>
                      <a:pt x="842930" y="94167"/>
                      <a:pt x="841500" y="93454"/>
                    </a:cubicBezTo>
                    <a:cubicBezTo>
                      <a:pt x="840785" y="93454"/>
                      <a:pt x="840070" y="92741"/>
                      <a:pt x="839355" y="92028"/>
                    </a:cubicBezTo>
                    <a:cubicBezTo>
                      <a:pt x="837209" y="91315"/>
                      <a:pt x="835779" y="90602"/>
                      <a:pt x="834349" y="90602"/>
                    </a:cubicBezTo>
                    <a:cubicBezTo>
                      <a:pt x="833634" y="89889"/>
                      <a:pt x="832204" y="89176"/>
                      <a:pt x="830773" y="88463"/>
                    </a:cubicBezTo>
                    <a:cubicBezTo>
                      <a:pt x="830058" y="88463"/>
                      <a:pt x="828628" y="87750"/>
                      <a:pt x="827198" y="87038"/>
                    </a:cubicBezTo>
                    <a:cubicBezTo>
                      <a:pt x="825768" y="86325"/>
                      <a:pt x="823622" y="85612"/>
                      <a:pt x="821477" y="84899"/>
                    </a:cubicBezTo>
                    <a:cubicBezTo>
                      <a:pt x="820762" y="84186"/>
                      <a:pt x="820762" y="84186"/>
                      <a:pt x="820047" y="84186"/>
                    </a:cubicBezTo>
                    <a:cubicBezTo>
                      <a:pt x="817186" y="82760"/>
                      <a:pt x="815041" y="82047"/>
                      <a:pt x="812180" y="80621"/>
                    </a:cubicBezTo>
                    <a:cubicBezTo>
                      <a:pt x="806460" y="78482"/>
                      <a:pt x="801454" y="77056"/>
                      <a:pt x="795733" y="74917"/>
                    </a:cubicBezTo>
                    <a:cubicBezTo>
                      <a:pt x="795733" y="74917"/>
                      <a:pt x="795733" y="74917"/>
                      <a:pt x="795018" y="74917"/>
                    </a:cubicBezTo>
                    <a:cubicBezTo>
                      <a:pt x="790012" y="72778"/>
                      <a:pt x="784291" y="70640"/>
                      <a:pt x="778570" y="69214"/>
                    </a:cubicBezTo>
                    <a:cubicBezTo>
                      <a:pt x="778570" y="69214"/>
                      <a:pt x="777855" y="69214"/>
                      <a:pt x="777855" y="68501"/>
                    </a:cubicBezTo>
                    <a:cubicBezTo>
                      <a:pt x="772134" y="67075"/>
                      <a:pt x="766413" y="65649"/>
                      <a:pt x="760692" y="63510"/>
                    </a:cubicBezTo>
                    <a:cubicBezTo>
                      <a:pt x="760692" y="63510"/>
                      <a:pt x="759977" y="63510"/>
                      <a:pt x="759977" y="63510"/>
                    </a:cubicBezTo>
                    <a:cubicBezTo>
                      <a:pt x="754256" y="61371"/>
                      <a:pt x="748535" y="59945"/>
                      <a:pt x="742815" y="58519"/>
                    </a:cubicBezTo>
                    <a:cubicBezTo>
                      <a:pt x="742099" y="58519"/>
                      <a:pt x="741384" y="58519"/>
                      <a:pt x="741384" y="58519"/>
                    </a:cubicBezTo>
                    <a:cubicBezTo>
                      <a:pt x="735663" y="56380"/>
                      <a:pt x="729227" y="54954"/>
                      <a:pt x="723507" y="54242"/>
                    </a:cubicBezTo>
                    <a:cubicBezTo>
                      <a:pt x="722791" y="53529"/>
                      <a:pt x="722791" y="53529"/>
                      <a:pt x="722076" y="53529"/>
                    </a:cubicBezTo>
                    <a:cubicBezTo>
                      <a:pt x="716355" y="52103"/>
                      <a:pt x="709919" y="50677"/>
                      <a:pt x="704198" y="49251"/>
                    </a:cubicBezTo>
                    <a:cubicBezTo>
                      <a:pt x="703483" y="49251"/>
                      <a:pt x="703483" y="49251"/>
                      <a:pt x="702768" y="49251"/>
                    </a:cubicBezTo>
                    <a:cubicBezTo>
                      <a:pt x="696332" y="47825"/>
                      <a:pt x="690611" y="47112"/>
                      <a:pt x="684175" y="45686"/>
                    </a:cubicBezTo>
                    <a:cubicBezTo>
                      <a:pt x="683460" y="45686"/>
                      <a:pt x="683460" y="45686"/>
                      <a:pt x="682745" y="45686"/>
                    </a:cubicBezTo>
                    <a:cubicBezTo>
                      <a:pt x="676309" y="44260"/>
                      <a:pt x="670588" y="42834"/>
                      <a:pt x="664152" y="42121"/>
                    </a:cubicBezTo>
                    <a:cubicBezTo>
                      <a:pt x="663437" y="42121"/>
                      <a:pt x="662722" y="42121"/>
                      <a:pt x="662007" y="42121"/>
                    </a:cubicBezTo>
                    <a:cubicBezTo>
                      <a:pt x="656286" y="40695"/>
                      <a:pt x="649850" y="39982"/>
                      <a:pt x="643414" y="39269"/>
                    </a:cubicBezTo>
                    <a:cubicBezTo>
                      <a:pt x="642699" y="38557"/>
                      <a:pt x="641984" y="38557"/>
                      <a:pt x="641984" y="38557"/>
                    </a:cubicBezTo>
                    <a:cubicBezTo>
                      <a:pt x="635548" y="37844"/>
                      <a:pt x="628397" y="37131"/>
                      <a:pt x="621961" y="36418"/>
                    </a:cubicBezTo>
                    <a:cubicBezTo>
                      <a:pt x="621245" y="36418"/>
                      <a:pt x="621245" y="36418"/>
                      <a:pt x="620530" y="35705"/>
                    </a:cubicBezTo>
                    <a:cubicBezTo>
                      <a:pt x="614094" y="34992"/>
                      <a:pt x="606943" y="34279"/>
                      <a:pt x="600507" y="33566"/>
                    </a:cubicBezTo>
                    <a:cubicBezTo>
                      <a:pt x="599792" y="33566"/>
                      <a:pt x="599792" y="33566"/>
                      <a:pt x="599792" y="33566"/>
                    </a:cubicBezTo>
                    <a:cubicBezTo>
                      <a:pt x="592641" y="32853"/>
                      <a:pt x="585490" y="32140"/>
                      <a:pt x="578339" y="32140"/>
                    </a:cubicBezTo>
                    <a:cubicBezTo>
                      <a:pt x="578339" y="32140"/>
                      <a:pt x="578339" y="32140"/>
                      <a:pt x="577624" y="32140"/>
                    </a:cubicBezTo>
                    <a:cubicBezTo>
                      <a:pt x="570473" y="31427"/>
                      <a:pt x="563321" y="30714"/>
                      <a:pt x="556170" y="30714"/>
                    </a:cubicBezTo>
                    <a:cubicBezTo>
                      <a:pt x="549019" y="30001"/>
                      <a:pt x="541153" y="29288"/>
                      <a:pt x="534002" y="29288"/>
                    </a:cubicBezTo>
                    <a:cubicBezTo>
                      <a:pt x="518984" y="28575"/>
                      <a:pt x="503967" y="28575"/>
                      <a:pt x="488950" y="28575"/>
                    </a:cubicBezTo>
                    <a:cubicBezTo>
                      <a:pt x="485374" y="28575"/>
                      <a:pt x="481083" y="28575"/>
                      <a:pt x="477508" y="28575"/>
                    </a:cubicBezTo>
                    <a:close/>
                    <a:moveTo>
                      <a:pt x="488950" y="0"/>
                    </a:moveTo>
                    <a:cubicBezTo>
                      <a:pt x="613151" y="0"/>
                      <a:pt x="731641" y="19252"/>
                      <a:pt x="821579" y="54903"/>
                    </a:cubicBezTo>
                    <a:cubicBezTo>
                      <a:pt x="912945" y="90555"/>
                      <a:pt x="967193" y="139041"/>
                      <a:pt x="976473" y="192518"/>
                    </a:cubicBezTo>
                    <a:cubicBezTo>
                      <a:pt x="977186" y="193944"/>
                      <a:pt x="977900" y="196083"/>
                      <a:pt x="977900" y="198935"/>
                    </a:cubicBezTo>
                    <a:cubicBezTo>
                      <a:pt x="977900" y="198935"/>
                      <a:pt x="977900" y="198935"/>
                      <a:pt x="977900" y="884870"/>
                    </a:cubicBezTo>
                    <a:cubicBezTo>
                      <a:pt x="977900" y="1001807"/>
                      <a:pt x="763762" y="1093788"/>
                      <a:pt x="488950" y="1093788"/>
                    </a:cubicBezTo>
                    <a:cubicBezTo>
                      <a:pt x="214139" y="1093788"/>
                      <a:pt x="0" y="1001807"/>
                      <a:pt x="0" y="884870"/>
                    </a:cubicBezTo>
                    <a:cubicBezTo>
                      <a:pt x="0" y="881305"/>
                      <a:pt x="0" y="877027"/>
                      <a:pt x="714" y="873462"/>
                    </a:cubicBezTo>
                    <a:cubicBezTo>
                      <a:pt x="714" y="873462"/>
                      <a:pt x="714" y="873462"/>
                      <a:pt x="714" y="220326"/>
                    </a:cubicBezTo>
                    <a:cubicBezTo>
                      <a:pt x="0" y="216761"/>
                      <a:pt x="0" y="212483"/>
                      <a:pt x="0" y="208918"/>
                    </a:cubicBezTo>
                    <a:cubicBezTo>
                      <a:pt x="0" y="91981"/>
                      <a:pt x="214139" y="0"/>
                      <a:pt x="488950" y="0"/>
                    </a:cubicBezTo>
                    <a:close/>
                  </a:path>
                </a:pathLst>
              </a:custGeom>
              <a:solidFill>
                <a:srgbClr val="295E7E"/>
              </a:solidFill>
              <a:ln w="9525" cap="flat" cmpd="sng" algn="ctr">
                <a:solidFill>
                  <a:srgbClr val="295E7E"/>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dirty="0"/>
              </a:p>
            </p:txBody>
          </p:sp>
          <p:sp>
            <p:nvSpPr>
              <p:cNvPr id="14" name="Freeform 13"/>
              <p:cNvSpPr>
                <a:spLocks/>
              </p:cNvSpPr>
              <p:nvPr/>
            </p:nvSpPr>
            <p:spPr bwMode="auto">
              <a:xfrm>
                <a:off x="5667375" y="3184524"/>
                <a:ext cx="860425" cy="723900"/>
              </a:xfrm>
              <a:custGeom>
                <a:avLst/>
                <a:gdLst>
                  <a:gd name="connsiteX0" fmla="*/ 860425 w 860425"/>
                  <a:gd name="connsiteY0" fmla="*/ 434975 h 723900"/>
                  <a:gd name="connsiteX1" fmla="*/ 860425 w 860425"/>
                  <a:gd name="connsiteY1" fmla="*/ 581935 h 723900"/>
                  <a:gd name="connsiteX2" fmla="*/ 743224 w 860425"/>
                  <a:gd name="connsiteY2" fmla="*/ 679670 h 723900"/>
                  <a:gd name="connsiteX3" fmla="*/ 703919 w 860425"/>
                  <a:gd name="connsiteY3" fmla="*/ 693224 h 723900"/>
                  <a:gd name="connsiteX4" fmla="*/ 430927 w 860425"/>
                  <a:gd name="connsiteY4" fmla="*/ 723900 h 723900"/>
                  <a:gd name="connsiteX5" fmla="*/ 155791 w 860425"/>
                  <a:gd name="connsiteY5" fmla="*/ 693224 h 723900"/>
                  <a:gd name="connsiteX6" fmla="*/ 117201 w 860425"/>
                  <a:gd name="connsiteY6" fmla="*/ 679670 h 723900"/>
                  <a:gd name="connsiteX7" fmla="*/ 0 w 860425"/>
                  <a:gd name="connsiteY7" fmla="*/ 581935 h 723900"/>
                  <a:gd name="connsiteX8" fmla="*/ 0 w 860425"/>
                  <a:gd name="connsiteY8" fmla="*/ 579794 h 723900"/>
                  <a:gd name="connsiteX9" fmla="*/ 715 w 860425"/>
                  <a:gd name="connsiteY9" fmla="*/ 577654 h 723900"/>
                  <a:gd name="connsiteX10" fmla="*/ 715 w 860425"/>
                  <a:gd name="connsiteY10" fmla="*/ 436402 h 723900"/>
                  <a:gd name="connsiteX11" fmla="*/ 430927 w 860425"/>
                  <a:gd name="connsiteY11" fmla="*/ 557679 h 723900"/>
                  <a:gd name="connsiteX12" fmla="*/ 860425 w 860425"/>
                  <a:gd name="connsiteY12" fmla="*/ 434975 h 723900"/>
                  <a:gd name="connsiteX13" fmla="*/ 860425 w 860425"/>
                  <a:gd name="connsiteY13" fmla="*/ 214313 h 723900"/>
                  <a:gd name="connsiteX14" fmla="*/ 860425 w 860425"/>
                  <a:gd name="connsiteY14" fmla="*/ 384562 h 723900"/>
                  <a:gd name="connsiteX15" fmla="*/ 430570 w 860425"/>
                  <a:gd name="connsiteY15" fmla="*/ 511176 h 723900"/>
                  <a:gd name="connsiteX16" fmla="*/ 0 w 860425"/>
                  <a:gd name="connsiteY16" fmla="*/ 385993 h 723900"/>
                  <a:gd name="connsiteX17" fmla="*/ 0 w 860425"/>
                  <a:gd name="connsiteY17" fmla="*/ 215744 h 723900"/>
                  <a:gd name="connsiteX18" fmla="*/ 430570 w 860425"/>
                  <a:gd name="connsiteY18" fmla="*/ 340212 h 723900"/>
                  <a:gd name="connsiteX19" fmla="*/ 860425 w 860425"/>
                  <a:gd name="connsiteY19" fmla="*/ 214313 h 723900"/>
                  <a:gd name="connsiteX20" fmla="*/ 860425 w 860425"/>
                  <a:gd name="connsiteY20" fmla="*/ 0 h 723900"/>
                  <a:gd name="connsiteX21" fmla="*/ 860425 w 860425"/>
                  <a:gd name="connsiteY21" fmla="*/ 165508 h 723900"/>
                  <a:gd name="connsiteX22" fmla="*/ 430570 w 860425"/>
                  <a:gd name="connsiteY22" fmla="*/ 288925 h 723900"/>
                  <a:gd name="connsiteX23" fmla="*/ 0 w 860425"/>
                  <a:gd name="connsiteY23" fmla="*/ 166935 h 723900"/>
                  <a:gd name="connsiteX24" fmla="*/ 0 w 860425"/>
                  <a:gd name="connsiteY24" fmla="*/ 1427 h 723900"/>
                  <a:gd name="connsiteX25" fmla="*/ 430570 w 860425"/>
                  <a:gd name="connsiteY25" fmla="*/ 122704 h 723900"/>
                  <a:gd name="connsiteX26" fmla="*/ 860425 w 860425"/>
                  <a:gd name="connsiteY26"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0425" h="723900">
                    <a:moveTo>
                      <a:pt x="860425" y="434975"/>
                    </a:moveTo>
                    <a:cubicBezTo>
                      <a:pt x="860425" y="434975"/>
                      <a:pt x="860425" y="434975"/>
                      <a:pt x="860425" y="581935"/>
                    </a:cubicBezTo>
                    <a:cubicBezTo>
                      <a:pt x="860425" y="614037"/>
                      <a:pt x="815403" y="651847"/>
                      <a:pt x="743224" y="679670"/>
                    </a:cubicBezTo>
                    <a:cubicBezTo>
                      <a:pt x="731076" y="684663"/>
                      <a:pt x="717497" y="688944"/>
                      <a:pt x="703919" y="693224"/>
                    </a:cubicBezTo>
                    <a:cubicBezTo>
                      <a:pt x="629597" y="713199"/>
                      <a:pt x="533835" y="723900"/>
                      <a:pt x="430927" y="723900"/>
                    </a:cubicBezTo>
                    <a:cubicBezTo>
                      <a:pt x="326590" y="723900"/>
                      <a:pt x="230829" y="713199"/>
                      <a:pt x="155791" y="693224"/>
                    </a:cubicBezTo>
                    <a:cubicBezTo>
                      <a:pt x="142213" y="688944"/>
                      <a:pt x="129350" y="684663"/>
                      <a:pt x="117201" y="679670"/>
                    </a:cubicBezTo>
                    <a:cubicBezTo>
                      <a:pt x="45022" y="651847"/>
                      <a:pt x="0" y="614037"/>
                      <a:pt x="0" y="581935"/>
                    </a:cubicBezTo>
                    <a:cubicBezTo>
                      <a:pt x="0" y="581221"/>
                      <a:pt x="0" y="580508"/>
                      <a:pt x="0" y="579794"/>
                    </a:cubicBezTo>
                    <a:cubicBezTo>
                      <a:pt x="0" y="579794"/>
                      <a:pt x="0" y="579794"/>
                      <a:pt x="715" y="577654"/>
                    </a:cubicBezTo>
                    <a:cubicBezTo>
                      <a:pt x="715" y="577654"/>
                      <a:pt x="715" y="577654"/>
                      <a:pt x="715" y="436402"/>
                    </a:cubicBezTo>
                    <a:cubicBezTo>
                      <a:pt x="33588" y="509168"/>
                      <a:pt x="213677" y="557679"/>
                      <a:pt x="430927" y="557679"/>
                    </a:cubicBezTo>
                    <a:cubicBezTo>
                      <a:pt x="648178" y="557679"/>
                      <a:pt x="828981" y="508455"/>
                      <a:pt x="860425" y="434975"/>
                    </a:cubicBezTo>
                    <a:close/>
                    <a:moveTo>
                      <a:pt x="860425" y="214313"/>
                    </a:moveTo>
                    <a:cubicBezTo>
                      <a:pt x="860425" y="214313"/>
                      <a:pt x="860425" y="214313"/>
                      <a:pt x="860425" y="384562"/>
                    </a:cubicBezTo>
                    <a:cubicBezTo>
                      <a:pt x="828955" y="461103"/>
                      <a:pt x="648001" y="511176"/>
                      <a:pt x="430570" y="511176"/>
                    </a:cubicBezTo>
                    <a:cubicBezTo>
                      <a:pt x="213140" y="511176"/>
                      <a:pt x="32901" y="461818"/>
                      <a:pt x="0" y="385993"/>
                    </a:cubicBezTo>
                    <a:cubicBezTo>
                      <a:pt x="0" y="385993"/>
                      <a:pt x="0" y="385993"/>
                      <a:pt x="0" y="215744"/>
                    </a:cubicBezTo>
                    <a:cubicBezTo>
                      <a:pt x="32901" y="290854"/>
                      <a:pt x="213140" y="340212"/>
                      <a:pt x="430570" y="340212"/>
                    </a:cubicBezTo>
                    <a:cubicBezTo>
                      <a:pt x="648001" y="340212"/>
                      <a:pt x="828955" y="290138"/>
                      <a:pt x="860425" y="214313"/>
                    </a:cubicBezTo>
                    <a:close/>
                    <a:moveTo>
                      <a:pt x="860425" y="0"/>
                    </a:moveTo>
                    <a:cubicBezTo>
                      <a:pt x="860425" y="0"/>
                      <a:pt x="860425" y="0"/>
                      <a:pt x="860425" y="165508"/>
                    </a:cubicBezTo>
                    <a:cubicBezTo>
                      <a:pt x="828955" y="239701"/>
                      <a:pt x="648001" y="288925"/>
                      <a:pt x="430570" y="288925"/>
                    </a:cubicBezTo>
                    <a:cubicBezTo>
                      <a:pt x="213140" y="288925"/>
                      <a:pt x="32901" y="240414"/>
                      <a:pt x="0" y="166935"/>
                    </a:cubicBezTo>
                    <a:cubicBezTo>
                      <a:pt x="0" y="166935"/>
                      <a:pt x="0" y="166935"/>
                      <a:pt x="0" y="1427"/>
                    </a:cubicBezTo>
                    <a:cubicBezTo>
                      <a:pt x="32901" y="74193"/>
                      <a:pt x="213140" y="122704"/>
                      <a:pt x="430570" y="122704"/>
                    </a:cubicBezTo>
                    <a:cubicBezTo>
                      <a:pt x="648001" y="122704"/>
                      <a:pt x="828955" y="73480"/>
                      <a:pt x="860425"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5" name="TextBox 24"/>
          <p:cNvSpPr txBox="1"/>
          <p:nvPr/>
        </p:nvSpPr>
        <p:spPr>
          <a:xfrm>
            <a:off x="4230345" y="1102935"/>
            <a:ext cx="5642039" cy="47888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Joined two datasets</a:t>
            </a:r>
          </a:p>
          <a:p>
            <a:pPr marL="781200" lvl="2" indent="-216000">
              <a:buClr>
                <a:schemeClr val="tx2">
                  <a:lumMod val="100000"/>
                </a:schemeClr>
              </a:buClr>
              <a:buSzPct val="100000"/>
              <a:buFont typeface="Trebuchet MS" panose="020B0603020202020204" pitchFamily="34" charset="0"/>
              <a:buChar char="•"/>
            </a:pPr>
            <a:r>
              <a:rPr lang="en-US" sz="2000" dirty="0">
                <a:solidFill>
                  <a:schemeClr val="tx2"/>
                </a:solidFill>
                <a:latin typeface="Trebuchet MS" panose="020B0603020202020204" pitchFamily="34" charset="0"/>
              </a:rPr>
              <a:t>Airline flight data</a:t>
            </a:r>
          </a:p>
          <a:p>
            <a:pPr marL="781200" lvl="2" indent="-216000">
              <a:buClr>
                <a:schemeClr val="tx2">
                  <a:lumMod val="100000"/>
                </a:schemeClr>
              </a:buClr>
              <a:buSzPct val="100000"/>
              <a:buFont typeface="Trebuchet MS" panose="020B0603020202020204" pitchFamily="34" charset="0"/>
              <a:buChar char="•"/>
            </a:pPr>
            <a:r>
              <a:rPr lang="en-US" sz="2000" dirty="0">
                <a:solidFill>
                  <a:schemeClr val="tx2"/>
                </a:solidFill>
                <a:latin typeface="Trebuchet MS" panose="020B0603020202020204" pitchFamily="34" charset="0"/>
              </a:rPr>
              <a:t>Airport location data</a:t>
            </a:r>
          </a:p>
          <a:p>
            <a:pPr marL="781200" lvl="2" indent="-216000">
              <a:buClr>
                <a:schemeClr val="tx2">
                  <a:lumMod val="100000"/>
                </a:schemeClr>
              </a:buClr>
              <a:buSzPct val="100000"/>
              <a:buFont typeface="Trebuchet MS" panose="020B0603020202020204" pitchFamily="34" charset="0"/>
              <a:buChar char="•"/>
            </a:pPr>
            <a:r>
              <a:rPr lang="en-US" sz="2000" dirty="0">
                <a:solidFill>
                  <a:srgbClr val="FFC000"/>
                </a:solidFill>
                <a:latin typeface="Trebuchet MS" panose="020B0603020202020204" pitchFamily="34" charset="0"/>
                <a:hlinkClick r:id="rId7">
                  <a:extLst>
                    <a:ext uri="{A12FA001-AC4F-418D-AE19-62706E023703}">
                      <ahyp:hlinkClr xmlns:ahyp="http://schemas.microsoft.com/office/drawing/2018/hyperlinkcolor" val="tx"/>
                    </a:ext>
                  </a:extLst>
                </a:hlinkClick>
              </a:rPr>
              <a:t>https://</a:t>
            </a:r>
            <a:r>
              <a:rPr lang="en-US" sz="2000" dirty="0" err="1">
                <a:solidFill>
                  <a:srgbClr val="FFC000"/>
                </a:solidFill>
                <a:latin typeface="Trebuchet MS" panose="020B0603020202020204" pitchFamily="34" charset="0"/>
                <a:hlinkClick r:id="rId7">
                  <a:extLst>
                    <a:ext uri="{A12FA001-AC4F-418D-AE19-62706E023703}">
                      <ahyp:hlinkClr xmlns:ahyp="http://schemas.microsoft.com/office/drawing/2018/hyperlinkcolor" val="tx"/>
                    </a:ext>
                  </a:extLst>
                </a:hlinkClick>
              </a:rPr>
              <a:t>openflights.org</a:t>
            </a:r>
            <a:r>
              <a:rPr lang="en-US" sz="2000" dirty="0">
                <a:solidFill>
                  <a:srgbClr val="FFC000"/>
                </a:solidFill>
                <a:latin typeface="Trebuchet MS" panose="020B0603020202020204" pitchFamily="34" charset="0"/>
                <a:hlinkClick r:id="rId7">
                  <a:extLst>
                    <a:ext uri="{A12FA001-AC4F-418D-AE19-62706E023703}">
                      <ahyp:hlinkClr xmlns:ahyp="http://schemas.microsoft.com/office/drawing/2018/hyperlinkcolor" val="tx"/>
                    </a:ext>
                  </a:extLst>
                </a:hlinkClick>
              </a:rPr>
              <a:t>/</a:t>
            </a:r>
            <a:r>
              <a:rPr lang="en-US" sz="2000" dirty="0" err="1">
                <a:solidFill>
                  <a:srgbClr val="FFC000"/>
                </a:solidFill>
                <a:latin typeface="Trebuchet MS" panose="020B0603020202020204" pitchFamily="34" charset="0"/>
                <a:hlinkClick r:id="rId7">
                  <a:extLst>
                    <a:ext uri="{A12FA001-AC4F-418D-AE19-62706E023703}">
                      <ahyp:hlinkClr xmlns:ahyp="http://schemas.microsoft.com/office/drawing/2018/hyperlinkcolor" val="tx"/>
                    </a:ext>
                  </a:extLst>
                </a:hlinkClick>
              </a:rPr>
              <a:t>data.html</a:t>
            </a:r>
            <a:endParaRPr lang="en-US" sz="2000" dirty="0">
              <a:solidFill>
                <a:srgbClr val="FFC000"/>
              </a:solidFill>
              <a:latin typeface="Trebuchet MS" panose="020B0603020202020204" pitchFamily="34" charset="0"/>
            </a:endParaRPr>
          </a:p>
          <a:p>
            <a:pPr marL="781200" lvl="2" indent="-216000">
              <a:buClr>
                <a:schemeClr val="tx2">
                  <a:lumMod val="100000"/>
                </a:schemeClr>
              </a:buClr>
              <a:buSzPct val="100000"/>
              <a:buFont typeface="Trebuchet MS" panose="020B0603020202020204" pitchFamily="34" charset="0"/>
              <a:buChar char="•"/>
            </a:pPr>
            <a:endParaRPr lang="en-US" sz="2000" dirty="0">
              <a:solidFill>
                <a:schemeClr val="tx2"/>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SQLite database created</a:t>
            </a:r>
          </a:p>
          <a:p>
            <a:pPr marL="781200" lvl="2"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US Domestic routes only</a:t>
            </a:r>
          </a:p>
          <a:p>
            <a:pPr marL="324000" lvl="1" indent="-216000">
              <a:buClr>
                <a:schemeClr val="tx2">
                  <a:lumMod val="100000"/>
                </a:schemeClr>
              </a:buClr>
              <a:buSzPct val="100000"/>
              <a:buFont typeface="Trebuchet MS" panose="020B0603020202020204" pitchFamily="34" charset="0"/>
              <a:buChar char="•"/>
            </a:pPr>
            <a:endParaRPr lang="en-US" sz="2400" dirty="0">
              <a:solidFill>
                <a:schemeClr val="tx2"/>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Plotting</a:t>
            </a:r>
          </a:p>
          <a:p>
            <a:pPr marL="781200" lvl="2"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Leaflet</a:t>
            </a:r>
          </a:p>
          <a:p>
            <a:pPr marL="781200" lvl="2"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Sankey</a:t>
            </a:r>
          </a:p>
          <a:p>
            <a:pPr marL="324000" lvl="1" indent="-216000">
              <a:buClr>
                <a:schemeClr val="tx2">
                  <a:lumMod val="100000"/>
                </a:schemeClr>
              </a:buClr>
              <a:buSzPct val="100000"/>
              <a:buFont typeface="Trebuchet MS" panose="020B0603020202020204" pitchFamily="34" charset="0"/>
              <a:buChar char="•"/>
            </a:pPr>
            <a:endParaRPr lang="en-US" sz="2400" dirty="0">
              <a:solidFill>
                <a:schemeClr val="tx2"/>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400" dirty="0">
                <a:solidFill>
                  <a:schemeClr val="tx2"/>
                </a:solidFill>
                <a:latin typeface="Trebuchet MS" panose="020B0603020202020204" pitchFamily="34" charset="0"/>
              </a:rPr>
              <a:t>New library used</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71318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E8C756-B415-3646-9A01-C164834DDCF6}"/>
              </a:ext>
            </a:extLst>
          </p:cNvPr>
          <p:cNvPicPr>
            <a:picLocks noChangeAspect="1"/>
          </p:cNvPicPr>
          <p:nvPr/>
        </p:nvPicPr>
        <p:blipFill>
          <a:blip r:embed="rId3"/>
          <a:stretch>
            <a:fillRect/>
          </a:stretch>
        </p:blipFill>
        <p:spPr>
          <a:xfrm>
            <a:off x="0" y="568200"/>
            <a:ext cx="12192000" cy="5721600"/>
          </a:xfrm>
          <a:prstGeom prst="rect">
            <a:avLst/>
          </a:prstGeom>
        </p:spPr>
      </p:pic>
      <p:grpSp>
        <p:nvGrpSpPr>
          <p:cNvPr id="12" name="Group 11">
            <a:extLst>
              <a:ext uri="{FF2B5EF4-FFF2-40B4-BE49-F238E27FC236}">
                <a16:creationId xmlns:a16="http://schemas.microsoft.com/office/drawing/2014/main" id="{2C0DB195-8158-E345-9A96-CEBDA39911EC}"/>
              </a:ext>
            </a:extLst>
          </p:cNvPr>
          <p:cNvGrpSpPr/>
          <p:nvPr/>
        </p:nvGrpSpPr>
        <p:grpSpPr>
          <a:xfrm>
            <a:off x="0" y="430807"/>
            <a:ext cx="12192000" cy="6023727"/>
            <a:chOff x="0" y="499887"/>
            <a:chExt cx="12192000" cy="6023727"/>
          </a:xfrm>
        </p:grpSpPr>
        <p:sp>
          <p:nvSpPr>
            <p:cNvPr id="10" name="Rectangle 9">
              <a:extLst>
                <a:ext uri="{FF2B5EF4-FFF2-40B4-BE49-F238E27FC236}">
                  <a16:creationId xmlns:a16="http://schemas.microsoft.com/office/drawing/2014/main" id="{FC6C3ED8-A0AD-7D47-85DF-64E0E300381A}"/>
                </a:ext>
              </a:extLst>
            </p:cNvPr>
            <p:cNvSpPr/>
            <p:nvPr/>
          </p:nvSpPr>
          <p:spPr>
            <a:xfrm>
              <a:off x="0" y="499887"/>
              <a:ext cx="12192000" cy="6023727"/>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9" name="Picture 8">
              <a:extLst>
                <a:ext uri="{FF2B5EF4-FFF2-40B4-BE49-F238E27FC236}">
                  <a16:creationId xmlns:a16="http://schemas.microsoft.com/office/drawing/2014/main" id="{4184B7A3-A65E-7F4E-8E15-658FB8D0945B}"/>
                </a:ext>
              </a:extLst>
            </p:cNvPr>
            <p:cNvPicPr>
              <a:picLocks noChangeAspect="1"/>
            </p:cNvPicPr>
            <p:nvPr/>
          </p:nvPicPr>
          <p:blipFill>
            <a:blip r:embed="rId4"/>
            <a:stretch>
              <a:fillRect/>
            </a:stretch>
          </p:blipFill>
          <p:spPr>
            <a:xfrm>
              <a:off x="0" y="809294"/>
              <a:ext cx="12192000" cy="5157404"/>
            </a:xfrm>
            <a:prstGeom prst="rect">
              <a:avLst/>
            </a:prstGeom>
          </p:spPr>
        </p:pic>
      </p:grpSp>
      <p:pic>
        <p:nvPicPr>
          <p:cNvPr id="5" name="Picture 4">
            <a:extLst>
              <a:ext uri="{FF2B5EF4-FFF2-40B4-BE49-F238E27FC236}">
                <a16:creationId xmlns:a16="http://schemas.microsoft.com/office/drawing/2014/main" id="{EE1519E1-D71C-EA40-9E20-88675D6D5F53}"/>
              </a:ext>
            </a:extLst>
          </p:cNvPr>
          <p:cNvPicPr>
            <a:picLocks noChangeAspect="1"/>
          </p:cNvPicPr>
          <p:nvPr/>
        </p:nvPicPr>
        <p:blipFill>
          <a:blip r:embed="rId5"/>
          <a:stretch>
            <a:fillRect/>
          </a:stretch>
        </p:blipFill>
        <p:spPr>
          <a:xfrm>
            <a:off x="0" y="334386"/>
            <a:ext cx="12192000" cy="6092807"/>
          </a:xfrm>
          <a:prstGeom prst="rect">
            <a:avLst/>
          </a:prstGeom>
        </p:spPr>
      </p:pic>
    </p:spTree>
    <p:extLst>
      <p:ext uri="{BB962C8B-B14F-4D97-AF65-F5344CB8AC3E}">
        <p14:creationId xmlns:p14="http://schemas.microsoft.com/office/powerpoint/2010/main" val="2175868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xit" presetSubtype="0" fill="hold" nodeType="clickEffect">
                                  <p:stCondLst>
                                    <p:cond delay="0"/>
                                  </p:stCondLst>
                                  <p:childTnLst>
                                    <p:animEffect transition="out" filter="fade">
                                      <p:cBhvr>
                                        <p:cTn id="6" dur="1000"/>
                                        <p:tgtEl>
                                          <p:spTgt spid="5"/>
                                        </p:tgtEl>
                                      </p:cBhvr>
                                    </p:animEffect>
                                    <p:anim calcmode="lin" valueType="num">
                                      <p:cBhvr>
                                        <p:cTn id="7" dur="1000"/>
                                        <p:tgtEl>
                                          <p:spTgt spid="5"/>
                                        </p:tgtEl>
                                        <p:attrNameLst>
                                          <p:attrName>ppt_x</p:attrName>
                                        </p:attrNameLst>
                                      </p:cBhvr>
                                      <p:tavLst>
                                        <p:tav tm="0">
                                          <p:val>
                                            <p:strVal val="ppt_x"/>
                                          </p:val>
                                        </p:tav>
                                        <p:tav tm="100000">
                                          <p:val>
                                            <p:strVal val="ppt_x"/>
                                          </p:val>
                                        </p:tav>
                                      </p:tavLst>
                                    </p:anim>
                                    <p:anim calcmode="lin" valueType="num">
                                      <p:cBhvr>
                                        <p:cTn id="8" dur="1000"/>
                                        <p:tgtEl>
                                          <p:spTgt spid="5"/>
                                        </p:tgtEl>
                                        <p:attrNameLst>
                                          <p:attrName>ppt_y</p:attrName>
                                        </p:attrNameLst>
                                      </p:cBhvr>
                                      <p:tavLst>
                                        <p:tav tm="0">
                                          <p:val>
                                            <p:strVal val="ppt_y"/>
                                          </p:val>
                                        </p:tav>
                                        <p:tav tm="100000">
                                          <p:val>
                                            <p:strVal val="ppt_y-.1"/>
                                          </p:val>
                                        </p:tav>
                                      </p:tavLst>
                                    </p:anim>
                                    <p:set>
                                      <p:cBhvr>
                                        <p:cTn id="9" dur="1" fill="hold">
                                          <p:stCondLst>
                                            <p:cond delay="999"/>
                                          </p:stCondLst>
                                        </p:cTn>
                                        <p:tgtEl>
                                          <p:spTgt spid="5"/>
                                        </p:tgtEl>
                                        <p:attrNameLst>
                                          <p:attrName>style.visibility</p:attrName>
                                        </p:attrNameLst>
                                      </p:cBhvr>
                                      <p:to>
                                        <p:strVal val="hidden"/>
                                      </p:to>
                                    </p:set>
                                  </p:childTnLst>
                                </p:cTn>
                              </p:par>
                              <p:par>
                                <p:cTn id="10" presetID="37"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900" decel="100000" fill="hold"/>
                                        <p:tgtEl>
                                          <p:spTgt spid="7"/>
                                        </p:tgtEl>
                                        <p:attrNameLst>
                                          <p:attrName>ppt_y</p:attrName>
                                        </p:attrNameLst>
                                      </p:cBhvr>
                                      <p:tavLst>
                                        <p:tav tm="0">
                                          <p:val>
                                            <p:strVal val="#ppt_y+1"/>
                                          </p:val>
                                        </p:tav>
                                        <p:tav tm="100000">
                                          <p:val>
                                            <p:strVal val="#ppt_y-.03"/>
                                          </p:val>
                                        </p:tav>
                                      </p:tavLst>
                                    </p:anim>
                                    <p:anim calcmode="lin" valueType="num">
                                      <p:cBhvr>
                                        <p:cTn id="15"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37"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000"/>
                                        <p:tgtEl>
                                          <p:spTgt spid="7"/>
                                        </p:tgtEl>
                                      </p:cBhvr>
                                    </p:animEffect>
                                    <p:anim calcmode="lin" valueType="num">
                                      <p:cBhvr>
                                        <p:cTn id="21" dur="1000" fill="hold"/>
                                        <p:tgtEl>
                                          <p:spTgt spid="7"/>
                                        </p:tgtEl>
                                        <p:attrNameLst>
                                          <p:attrName>ppt_x</p:attrName>
                                        </p:attrNameLst>
                                      </p:cBhvr>
                                      <p:tavLst>
                                        <p:tav tm="0">
                                          <p:val>
                                            <p:strVal val="#ppt_x"/>
                                          </p:val>
                                        </p:tav>
                                        <p:tav tm="100000">
                                          <p:val>
                                            <p:strVal val="#ppt_x"/>
                                          </p:val>
                                        </p:tav>
                                      </p:tavLst>
                                    </p:anim>
                                    <p:anim calcmode="lin" valueType="num">
                                      <p:cBhvr>
                                        <p:cTn id="22" dur="900" decel="100000" fill="hold"/>
                                        <p:tgtEl>
                                          <p:spTgt spid="7"/>
                                        </p:tgtEl>
                                        <p:attrNameLst>
                                          <p:attrName>ppt_y</p:attrName>
                                        </p:attrNameLst>
                                      </p:cBhvr>
                                      <p:tavLst>
                                        <p:tav tm="0">
                                          <p:val>
                                            <p:strVal val="#ppt_y+1"/>
                                          </p:val>
                                        </p:tav>
                                        <p:tav tm="100000">
                                          <p:val>
                                            <p:strVal val="#ppt_y-.03"/>
                                          </p:val>
                                        </p:tav>
                                      </p:tavLst>
                                    </p:anim>
                                    <p:anim calcmode="lin" valueType="num">
                                      <p:cBhvr>
                                        <p:cTn id="23"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par>
                                <p:cTn id="24" presetID="37" presetClass="entr" presetSubtype="0"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1000"/>
                                        <p:tgtEl>
                                          <p:spTgt spid="12"/>
                                        </p:tgtEl>
                                      </p:cBhvr>
                                    </p:animEffect>
                                    <p:anim calcmode="lin" valueType="num">
                                      <p:cBhvr>
                                        <p:cTn id="27" dur="1000" fill="hold"/>
                                        <p:tgtEl>
                                          <p:spTgt spid="12"/>
                                        </p:tgtEl>
                                        <p:attrNameLst>
                                          <p:attrName>ppt_x</p:attrName>
                                        </p:attrNameLst>
                                      </p:cBhvr>
                                      <p:tavLst>
                                        <p:tav tm="0">
                                          <p:val>
                                            <p:strVal val="#ppt_x"/>
                                          </p:val>
                                        </p:tav>
                                        <p:tav tm="100000">
                                          <p:val>
                                            <p:strVal val="#ppt_x"/>
                                          </p:val>
                                        </p:tav>
                                      </p:tavLst>
                                    </p:anim>
                                    <p:anim calcmode="lin" valueType="num">
                                      <p:cBhvr>
                                        <p:cTn id="28" dur="900" decel="100000" fill="hold"/>
                                        <p:tgtEl>
                                          <p:spTgt spid="12"/>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9745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40"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2"/>
          <p:cNvSpPr>
            <a:spLocks noGrp="1"/>
          </p:cNvSpPr>
          <p:nvPr>
            <p:ph type="title"/>
          </p:nvPr>
        </p:nvSpPr>
        <p:spPr>
          <a:xfrm>
            <a:off x="630000" y="622800"/>
            <a:ext cx="10933350" cy="332399"/>
          </a:xfrm>
        </p:spPr>
        <p:txBody>
          <a:bodyPr/>
          <a:lstStyle/>
          <a:p>
            <a:r>
              <a:rPr lang="en-US" dirty="0">
                <a:solidFill>
                  <a:schemeClr val="accent6">
                    <a:lumMod val="75000"/>
                  </a:schemeClr>
                </a:solidFill>
              </a:rPr>
              <a:t>Bar chart of domestic routes by airline</a:t>
            </a:r>
          </a:p>
        </p:txBody>
      </p:sp>
      <p:grpSp>
        <p:nvGrpSpPr>
          <p:cNvPr id="16" name="Group 15"/>
          <p:cNvGrpSpPr/>
          <p:nvPr/>
        </p:nvGrpSpPr>
        <p:grpSpPr>
          <a:xfrm>
            <a:off x="9197526" y="5520690"/>
            <a:ext cx="2364756" cy="1337310"/>
            <a:chOff x="3900574" y="2605882"/>
            <a:chExt cx="3018545" cy="1707039"/>
          </a:xfrm>
        </p:grpSpPr>
        <p:grpSp>
          <p:nvGrpSpPr>
            <p:cNvPr id="7" name="bcgIcons_Plane">
              <a:extLst>
                <a:ext uri="{FF2B5EF4-FFF2-40B4-BE49-F238E27FC236}">
                  <a16:creationId xmlns:a16="http://schemas.microsoft.com/office/drawing/2014/main" id="{084CBEAE-EBCC-43CD-A3D6-94D285D9864E}"/>
                </a:ext>
              </a:extLst>
            </p:cNvPr>
            <p:cNvGrpSpPr>
              <a:grpSpLocks noChangeAspect="1"/>
            </p:cNvGrpSpPr>
            <p:nvPr/>
          </p:nvGrpSpPr>
          <p:grpSpPr bwMode="auto">
            <a:xfrm>
              <a:off x="3900574" y="2667001"/>
              <a:ext cx="1644396" cy="1645920"/>
              <a:chOff x="1682" y="0"/>
              <a:chExt cx="4316" cy="4320"/>
            </a:xfrm>
          </p:grpSpPr>
          <p:sp>
            <p:nvSpPr>
              <p:cNvPr id="8" name="AutoShape 32">
                <a:extLst>
                  <a:ext uri="{FF2B5EF4-FFF2-40B4-BE49-F238E27FC236}">
                    <a16:creationId xmlns:a16="http://schemas.microsoft.com/office/drawing/2014/main" id="{8CB157ED-34D0-402E-B5D8-C9C065CD9D4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34">
                <a:extLst>
                  <a:ext uri="{FF2B5EF4-FFF2-40B4-BE49-F238E27FC236}">
                    <a16:creationId xmlns:a16="http://schemas.microsoft.com/office/drawing/2014/main" id="{2743BEC4-FA7B-4DDA-B58B-B7A367BCBBA0}"/>
                  </a:ext>
                </a:extLst>
              </p:cNvPr>
              <p:cNvSpPr>
                <a:spLocks noEditPoints="1"/>
              </p:cNvSpPr>
              <p:nvPr/>
            </p:nvSpPr>
            <p:spPr bwMode="auto">
              <a:xfrm>
                <a:off x="2705" y="722"/>
                <a:ext cx="2572" cy="2570"/>
              </a:xfrm>
              <a:custGeom>
                <a:avLst/>
                <a:gdLst>
                  <a:gd name="T0" fmla="*/ 24 w 1373"/>
                  <a:gd name="T1" fmla="*/ 1371 h 1371"/>
                  <a:gd name="T2" fmla="*/ 8 w 1373"/>
                  <a:gd name="T3" fmla="*/ 1364 h 1371"/>
                  <a:gd name="T4" fmla="*/ 3 w 1373"/>
                  <a:gd name="T5" fmla="*/ 1341 h 1371"/>
                  <a:gd name="T6" fmla="*/ 11 w 1373"/>
                  <a:gd name="T7" fmla="*/ 1323 h 1371"/>
                  <a:gd name="T8" fmla="*/ 11 w 1373"/>
                  <a:gd name="T9" fmla="*/ 1323 h 1371"/>
                  <a:gd name="T10" fmla="*/ 156 w 1373"/>
                  <a:gd name="T11" fmla="*/ 1079 h 1371"/>
                  <a:gd name="T12" fmla="*/ 567 w 1373"/>
                  <a:gd name="T13" fmla="*/ 586 h 1371"/>
                  <a:gd name="T14" fmla="*/ 682 w 1373"/>
                  <a:gd name="T15" fmla="*/ 471 h 1371"/>
                  <a:gd name="T16" fmla="*/ 684 w 1373"/>
                  <a:gd name="T17" fmla="*/ 469 h 1371"/>
                  <a:gd name="T18" fmla="*/ 1274 w 1373"/>
                  <a:gd name="T19" fmla="*/ 0 h 1371"/>
                  <a:gd name="T20" fmla="*/ 1344 w 1373"/>
                  <a:gd name="T21" fmla="*/ 28 h 1371"/>
                  <a:gd name="T22" fmla="*/ 1373 w 1373"/>
                  <a:gd name="T23" fmla="*/ 98 h 1371"/>
                  <a:gd name="T24" fmla="*/ 904 w 1373"/>
                  <a:gd name="T25" fmla="*/ 689 h 1371"/>
                  <a:gd name="T26" fmla="*/ 786 w 1373"/>
                  <a:gd name="T27" fmla="*/ 806 h 1371"/>
                  <a:gd name="T28" fmla="*/ 294 w 1373"/>
                  <a:gd name="T29" fmla="*/ 1217 h 1371"/>
                  <a:gd name="T30" fmla="*/ 50 w 1373"/>
                  <a:gd name="T31" fmla="*/ 1362 h 1371"/>
                  <a:gd name="T32" fmla="*/ 32 w 1373"/>
                  <a:gd name="T33" fmla="*/ 1369 h 1371"/>
                  <a:gd name="T34" fmla="*/ 24 w 1373"/>
                  <a:gd name="T35" fmla="*/ 1371 h 1371"/>
                  <a:gd name="T36" fmla="*/ 1274 w 1373"/>
                  <a:gd name="T37" fmla="*/ 44 h 1371"/>
                  <a:gd name="T38" fmla="*/ 715 w 1373"/>
                  <a:gd name="T39" fmla="*/ 500 h 1371"/>
                  <a:gd name="T40" fmla="*/ 713 w 1373"/>
                  <a:gd name="T41" fmla="*/ 502 h 1371"/>
                  <a:gd name="T42" fmla="*/ 598 w 1373"/>
                  <a:gd name="T43" fmla="*/ 618 h 1371"/>
                  <a:gd name="T44" fmla="*/ 192 w 1373"/>
                  <a:gd name="T45" fmla="*/ 1104 h 1371"/>
                  <a:gd name="T46" fmla="*/ 67 w 1373"/>
                  <a:gd name="T47" fmla="*/ 1305 h 1371"/>
                  <a:gd name="T48" fmla="*/ 269 w 1373"/>
                  <a:gd name="T49" fmla="*/ 1181 h 1371"/>
                  <a:gd name="T50" fmla="*/ 755 w 1373"/>
                  <a:gd name="T51" fmla="*/ 774 h 1371"/>
                  <a:gd name="T52" fmla="*/ 873 w 1373"/>
                  <a:gd name="T53" fmla="*/ 657 h 1371"/>
                  <a:gd name="T54" fmla="*/ 1329 w 1373"/>
                  <a:gd name="T55" fmla="*/ 98 h 1371"/>
                  <a:gd name="T56" fmla="*/ 1313 w 1373"/>
                  <a:gd name="T57" fmla="*/ 59 h 1371"/>
                  <a:gd name="T58" fmla="*/ 1274 w 1373"/>
                  <a:gd name="T59" fmla="*/ 44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3" h="1371">
                    <a:moveTo>
                      <a:pt x="24" y="1371"/>
                    </a:moveTo>
                    <a:cubicBezTo>
                      <a:pt x="18" y="1371"/>
                      <a:pt x="12" y="1369"/>
                      <a:pt x="8" y="1364"/>
                    </a:cubicBezTo>
                    <a:cubicBezTo>
                      <a:pt x="2" y="1358"/>
                      <a:pt x="0" y="1349"/>
                      <a:pt x="3" y="1341"/>
                    </a:cubicBezTo>
                    <a:cubicBezTo>
                      <a:pt x="11" y="1323"/>
                      <a:pt x="11" y="1323"/>
                      <a:pt x="11" y="1323"/>
                    </a:cubicBezTo>
                    <a:cubicBezTo>
                      <a:pt x="11" y="1323"/>
                      <a:pt x="11" y="1323"/>
                      <a:pt x="11" y="1323"/>
                    </a:cubicBezTo>
                    <a:cubicBezTo>
                      <a:pt x="26" y="1285"/>
                      <a:pt x="73" y="1198"/>
                      <a:pt x="156" y="1079"/>
                    </a:cubicBezTo>
                    <a:cubicBezTo>
                      <a:pt x="238" y="959"/>
                      <a:pt x="377" y="777"/>
                      <a:pt x="567" y="586"/>
                    </a:cubicBezTo>
                    <a:cubicBezTo>
                      <a:pt x="606" y="547"/>
                      <a:pt x="645" y="509"/>
                      <a:pt x="682" y="471"/>
                    </a:cubicBezTo>
                    <a:cubicBezTo>
                      <a:pt x="684" y="469"/>
                      <a:pt x="684" y="469"/>
                      <a:pt x="684" y="469"/>
                    </a:cubicBezTo>
                    <a:cubicBezTo>
                      <a:pt x="943" y="207"/>
                      <a:pt x="1148" y="0"/>
                      <a:pt x="1274" y="0"/>
                    </a:cubicBezTo>
                    <a:cubicBezTo>
                      <a:pt x="1302" y="0"/>
                      <a:pt x="1326" y="9"/>
                      <a:pt x="1344" y="28"/>
                    </a:cubicBezTo>
                    <a:cubicBezTo>
                      <a:pt x="1364" y="47"/>
                      <a:pt x="1373" y="71"/>
                      <a:pt x="1373" y="98"/>
                    </a:cubicBezTo>
                    <a:cubicBezTo>
                      <a:pt x="1373" y="224"/>
                      <a:pt x="1166" y="429"/>
                      <a:pt x="904" y="689"/>
                    </a:cubicBezTo>
                    <a:cubicBezTo>
                      <a:pt x="866" y="726"/>
                      <a:pt x="826" y="765"/>
                      <a:pt x="786" y="806"/>
                    </a:cubicBezTo>
                    <a:cubicBezTo>
                      <a:pt x="596" y="996"/>
                      <a:pt x="413" y="1134"/>
                      <a:pt x="294" y="1217"/>
                    </a:cubicBezTo>
                    <a:cubicBezTo>
                      <a:pt x="175" y="1299"/>
                      <a:pt x="88" y="1347"/>
                      <a:pt x="50" y="1362"/>
                    </a:cubicBezTo>
                    <a:cubicBezTo>
                      <a:pt x="32" y="1369"/>
                      <a:pt x="32" y="1369"/>
                      <a:pt x="32" y="1369"/>
                    </a:cubicBezTo>
                    <a:cubicBezTo>
                      <a:pt x="29" y="1370"/>
                      <a:pt x="27" y="1371"/>
                      <a:pt x="24" y="1371"/>
                    </a:cubicBezTo>
                    <a:close/>
                    <a:moveTo>
                      <a:pt x="1274" y="44"/>
                    </a:moveTo>
                    <a:cubicBezTo>
                      <a:pt x="1167" y="44"/>
                      <a:pt x="947" y="265"/>
                      <a:pt x="715" y="500"/>
                    </a:cubicBezTo>
                    <a:cubicBezTo>
                      <a:pt x="713" y="502"/>
                      <a:pt x="713" y="502"/>
                      <a:pt x="713" y="502"/>
                    </a:cubicBezTo>
                    <a:cubicBezTo>
                      <a:pt x="676" y="540"/>
                      <a:pt x="637" y="578"/>
                      <a:pt x="598" y="618"/>
                    </a:cubicBezTo>
                    <a:cubicBezTo>
                      <a:pt x="410" y="806"/>
                      <a:pt x="273" y="986"/>
                      <a:pt x="192" y="1104"/>
                    </a:cubicBezTo>
                    <a:cubicBezTo>
                      <a:pt x="131" y="1192"/>
                      <a:pt x="90" y="1261"/>
                      <a:pt x="67" y="1305"/>
                    </a:cubicBezTo>
                    <a:cubicBezTo>
                      <a:pt x="112" y="1282"/>
                      <a:pt x="181" y="1242"/>
                      <a:pt x="269" y="1181"/>
                    </a:cubicBezTo>
                    <a:cubicBezTo>
                      <a:pt x="387" y="1099"/>
                      <a:pt x="567" y="962"/>
                      <a:pt x="755" y="774"/>
                    </a:cubicBezTo>
                    <a:cubicBezTo>
                      <a:pt x="795" y="734"/>
                      <a:pt x="835" y="695"/>
                      <a:pt x="873" y="657"/>
                    </a:cubicBezTo>
                    <a:cubicBezTo>
                      <a:pt x="1107" y="425"/>
                      <a:pt x="1329" y="206"/>
                      <a:pt x="1329" y="98"/>
                    </a:cubicBezTo>
                    <a:cubicBezTo>
                      <a:pt x="1329" y="82"/>
                      <a:pt x="1324" y="70"/>
                      <a:pt x="1313" y="59"/>
                    </a:cubicBezTo>
                    <a:cubicBezTo>
                      <a:pt x="1303" y="48"/>
                      <a:pt x="1290" y="44"/>
                      <a:pt x="127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35">
                <a:extLst>
                  <a:ext uri="{FF2B5EF4-FFF2-40B4-BE49-F238E27FC236}">
                    <a16:creationId xmlns:a16="http://schemas.microsoft.com/office/drawing/2014/main" id="{E13BEB0F-8900-4444-AC03-420EFD169220}"/>
                  </a:ext>
                </a:extLst>
              </p:cNvPr>
              <p:cNvSpPr>
                <a:spLocks noEditPoints="1"/>
              </p:cNvSpPr>
              <p:nvPr/>
            </p:nvSpPr>
            <p:spPr bwMode="auto">
              <a:xfrm>
                <a:off x="2399" y="898"/>
                <a:ext cx="2700" cy="2700"/>
              </a:xfrm>
              <a:custGeom>
                <a:avLst/>
                <a:gdLst>
                  <a:gd name="T0" fmla="*/ 609 w 1441"/>
                  <a:gd name="T1" fmla="*/ 399 h 1440"/>
                  <a:gd name="T2" fmla="*/ 9 w 1441"/>
                  <a:gd name="T3" fmla="*/ 179 h 1440"/>
                  <a:gd name="T4" fmla="*/ 1 w 1441"/>
                  <a:gd name="T5" fmla="*/ 166 h 1440"/>
                  <a:gd name="T6" fmla="*/ 12 w 1441"/>
                  <a:gd name="T7" fmla="*/ 152 h 1440"/>
                  <a:gd name="T8" fmla="*/ 194 w 1441"/>
                  <a:gd name="T9" fmla="*/ 61 h 1440"/>
                  <a:gd name="T10" fmla="*/ 206 w 1441"/>
                  <a:gd name="T11" fmla="*/ 59 h 1440"/>
                  <a:gd name="T12" fmla="*/ 976 w 1441"/>
                  <a:gd name="T13" fmla="*/ 182 h 1440"/>
                  <a:gd name="T14" fmla="*/ 977 w 1441"/>
                  <a:gd name="T15" fmla="*/ 182 h 1440"/>
                  <a:gd name="T16" fmla="*/ 815 w 1441"/>
                  <a:gd name="T17" fmla="*/ 344 h 1440"/>
                  <a:gd name="T18" fmla="*/ 813 w 1441"/>
                  <a:gd name="T19" fmla="*/ 346 h 1440"/>
                  <a:gd name="T20" fmla="*/ 699 w 1441"/>
                  <a:gd name="T21" fmla="*/ 461 h 1440"/>
                  <a:gd name="T22" fmla="*/ 691 w 1441"/>
                  <a:gd name="T23" fmla="*/ 470 h 1440"/>
                  <a:gd name="T24" fmla="*/ 609 w 1441"/>
                  <a:gd name="T25" fmla="*/ 399 h 1440"/>
                  <a:gd name="T26" fmla="*/ 1412 w 1441"/>
                  <a:gd name="T27" fmla="*/ 32 h 1440"/>
                  <a:gd name="T28" fmla="*/ 1295 w 1441"/>
                  <a:gd name="T29" fmla="*/ 33 h 1440"/>
                  <a:gd name="T30" fmla="*/ 1296 w 1441"/>
                  <a:gd name="T31" fmla="*/ 35 h 1440"/>
                  <a:gd name="T32" fmla="*/ 1325 w 1441"/>
                  <a:gd name="T33" fmla="*/ 48 h 1440"/>
                  <a:gd name="T34" fmla="*/ 1371 w 1441"/>
                  <a:gd name="T35" fmla="*/ 74 h 1440"/>
                  <a:gd name="T36" fmla="*/ 1394 w 1441"/>
                  <a:gd name="T37" fmla="*/ 125 h 1440"/>
                  <a:gd name="T38" fmla="*/ 1405 w 1441"/>
                  <a:gd name="T39" fmla="*/ 149 h 1440"/>
                  <a:gd name="T40" fmla="*/ 1412 w 1441"/>
                  <a:gd name="T41" fmla="*/ 32 h 1440"/>
                  <a:gd name="T42" fmla="*/ 1259 w 1441"/>
                  <a:gd name="T43" fmla="*/ 465 h 1440"/>
                  <a:gd name="T44" fmla="*/ 1098 w 1441"/>
                  <a:gd name="T45" fmla="*/ 626 h 1440"/>
                  <a:gd name="T46" fmla="*/ 1096 w 1441"/>
                  <a:gd name="T47" fmla="*/ 627 h 1440"/>
                  <a:gd name="T48" fmla="*/ 980 w 1441"/>
                  <a:gd name="T49" fmla="*/ 743 h 1440"/>
                  <a:gd name="T50" fmla="*/ 973 w 1441"/>
                  <a:gd name="T51" fmla="*/ 750 h 1440"/>
                  <a:gd name="T52" fmla="*/ 1038 w 1441"/>
                  <a:gd name="T53" fmla="*/ 827 h 1440"/>
                  <a:gd name="T54" fmla="*/ 1260 w 1441"/>
                  <a:gd name="T55" fmla="*/ 1431 h 1440"/>
                  <a:gd name="T56" fmla="*/ 1273 w 1441"/>
                  <a:gd name="T57" fmla="*/ 1440 h 1440"/>
                  <a:gd name="T58" fmla="*/ 1288 w 1441"/>
                  <a:gd name="T59" fmla="*/ 1428 h 1440"/>
                  <a:gd name="T60" fmla="*/ 1379 w 1441"/>
                  <a:gd name="T61" fmla="*/ 1245 h 1440"/>
                  <a:gd name="T62" fmla="*/ 1381 w 1441"/>
                  <a:gd name="T63" fmla="*/ 1233 h 1440"/>
                  <a:gd name="T64" fmla="*/ 1259 w 1441"/>
                  <a:gd name="T65" fmla="*/ 465 h 1440"/>
                  <a:gd name="T66" fmla="*/ 510 w 1441"/>
                  <a:gd name="T67" fmla="*/ 1276 h 1440"/>
                  <a:gd name="T68" fmla="*/ 479 w 1441"/>
                  <a:gd name="T69" fmla="*/ 1161 h 1440"/>
                  <a:gd name="T70" fmla="*/ 324 w 1441"/>
                  <a:gd name="T71" fmla="*/ 1260 h 1440"/>
                  <a:gd name="T72" fmla="*/ 425 w 1441"/>
                  <a:gd name="T73" fmla="*/ 1381 h 1440"/>
                  <a:gd name="T74" fmla="*/ 477 w 1441"/>
                  <a:gd name="T75" fmla="*/ 1386 h 1440"/>
                  <a:gd name="T76" fmla="*/ 480 w 1441"/>
                  <a:gd name="T77" fmla="*/ 1383 h 1440"/>
                  <a:gd name="T78" fmla="*/ 482 w 1441"/>
                  <a:gd name="T79" fmla="*/ 1380 h 1440"/>
                  <a:gd name="T80" fmla="*/ 510 w 1441"/>
                  <a:gd name="T81" fmla="*/ 1278 h 1440"/>
                  <a:gd name="T82" fmla="*/ 510 w 1441"/>
                  <a:gd name="T83" fmla="*/ 1276 h 1440"/>
                  <a:gd name="T84" fmla="*/ 282 w 1441"/>
                  <a:gd name="T85" fmla="*/ 961 h 1440"/>
                  <a:gd name="T86" fmla="*/ 275 w 1441"/>
                  <a:gd name="T87" fmla="*/ 957 h 1440"/>
                  <a:gd name="T88" fmla="*/ 160 w 1441"/>
                  <a:gd name="T89" fmla="*/ 926 h 1440"/>
                  <a:gd name="T90" fmla="*/ 158 w 1441"/>
                  <a:gd name="T91" fmla="*/ 925 h 1440"/>
                  <a:gd name="T92" fmla="*/ 56 w 1441"/>
                  <a:gd name="T93" fmla="*/ 954 h 1440"/>
                  <a:gd name="T94" fmla="*/ 52 w 1441"/>
                  <a:gd name="T95" fmla="*/ 956 h 1440"/>
                  <a:gd name="T96" fmla="*/ 49 w 1441"/>
                  <a:gd name="T97" fmla="*/ 959 h 1440"/>
                  <a:gd name="T98" fmla="*/ 55 w 1441"/>
                  <a:gd name="T99" fmla="*/ 1011 h 1440"/>
                  <a:gd name="T100" fmla="*/ 182 w 1441"/>
                  <a:gd name="T101" fmla="*/ 1117 h 1440"/>
                  <a:gd name="T102" fmla="*/ 282 w 1441"/>
                  <a:gd name="T103" fmla="*/ 96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1" h="1440">
                    <a:moveTo>
                      <a:pt x="609" y="399"/>
                    </a:moveTo>
                    <a:cubicBezTo>
                      <a:pt x="9" y="179"/>
                      <a:pt x="9" y="179"/>
                      <a:pt x="9" y="179"/>
                    </a:cubicBezTo>
                    <a:cubicBezTo>
                      <a:pt x="3" y="177"/>
                      <a:pt x="0" y="172"/>
                      <a:pt x="1" y="166"/>
                    </a:cubicBezTo>
                    <a:cubicBezTo>
                      <a:pt x="1" y="160"/>
                      <a:pt x="6" y="155"/>
                      <a:pt x="12" y="152"/>
                    </a:cubicBezTo>
                    <a:cubicBezTo>
                      <a:pt x="194" y="61"/>
                      <a:pt x="194" y="61"/>
                      <a:pt x="194" y="61"/>
                    </a:cubicBezTo>
                    <a:cubicBezTo>
                      <a:pt x="198" y="59"/>
                      <a:pt x="202" y="59"/>
                      <a:pt x="206" y="59"/>
                    </a:cubicBezTo>
                    <a:cubicBezTo>
                      <a:pt x="976" y="182"/>
                      <a:pt x="976" y="182"/>
                      <a:pt x="976" y="182"/>
                    </a:cubicBezTo>
                    <a:cubicBezTo>
                      <a:pt x="976" y="182"/>
                      <a:pt x="977" y="182"/>
                      <a:pt x="977" y="182"/>
                    </a:cubicBezTo>
                    <a:cubicBezTo>
                      <a:pt x="928" y="231"/>
                      <a:pt x="874" y="285"/>
                      <a:pt x="815" y="344"/>
                    </a:cubicBezTo>
                    <a:cubicBezTo>
                      <a:pt x="813" y="346"/>
                      <a:pt x="813" y="346"/>
                      <a:pt x="813" y="346"/>
                    </a:cubicBezTo>
                    <a:cubicBezTo>
                      <a:pt x="776" y="384"/>
                      <a:pt x="738" y="422"/>
                      <a:pt x="699" y="461"/>
                    </a:cubicBezTo>
                    <a:cubicBezTo>
                      <a:pt x="696" y="464"/>
                      <a:pt x="693" y="467"/>
                      <a:pt x="691" y="470"/>
                    </a:cubicBezTo>
                    <a:lnTo>
                      <a:pt x="609" y="399"/>
                    </a:lnTo>
                    <a:close/>
                    <a:moveTo>
                      <a:pt x="1412" y="32"/>
                    </a:moveTo>
                    <a:cubicBezTo>
                      <a:pt x="1384" y="0"/>
                      <a:pt x="1295" y="32"/>
                      <a:pt x="1295" y="33"/>
                    </a:cubicBezTo>
                    <a:cubicBezTo>
                      <a:pt x="1295" y="33"/>
                      <a:pt x="1295" y="34"/>
                      <a:pt x="1296" y="35"/>
                    </a:cubicBezTo>
                    <a:cubicBezTo>
                      <a:pt x="1299" y="39"/>
                      <a:pt x="1316" y="45"/>
                      <a:pt x="1325" y="48"/>
                    </a:cubicBezTo>
                    <a:cubicBezTo>
                      <a:pt x="1339" y="53"/>
                      <a:pt x="1357" y="60"/>
                      <a:pt x="1371" y="74"/>
                    </a:cubicBezTo>
                    <a:cubicBezTo>
                      <a:pt x="1384" y="89"/>
                      <a:pt x="1390" y="109"/>
                      <a:pt x="1394" y="125"/>
                    </a:cubicBezTo>
                    <a:cubicBezTo>
                      <a:pt x="1397" y="135"/>
                      <a:pt x="1402" y="145"/>
                      <a:pt x="1405" y="149"/>
                    </a:cubicBezTo>
                    <a:cubicBezTo>
                      <a:pt x="1406" y="150"/>
                      <a:pt x="1441" y="65"/>
                      <a:pt x="1412" y="32"/>
                    </a:cubicBezTo>
                    <a:close/>
                    <a:moveTo>
                      <a:pt x="1259" y="465"/>
                    </a:moveTo>
                    <a:cubicBezTo>
                      <a:pt x="1210" y="515"/>
                      <a:pt x="1156" y="568"/>
                      <a:pt x="1098" y="626"/>
                    </a:cubicBezTo>
                    <a:cubicBezTo>
                      <a:pt x="1096" y="627"/>
                      <a:pt x="1096" y="627"/>
                      <a:pt x="1096" y="627"/>
                    </a:cubicBezTo>
                    <a:cubicBezTo>
                      <a:pt x="1059" y="665"/>
                      <a:pt x="1020" y="703"/>
                      <a:pt x="980" y="743"/>
                    </a:cubicBezTo>
                    <a:cubicBezTo>
                      <a:pt x="978" y="745"/>
                      <a:pt x="975" y="748"/>
                      <a:pt x="973" y="750"/>
                    </a:cubicBezTo>
                    <a:cubicBezTo>
                      <a:pt x="1038" y="827"/>
                      <a:pt x="1038" y="827"/>
                      <a:pt x="1038" y="827"/>
                    </a:cubicBezTo>
                    <a:cubicBezTo>
                      <a:pt x="1260" y="1431"/>
                      <a:pt x="1260" y="1431"/>
                      <a:pt x="1260" y="1431"/>
                    </a:cubicBezTo>
                    <a:cubicBezTo>
                      <a:pt x="1262" y="1437"/>
                      <a:pt x="1267" y="1440"/>
                      <a:pt x="1273" y="1440"/>
                    </a:cubicBezTo>
                    <a:cubicBezTo>
                      <a:pt x="1279" y="1439"/>
                      <a:pt x="1285" y="1435"/>
                      <a:pt x="1288" y="1428"/>
                    </a:cubicBezTo>
                    <a:cubicBezTo>
                      <a:pt x="1379" y="1245"/>
                      <a:pt x="1379" y="1245"/>
                      <a:pt x="1379" y="1245"/>
                    </a:cubicBezTo>
                    <a:cubicBezTo>
                      <a:pt x="1381" y="1241"/>
                      <a:pt x="1381" y="1237"/>
                      <a:pt x="1381" y="1233"/>
                    </a:cubicBezTo>
                    <a:lnTo>
                      <a:pt x="1259" y="465"/>
                    </a:lnTo>
                    <a:close/>
                    <a:moveTo>
                      <a:pt x="510" y="1276"/>
                    </a:moveTo>
                    <a:cubicBezTo>
                      <a:pt x="479" y="1161"/>
                      <a:pt x="479" y="1161"/>
                      <a:pt x="479" y="1161"/>
                    </a:cubicBezTo>
                    <a:cubicBezTo>
                      <a:pt x="419" y="1203"/>
                      <a:pt x="366" y="1236"/>
                      <a:pt x="324" y="1260"/>
                    </a:cubicBezTo>
                    <a:cubicBezTo>
                      <a:pt x="425" y="1381"/>
                      <a:pt x="425" y="1381"/>
                      <a:pt x="425" y="1381"/>
                    </a:cubicBezTo>
                    <a:cubicBezTo>
                      <a:pt x="442" y="1403"/>
                      <a:pt x="463" y="1398"/>
                      <a:pt x="477" y="1386"/>
                    </a:cubicBezTo>
                    <a:cubicBezTo>
                      <a:pt x="480" y="1383"/>
                      <a:pt x="480" y="1383"/>
                      <a:pt x="480" y="1383"/>
                    </a:cubicBezTo>
                    <a:cubicBezTo>
                      <a:pt x="482" y="1380"/>
                      <a:pt x="482" y="1380"/>
                      <a:pt x="482" y="1380"/>
                    </a:cubicBezTo>
                    <a:cubicBezTo>
                      <a:pt x="485" y="1372"/>
                      <a:pt x="515" y="1308"/>
                      <a:pt x="510" y="1278"/>
                    </a:cubicBezTo>
                    <a:lnTo>
                      <a:pt x="510" y="1276"/>
                    </a:lnTo>
                    <a:close/>
                    <a:moveTo>
                      <a:pt x="282" y="961"/>
                    </a:moveTo>
                    <a:cubicBezTo>
                      <a:pt x="279" y="959"/>
                      <a:pt x="277" y="957"/>
                      <a:pt x="275" y="957"/>
                    </a:cubicBezTo>
                    <a:cubicBezTo>
                      <a:pt x="160" y="926"/>
                      <a:pt x="160" y="926"/>
                      <a:pt x="160" y="926"/>
                    </a:cubicBezTo>
                    <a:cubicBezTo>
                      <a:pt x="158" y="925"/>
                      <a:pt x="158" y="925"/>
                      <a:pt x="158" y="925"/>
                    </a:cubicBezTo>
                    <a:cubicBezTo>
                      <a:pt x="128" y="921"/>
                      <a:pt x="63" y="950"/>
                      <a:pt x="56" y="954"/>
                    </a:cubicBezTo>
                    <a:cubicBezTo>
                      <a:pt x="52" y="956"/>
                      <a:pt x="52" y="956"/>
                      <a:pt x="52" y="956"/>
                    </a:cubicBezTo>
                    <a:cubicBezTo>
                      <a:pt x="49" y="959"/>
                      <a:pt x="49" y="959"/>
                      <a:pt x="49" y="959"/>
                    </a:cubicBezTo>
                    <a:cubicBezTo>
                      <a:pt x="38" y="973"/>
                      <a:pt x="33" y="994"/>
                      <a:pt x="55" y="1011"/>
                    </a:cubicBezTo>
                    <a:cubicBezTo>
                      <a:pt x="182" y="1117"/>
                      <a:pt x="182" y="1117"/>
                      <a:pt x="182" y="1117"/>
                    </a:cubicBezTo>
                    <a:cubicBezTo>
                      <a:pt x="207" y="1074"/>
                      <a:pt x="240" y="1022"/>
                      <a:pt x="282" y="961"/>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a:grpSpLocks noChangeAspect="1"/>
            </p:cNvGrpSpPr>
            <p:nvPr/>
          </p:nvGrpSpPr>
          <p:grpSpPr>
            <a:xfrm>
              <a:off x="5272882" y="2605882"/>
              <a:ext cx="1646237" cy="1646237"/>
              <a:chOff x="9317037" y="2287588"/>
              <a:chExt cx="1646237" cy="1646237"/>
            </a:xfrm>
          </p:grpSpPr>
          <p:sp>
            <p:nvSpPr>
              <p:cNvPr id="12" name="AutoShape 16"/>
              <p:cNvSpPr>
                <a:spLocks noChangeAspect="1" noChangeArrowheads="1" noTextEdit="1"/>
              </p:cNvSpPr>
              <p:nvPr/>
            </p:nvSpPr>
            <p:spPr bwMode="auto">
              <a:xfrm>
                <a:off x="9317037" y="22875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p:cNvGrpSpPr/>
              <p:nvPr/>
            </p:nvGrpSpPr>
            <p:grpSpPr>
              <a:xfrm>
                <a:off x="9589125" y="2563018"/>
                <a:ext cx="1102060" cy="1095376"/>
                <a:chOff x="9588498" y="2562224"/>
                <a:chExt cx="1102060" cy="1095376"/>
              </a:xfrm>
            </p:grpSpPr>
            <p:sp>
              <p:nvSpPr>
                <p:cNvPr id="14" name="Freeform 13"/>
                <p:cNvSpPr>
                  <a:spLocks/>
                </p:cNvSpPr>
                <p:nvPr/>
              </p:nvSpPr>
              <p:spPr bwMode="auto">
                <a:xfrm>
                  <a:off x="9588499" y="2562224"/>
                  <a:ext cx="833951" cy="700088"/>
                </a:xfrm>
                <a:custGeom>
                  <a:avLst/>
                  <a:gdLst>
                    <a:gd name="connsiteX0" fmla="*/ 85725 w 833951"/>
                    <a:gd name="connsiteY0" fmla="*/ 534988 h 700088"/>
                    <a:gd name="connsiteX1" fmla="*/ 96417 w 833951"/>
                    <a:gd name="connsiteY1" fmla="*/ 534988 h 700088"/>
                    <a:gd name="connsiteX2" fmla="*/ 114948 w 833951"/>
                    <a:gd name="connsiteY2" fmla="*/ 539274 h 700088"/>
                    <a:gd name="connsiteX3" fmla="*/ 120650 w 833951"/>
                    <a:gd name="connsiteY3" fmla="*/ 555705 h 700088"/>
                    <a:gd name="connsiteX4" fmla="*/ 114948 w 833951"/>
                    <a:gd name="connsiteY4" fmla="*/ 572850 h 700088"/>
                    <a:gd name="connsiteX5" fmla="*/ 96417 w 833951"/>
                    <a:gd name="connsiteY5" fmla="*/ 577850 h 700088"/>
                    <a:gd name="connsiteX6" fmla="*/ 85725 w 833951"/>
                    <a:gd name="connsiteY6" fmla="*/ 577136 h 700088"/>
                    <a:gd name="connsiteX7" fmla="*/ 85725 w 833951"/>
                    <a:gd name="connsiteY7" fmla="*/ 534988 h 700088"/>
                    <a:gd name="connsiteX8" fmla="*/ 85725 w 833951"/>
                    <a:gd name="connsiteY8" fmla="*/ 490538 h 700088"/>
                    <a:gd name="connsiteX9" fmla="*/ 97448 w 833951"/>
                    <a:gd name="connsiteY9" fmla="*/ 490538 h 700088"/>
                    <a:gd name="connsiteX10" fmla="*/ 114300 w 833951"/>
                    <a:gd name="connsiteY10" fmla="*/ 505433 h 700088"/>
                    <a:gd name="connsiteX11" fmla="*/ 95983 w 833951"/>
                    <a:gd name="connsiteY11" fmla="*/ 523875 h 700088"/>
                    <a:gd name="connsiteX12" fmla="*/ 85725 w 833951"/>
                    <a:gd name="connsiteY12" fmla="*/ 523875 h 700088"/>
                    <a:gd name="connsiteX13" fmla="*/ 85725 w 833951"/>
                    <a:gd name="connsiteY13" fmla="*/ 490538 h 700088"/>
                    <a:gd name="connsiteX14" fmla="*/ 97124 w 833951"/>
                    <a:gd name="connsiteY14" fmla="*/ 477838 h 700088"/>
                    <a:gd name="connsiteX15" fmla="*/ 71438 w 833951"/>
                    <a:gd name="connsiteY15" fmla="*/ 478551 h 700088"/>
                    <a:gd name="connsiteX16" fmla="*/ 71438 w 833951"/>
                    <a:gd name="connsiteY16" fmla="*/ 590550 h 700088"/>
                    <a:gd name="connsiteX17" fmla="*/ 99978 w 833951"/>
                    <a:gd name="connsiteY17" fmla="*/ 590550 h 700088"/>
                    <a:gd name="connsiteX18" fmla="*/ 124949 w 833951"/>
                    <a:gd name="connsiteY18" fmla="*/ 581276 h 700088"/>
                    <a:gd name="connsiteX19" fmla="*/ 134938 w 833951"/>
                    <a:gd name="connsiteY19" fmla="*/ 557735 h 700088"/>
                    <a:gd name="connsiteX20" fmla="*/ 129230 w 833951"/>
                    <a:gd name="connsiteY20" fmla="*/ 537761 h 700088"/>
                    <a:gd name="connsiteX21" fmla="*/ 111393 w 833951"/>
                    <a:gd name="connsiteY21" fmla="*/ 527774 h 700088"/>
                    <a:gd name="connsiteX22" fmla="*/ 122809 w 833951"/>
                    <a:gd name="connsiteY22" fmla="*/ 519213 h 700088"/>
                    <a:gd name="connsiteX23" fmla="*/ 128517 w 833951"/>
                    <a:gd name="connsiteY23" fmla="*/ 504946 h 700088"/>
                    <a:gd name="connsiteX24" fmla="*/ 119955 w 833951"/>
                    <a:gd name="connsiteY24" fmla="*/ 484972 h 700088"/>
                    <a:gd name="connsiteX25" fmla="*/ 97124 w 833951"/>
                    <a:gd name="connsiteY25" fmla="*/ 477838 h 700088"/>
                    <a:gd name="connsiteX26" fmla="*/ 15742 w 833951"/>
                    <a:gd name="connsiteY26" fmla="*/ 392113 h 700088"/>
                    <a:gd name="connsiteX27" fmla="*/ 705514 w 833951"/>
                    <a:gd name="connsiteY27" fmla="*/ 392113 h 700088"/>
                    <a:gd name="connsiteX28" fmla="*/ 717678 w 833951"/>
                    <a:gd name="connsiteY28" fmla="*/ 397830 h 700088"/>
                    <a:gd name="connsiteX29" fmla="*/ 830732 w 833951"/>
                    <a:gd name="connsiteY29" fmla="*/ 536454 h 700088"/>
                    <a:gd name="connsiteX30" fmla="*/ 830732 w 833951"/>
                    <a:gd name="connsiteY30" fmla="*/ 556462 h 700088"/>
                    <a:gd name="connsiteX31" fmla="*/ 717678 w 833951"/>
                    <a:gd name="connsiteY31" fmla="*/ 694372 h 700088"/>
                    <a:gd name="connsiteX32" fmla="*/ 705514 w 833951"/>
                    <a:gd name="connsiteY32" fmla="*/ 700088 h 700088"/>
                    <a:gd name="connsiteX33" fmla="*/ 15742 w 833951"/>
                    <a:gd name="connsiteY33" fmla="*/ 700088 h 700088"/>
                    <a:gd name="connsiteX34" fmla="*/ 0 w 833951"/>
                    <a:gd name="connsiteY34" fmla="*/ 684368 h 700088"/>
                    <a:gd name="connsiteX35" fmla="*/ 0 w 833951"/>
                    <a:gd name="connsiteY35" fmla="*/ 407833 h 700088"/>
                    <a:gd name="connsiteX36" fmla="*/ 15742 w 833951"/>
                    <a:gd name="connsiteY36" fmla="*/ 392113 h 700088"/>
                    <a:gd name="connsiteX37" fmla="*/ 117476 w 833951"/>
                    <a:gd name="connsiteY37" fmla="*/ 112713 h 700088"/>
                    <a:gd name="connsiteX38" fmla="*/ 133351 w 833951"/>
                    <a:gd name="connsiteY38" fmla="*/ 161925 h 700088"/>
                    <a:gd name="connsiteX39" fmla="*/ 101601 w 833951"/>
                    <a:gd name="connsiteY39" fmla="*/ 161925 h 700088"/>
                    <a:gd name="connsiteX40" fmla="*/ 116327 w 833951"/>
                    <a:gd name="connsiteY40" fmla="*/ 82550 h 700088"/>
                    <a:gd name="connsiteX41" fmla="*/ 71439 w 833951"/>
                    <a:gd name="connsiteY41" fmla="*/ 196850 h 700088"/>
                    <a:gd name="connsiteX42" fmla="*/ 88539 w 833951"/>
                    <a:gd name="connsiteY42" fmla="*/ 196850 h 700088"/>
                    <a:gd name="connsiteX43" fmla="*/ 96377 w 833951"/>
                    <a:gd name="connsiteY43" fmla="*/ 173127 h 700088"/>
                    <a:gd name="connsiteX44" fmla="*/ 138414 w 833951"/>
                    <a:gd name="connsiteY44" fmla="*/ 173127 h 700088"/>
                    <a:gd name="connsiteX45" fmla="*/ 146251 w 833951"/>
                    <a:gd name="connsiteY45" fmla="*/ 196850 h 700088"/>
                    <a:gd name="connsiteX46" fmla="*/ 161926 w 833951"/>
                    <a:gd name="connsiteY46" fmla="*/ 196850 h 700088"/>
                    <a:gd name="connsiteX47" fmla="*/ 119889 w 833951"/>
                    <a:gd name="connsiteY47" fmla="*/ 82550 h 700088"/>
                    <a:gd name="connsiteX48" fmla="*/ 116327 w 833951"/>
                    <a:gd name="connsiteY48" fmla="*/ 82550 h 700088"/>
                    <a:gd name="connsiteX49" fmla="*/ 15745 w 833951"/>
                    <a:gd name="connsiteY49" fmla="*/ 0 h 700088"/>
                    <a:gd name="connsiteX50" fmla="*/ 422926 w 833951"/>
                    <a:gd name="connsiteY50" fmla="*/ 0 h 700088"/>
                    <a:gd name="connsiteX51" fmla="*/ 435091 w 833951"/>
                    <a:gd name="connsiteY51" fmla="*/ 5717 h 700088"/>
                    <a:gd name="connsiteX52" fmla="*/ 547442 w 833951"/>
                    <a:gd name="connsiteY52" fmla="*/ 144341 h 700088"/>
                    <a:gd name="connsiteX53" fmla="*/ 547442 w 833951"/>
                    <a:gd name="connsiteY53" fmla="*/ 163634 h 700088"/>
                    <a:gd name="connsiteX54" fmla="*/ 435091 w 833951"/>
                    <a:gd name="connsiteY54" fmla="*/ 302259 h 700088"/>
                    <a:gd name="connsiteX55" fmla="*/ 422926 w 833951"/>
                    <a:gd name="connsiteY55" fmla="*/ 307975 h 700088"/>
                    <a:gd name="connsiteX56" fmla="*/ 15745 w 833951"/>
                    <a:gd name="connsiteY56" fmla="*/ 307975 h 700088"/>
                    <a:gd name="connsiteX57" fmla="*/ 1 w 833951"/>
                    <a:gd name="connsiteY57" fmla="*/ 292255 h 700088"/>
                    <a:gd name="connsiteX58" fmla="*/ 1 w 833951"/>
                    <a:gd name="connsiteY58" fmla="*/ 15720 h 700088"/>
                    <a:gd name="connsiteX59" fmla="*/ 15745 w 833951"/>
                    <a:gd name="connsiteY59" fmla="*/ 0 h 70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33951" h="700088">
                      <a:moveTo>
                        <a:pt x="85725" y="534988"/>
                      </a:moveTo>
                      <a:cubicBezTo>
                        <a:pt x="85725" y="534988"/>
                        <a:pt x="85725" y="534988"/>
                        <a:pt x="96417" y="534988"/>
                      </a:cubicBezTo>
                      <a:cubicBezTo>
                        <a:pt x="105682" y="534988"/>
                        <a:pt x="111384" y="536417"/>
                        <a:pt x="114948" y="539274"/>
                      </a:cubicBezTo>
                      <a:cubicBezTo>
                        <a:pt x="118512" y="542846"/>
                        <a:pt x="120650" y="547847"/>
                        <a:pt x="120650" y="555705"/>
                      </a:cubicBezTo>
                      <a:cubicBezTo>
                        <a:pt x="120650" y="563563"/>
                        <a:pt x="118512" y="569278"/>
                        <a:pt x="114948" y="572850"/>
                      </a:cubicBezTo>
                      <a:cubicBezTo>
                        <a:pt x="111384" y="576421"/>
                        <a:pt x="104970" y="577850"/>
                        <a:pt x="96417" y="577850"/>
                      </a:cubicBezTo>
                      <a:cubicBezTo>
                        <a:pt x="93566" y="577850"/>
                        <a:pt x="90002" y="577850"/>
                        <a:pt x="85725" y="577136"/>
                      </a:cubicBezTo>
                      <a:cubicBezTo>
                        <a:pt x="85725" y="577136"/>
                        <a:pt x="85725" y="577136"/>
                        <a:pt x="85725" y="534988"/>
                      </a:cubicBezTo>
                      <a:close/>
                      <a:moveTo>
                        <a:pt x="85725" y="490538"/>
                      </a:moveTo>
                      <a:cubicBezTo>
                        <a:pt x="88656" y="490538"/>
                        <a:pt x="93052" y="490538"/>
                        <a:pt x="97448" y="490538"/>
                      </a:cubicBezTo>
                      <a:cubicBezTo>
                        <a:pt x="109171" y="490538"/>
                        <a:pt x="114300" y="495503"/>
                        <a:pt x="114300" y="505433"/>
                      </a:cubicBezTo>
                      <a:cubicBezTo>
                        <a:pt x="114300" y="518201"/>
                        <a:pt x="108439" y="523875"/>
                        <a:pt x="95983" y="523875"/>
                      </a:cubicBezTo>
                      <a:cubicBezTo>
                        <a:pt x="91587" y="523875"/>
                        <a:pt x="87923" y="523875"/>
                        <a:pt x="85725" y="523875"/>
                      </a:cubicBezTo>
                      <a:cubicBezTo>
                        <a:pt x="85725" y="523875"/>
                        <a:pt x="85725" y="523875"/>
                        <a:pt x="85725" y="490538"/>
                      </a:cubicBezTo>
                      <a:close/>
                      <a:moveTo>
                        <a:pt x="97124" y="477838"/>
                      </a:moveTo>
                      <a:cubicBezTo>
                        <a:pt x="92129" y="477838"/>
                        <a:pt x="83567" y="477838"/>
                        <a:pt x="71438" y="478551"/>
                      </a:cubicBezTo>
                      <a:cubicBezTo>
                        <a:pt x="71438" y="478551"/>
                        <a:pt x="71438" y="478551"/>
                        <a:pt x="71438" y="590550"/>
                      </a:cubicBezTo>
                      <a:cubicBezTo>
                        <a:pt x="71438" y="590550"/>
                        <a:pt x="71438" y="590550"/>
                        <a:pt x="99978" y="590550"/>
                      </a:cubicBezTo>
                      <a:cubicBezTo>
                        <a:pt x="109966" y="590550"/>
                        <a:pt x="118528" y="586983"/>
                        <a:pt x="124949" y="581276"/>
                      </a:cubicBezTo>
                      <a:cubicBezTo>
                        <a:pt x="131371" y="575569"/>
                        <a:pt x="134938" y="567722"/>
                        <a:pt x="134938" y="557735"/>
                      </a:cubicBezTo>
                      <a:cubicBezTo>
                        <a:pt x="134938" y="549175"/>
                        <a:pt x="132798" y="542755"/>
                        <a:pt x="129230" y="537761"/>
                      </a:cubicBezTo>
                      <a:cubicBezTo>
                        <a:pt x="125663" y="533481"/>
                        <a:pt x="119242" y="529914"/>
                        <a:pt x="111393" y="527774"/>
                      </a:cubicBezTo>
                      <a:cubicBezTo>
                        <a:pt x="115674" y="526347"/>
                        <a:pt x="119242" y="523494"/>
                        <a:pt x="122809" y="519213"/>
                      </a:cubicBezTo>
                      <a:cubicBezTo>
                        <a:pt x="126376" y="514933"/>
                        <a:pt x="128517" y="510653"/>
                        <a:pt x="128517" y="504946"/>
                      </a:cubicBezTo>
                      <a:cubicBezTo>
                        <a:pt x="128517" y="496386"/>
                        <a:pt x="125663" y="489252"/>
                        <a:pt x="119955" y="484972"/>
                      </a:cubicBezTo>
                      <a:cubicBezTo>
                        <a:pt x="114247" y="479978"/>
                        <a:pt x="107826" y="477838"/>
                        <a:pt x="97124" y="477838"/>
                      </a:cubicBezTo>
                      <a:close/>
                      <a:moveTo>
                        <a:pt x="15742" y="392113"/>
                      </a:moveTo>
                      <a:cubicBezTo>
                        <a:pt x="15742" y="392113"/>
                        <a:pt x="15742" y="392113"/>
                        <a:pt x="705514" y="392113"/>
                      </a:cubicBezTo>
                      <a:cubicBezTo>
                        <a:pt x="710523" y="392113"/>
                        <a:pt x="714816" y="394257"/>
                        <a:pt x="717678" y="397830"/>
                      </a:cubicBezTo>
                      <a:cubicBezTo>
                        <a:pt x="717678" y="397830"/>
                        <a:pt x="717678" y="397830"/>
                        <a:pt x="830732" y="536454"/>
                      </a:cubicBezTo>
                      <a:cubicBezTo>
                        <a:pt x="835025" y="542171"/>
                        <a:pt x="835025" y="550745"/>
                        <a:pt x="830732" y="556462"/>
                      </a:cubicBezTo>
                      <a:cubicBezTo>
                        <a:pt x="830732" y="556462"/>
                        <a:pt x="830732" y="556462"/>
                        <a:pt x="717678" y="694372"/>
                      </a:cubicBezTo>
                      <a:cubicBezTo>
                        <a:pt x="714816" y="697944"/>
                        <a:pt x="710523" y="700088"/>
                        <a:pt x="705514" y="700088"/>
                      </a:cubicBezTo>
                      <a:cubicBezTo>
                        <a:pt x="705514" y="700088"/>
                        <a:pt x="705514" y="700088"/>
                        <a:pt x="15742" y="700088"/>
                      </a:cubicBezTo>
                      <a:cubicBezTo>
                        <a:pt x="7156" y="700088"/>
                        <a:pt x="0" y="692943"/>
                        <a:pt x="0" y="684368"/>
                      </a:cubicBezTo>
                      <a:cubicBezTo>
                        <a:pt x="0" y="684368"/>
                        <a:pt x="0" y="684368"/>
                        <a:pt x="0" y="407833"/>
                      </a:cubicBezTo>
                      <a:cubicBezTo>
                        <a:pt x="0" y="398544"/>
                        <a:pt x="7156" y="392113"/>
                        <a:pt x="15742" y="392113"/>
                      </a:cubicBezTo>
                      <a:close/>
                      <a:moveTo>
                        <a:pt x="117476" y="112713"/>
                      </a:moveTo>
                      <a:lnTo>
                        <a:pt x="133351" y="161925"/>
                      </a:lnTo>
                      <a:lnTo>
                        <a:pt x="101601" y="161925"/>
                      </a:lnTo>
                      <a:close/>
                      <a:moveTo>
                        <a:pt x="116327" y="82550"/>
                      </a:moveTo>
                      <a:cubicBezTo>
                        <a:pt x="116327" y="82550"/>
                        <a:pt x="116327" y="82550"/>
                        <a:pt x="71439" y="196850"/>
                      </a:cubicBezTo>
                      <a:cubicBezTo>
                        <a:pt x="71439" y="196850"/>
                        <a:pt x="71439" y="196850"/>
                        <a:pt x="88539" y="196850"/>
                      </a:cubicBezTo>
                      <a:cubicBezTo>
                        <a:pt x="88539" y="196850"/>
                        <a:pt x="88539" y="196850"/>
                        <a:pt x="96377" y="173127"/>
                      </a:cubicBezTo>
                      <a:cubicBezTo>
                        <a:pt x="96377" y="173127"/>
                        <a:pt x="96377" y="173127"/>
                        <a:pt x="138414" y="173127"/>
                      </a:cubicBezTo>
                      <a:cubicBezTo>
                        <a:pt x="138414" y="173127"/>
                        <a:pt x="138414" y="173127"/>
                        <a:pt x="146251" y="196850"/>
                      </a:cubicBezTo>
                      <a:cubicBezTo>
                        <a:pt x="146251" y="196850"/>
                        <a:pt x="146251" y="196850"/>
                        <a:pt x="161926" y="196850"/>
                      </a:cubicBezTo>
                      <a:cubicBezTo>
                        <a:pt x="161926" y="196850"/>
                        <a:pt x="161926" y="196850"/>
                        <a:pt x="119889" y="82550"/>
                      </a:cubicBezTo>
                      <a:cubicBezTo>
                        <a:pt x="119889" y="82550"/>
                        <a:pt x="119889" y="82550"/>
                        <a:pt x="116327" y="82550"/>
                      </a:cubicBezTo>
                      <a:close/>
                      <a:moveTo>
                        <a:pt x="15745" y="0"/>
                      </a:moveTo>
                      <a:cubicBezTo>
                        <a:pt x="15745" y="0"/>
                        <a:pt x="15745" y="0"/>
                        <a:pt x="422926" y="0"/>
                      </a:cubicBezTo>
                      <a:cubicBezTo>
                        <a:pt x="427220" y="0"/>
                        <a:pt x="432229" y="2144"/>
                        <a:pt x="435091" y="5717"/>
                      </a:cubicBezTo>
                      <a:cubicBezTo>
                        <a:pt x="435091" y="5717"/>
                        <a:pt x="435091" y="5717"/>
                        <a:pt x="547442" y="144341"/>
                      </a:cubicBezTo>
                      <a:cubicBezTo>
                        <a:pt x="552451" y="150058"/>
                        <a:pt x="552451" y="157918"/>
                        <a:pt x="547442" y="163634"/>
                      </a:cubicBezTo>
                      <a:cubicBezTo>
                        <a:pt x="547442" y="163634"/>
                        <a:pt x="547442" y="163634"/>
                        <a:pt x="435091" y="302259"/>
                      </a:cubicBezTo>
                      <a:cubicBezTo>
                        <a:pt x="432229" y="305831"/>
                        <a:pt x="427220" y="307975"/>
                        <a:pt x="422926" y="307975"/>
                      </a:cubicBezTo>
                      <a:cubicBezTo>
                        <a:pt x="422926" y="307975"/>
                        <a:pt x="422926" y="307975"/>
                        <a:pt x="15745" y="307975"/>
                      </a:cubicBezTo>
                      <a:cubicBezTo>
                        <a:pt x="7157" y="307975"/>
                        <a:pt x="1" y="300830"/>
                        <a:pt x="1" y="292255"/>
                      </a:cubicBezTo>
                      <a:cubicBezTo>
                        <a:pt x="1" y="292255"/>
                        <a:pt x="1" y="292255"/>
                        <a:pt x="1" y="15720"/>
                      </a:cubicBezTo>
                      <a:cubicBezTo>
                        <a:pt x="1" y="7146"/>
                        <a:pt x="7157" y="0"/>
                        <a:pt x="15745"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5" name="Freeform 14"/>
                <p:cNvSpPr>
                  <a:spLocks/>
                </p:cNvSpPr>
                <p:nvPr/>
              </p:nvSpPr>
              <p:spPr bwMode="auto">
                <a:xfrm>
                  <a:off x="9588498" y="3349625"/>
                  <a:ext cx="1102060" cy="307975"/>
                </a:xfrm>
                <a:custGeom>
                  <a:avLst/>
                  <a:gdLst>
                    <a:gd name="connsiteX0" fmla="*/ 117204 w 1102060"/>
                    <a:gd name="connsiteY0" fmla="*/ 96838 h 307975"/>
                    <a:gd name="connsiteX1" fmla="*/ 145808 w 1102060"/>
                    <a:gd name="connsiteY1" fmla="*/ 103276 h 307975"/>
                    <a:gd name="connsiteX2" fmla="*/ 140802 w 1102060"/>
                    <a:gd name="connsiteY2" fmla="*/ 116868 h 307975"/>
                    <a:gd name="connsiteX3" fmla="*/ 117919 w 1102060"/>
                    <a:gd name="connsiteY3" fmla="*/ 110430 h 307975"/>
                    <a:gd name="connsiteX4" fmla="*/ 95751 w 1102060"/>
                    <a:gd name="connsiteY4" fmla="*/ 124022 h 307975"/>
                    <a:gd name="connsiteX5" fmla="*/ 87170 w 1102060"/>
                    <a:gd name="connsiteY5" fmla="*/ 156212 h 307975"/>
                    <a:gd name="connsiteX6" fmla="*/ 95751 w 1102060"/>
                    <a:gd name="connsiteY6" fmla="*/ 186973 h 307975"/>
                    <a:gd name="connsiteX7" fmla="*/ 117919 w 1102060"/>
                    <a:gd name="connsiteY7" fmla="*/ 199134 h 307975"/>
                    <a:gd name="connsiteX8" fmla="*/ 142232 w 1102060"/>
                    <a:gd name="connsiteY8" fmla="*/ 187688 h 307975"/>
                    <a:gd name="connsiteX9" fmla="*/ 150813 w 1102060"/>
                    <a:gd name="connsiteY9" fmla="*/ 199134 h 307975"/>
                    <a:gd name="connsiteX10" fmla="*/ 116489 w 1102060"/>
                    <a:gd name="connsiteY10" fmla="*/ 212725 h 307975"/>
                    <a:gd name="connsiteX11" fmla="*/ 83595 w 1102060"/>
                    <a:gd name="connsiteY11" fmla="*/ 196988 h 307975"/>
                    <a:gd name="connsiteX12" fmla="*/ 71438 w 1102060"/>
                    <a:gd name="connsiteY12" fmla="*/ 155497 h 307975"/>
                    <a:gd name="connsiteX13" fmla="*/ 84310 w 1102060"/>
                    <a:gd name="connsiteY13" fmla="*/ 113291 h 307975"/>
                    <a:gd name="connsiteX14" fmla="*/ 117204 w 1102060"/>
                    <a:gd name="connsiteY14" fmla="*/ 96838 h 307975"/>
                    <a:gd name="connsiteX15" fmla="*/ 31750 w 1102060"/>
                    <a:gd name="connsiteY15" fmla="*/ 31750 h 307975"/>
                    <a:gd name="connsiteX16" fmla="*/ 31750 w 1102060"/>
                    <a:gd name="connsiteY16" fmla="*/ 276225 h 307975"/>
                    <a:gd name="connsiteX17" fmla="*/ 965868 w 1102060"/>
                    <a:gd name="connsiteY17" fmla="*/ 276225 h 307975"/>
                    <a:gd name="connsiteX18" fmla="*/ 1065212 w 1102060"/>
                    <a:gd name="connsiteY18" fmla="*/ 153631 h 307975"/>
                    <a:gd name="connsiteX19" fmla="*/ 965868 w 1102060"/>
                    <a:gd name="connsiteY19" fmla="*/ 31750 h 307975"/>
                    <a:gd name="connsiteX20" fmla="*/ 31750 w 1102060"/>
                    <a:gd name="connsiteY20" fmla="*/ 31750 h 307975"/>
                    <a:gd name="connsiteX21" fmla="*/ 15741 w 1102060"/>
                    <a:gd name="connsiteY21" fmla="*/ 0 h 307975"/>
                    <a:gd name="connsiteX22" fmla="*/ 973805 w 1102060"/>
                    <a:gd name="connsiteY22" fmla="*/ 0 h 307975"/>
                    <a:gd name="connsiteX23" fmla="*/ 985969 w 1102060"/>
                    <a:gd name="connsiteY23" fmla="*/ 5717 h 307975"/>
                    <a:gd name="connsiteX24" fmla="*/ 1098304 w 1102060"/>
                    <a:gd name="connsiteY24" fmla="*/ 143627 h 307975"/>
                    <a:gd name="connsiteX25" fmla="*/ 1098304 w 1102060"/>
                    <a:gd name="connsiteY25" fmla="*/ 163634 h 307975"/>
                    <a:gd name="connsiteX26" fmla="*/ 985969 w 1102060"/>
                    <a:gd name="connsiteY26" fmla="*/ 301544 h 307975"/>
                    <a:gd name="connsiteX27" fmla="*/ 973805 w 1102060"/>
                    <a:gd name="connsiteY27" fmla="*/ 307975 h 307975"/>
                    <a:gd name="connsiteX28" fmla="*/ 15741 w 1102060"/>
                    <a:gd name="connsiteY28" fmla="*/ 307975 h 307975"/>
                    <a:gd name="connsiteX29" fmla="*/ 0 w 1102060"/>
                    <a:gd name="connsiteY29" fmla="*/ 292255 h 307975"/>
                    <a:gd name="connsiteX30" fmla="*/ 0 w 1102060"/>
                    <a:gd name="connsiteY30" fmla="*/ 15720 h 307975"/>
                    <a:gd name="connsiteX31" fmla="*/ 15741 w 1102060"/>
                    <a:gd name="connsiteY31" fmla="*/ 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2060" h="307975">
                      <a:moveTo>
                        <a:pt x="117204" y="96838"/>
                      </a:moveTo>
                      <a:cubicBezTo>
                        <a:pt x="130076" y="96838"/>
                        <a:pt x="139372" y="98984"/>
                        <a:pt x="145808" y="103276"/>
                      </a:cubicBezTo>
                      <a:cubicBezTo>
                        <a:pt x="140802" y="116868"/>
                        <a:pt x="140802" y="116868"/>
                        <a:pt x="140802" y="116868"/>
                      </a:cubicBezTo>
                      <a:cubicBezTo>
                        <a:pt x="136511" y="112576"/>
                        <a:pt x="128645" y="110430"/>
                        <a:pt x="117919" y="110430"/>
                      </a:cubicBezTo>
                      <a:cubicBezTo>
                        <a:pt x="108623" y="110430"/>
                        <a:pt x="101472" y="115437"/>
                        <a:pt x="95751" y="124022"/>
                      </a:cubicBezTo>
                      <a:cubicBezTo>
                        <a:pt x="90031" y="132606"/>
                        <a:pt x="87170" y="142621"/>
                        <a:pt x="87170" y="156212"/>
                      </a:cubicBezTo>
                      <a:cubicBezTo>
                        <a:pt x="87170" y="169089"/>
                        <a:pt x="90031" y="179104"/>
                        <a:pt x="95751" y="186973"/>
                      </a:cubicBezTo>
                      <a:cubicBezTo>
                        <a:pt x="101472" y="194841"/>
                        <a:pt x="108623" y="199134"/>
                        <a:pt x="117919" y="199134"/>
                      </a:cubicBezTo>
                      <a:cubicBezTo>
                        <a:pt x="128645" y="199134"/>
                        <a:pt x="137227" y="194841"/>
                        <a:pt x="142232" y="187688"/>
                      </a:cubicBezTo>
                      <a:cubicBezTo>
                        <a:pt x="150813" y="199134"/>
                        <a:pt x="150813" y="199134"/>
                        <a:pt x="150813" y="199134"/>
                      </a:cubicBezTo>
                      <a:cubicBezTo>
                        <a:pt x="142232" y="208433"/>
                        <a:pt x="130791" y="212725"/>
                        <a:pt x="116489" y="212725"/>
                      </a:cubicBezTo>
                      <a:cubicBezTo>
                        <a:pt x="102187" y="212725"/>
                        <a:pt x="91461" y="207002"/>
                        <a:pt x="83595" y="196988"/>
                      </a:cubicBezTo>
                      <a:cubicBezTo>
                        <a:pt x="75014" y="186257"/>
                        <a:pt x="71438" y="172666"/>
                        <a:pt x="71438" y="155497"/>
                      </a:cubicBezTo>
                      <a:cubicBezTo>
                        <a:pt x="71438" y="138329"/>
                        <a:pt x="75729" y="125452"/>
                        <a:pt x="84310" y="113291"/>
                      </a:cubicBezTo>
                      <a:cubicBezTo>
                        <a:pt x="92891" y="102561"/>
                        <a:pt x="103617" y="96838"/>
                        <a:pt x="117204" y="96838"/>
                      </a:cubicBezTo>
                      <a:close/>
                      <a:moveTo>
                        <a:pt x="31750" y="31750"/>
                      </a:moveTo>
                      <a:cubicBezTo>
                        <a:pt x="31750" y="31750"/>
                        <a:pt x="31750" y="31750"/>
                        <a:pt x="31750" y="276225"/>
                      </a:cubicBezTo>
                      <a:cubicBezTo>
                        <a:pt x="31750" y="276225"/>
                        <a:pt x="31750" y="276225"/>
                        <a:pt x="965868" y="276225"/>
                      </a:cubicBezTo>
                      <a:cubicBezTo>
                        <a:pt x="965868" y="276225"/>
                        <a:pt x="965868" y="276225"/>
                        <a:pt x="1065212" y="153631"/>
                      </a:cubicBezTo>
                      <a:cubicBezTo>
                        <a:pt x="1065212" y="153631"/>
                        <a:pt x="1065212" y="153631"/>
                        <a:pt x="965868" y="31750"/>
                      </a:cubicBezTo>
                      <a:cubicBezTo>
                        <a:pt x="965868" y="31750"/>
                        <a:pt x="965868" y="31750"/>
                        <a:pt x="31750" y="31750"/>
                      </a:cubicBezTo>
                      <a:close/>
                      <a:moveTo>
                        <a:pt x="15741" y="0"/>
                      </a:moveTo>
                      <a:cubicBezTo>
                        <a:pt x="15741" y="0"/>
                        <a:pt x="15741" y="0"/>
                        <a:pt x="973805" y="0"/>
                      </a:cubicBezTo>
                      <a:cubicBezTo>
                        <a:pt x="978814" y="0"/>
                        <a:pt x="983107" y="2144"/>
                        <a:pt x="985969" y="5717"/>
                      </a:cubicBezTo>
                      <a:cubicBezTo>
                        <a:pt x="985969" y="5717"/>
                        <a:pt x="985969" y="5717"/>
                        <a:pt x="1098304" y="143627"/>
                      </a:cubicBezTo>
                      <a:cubicBezTo>
                        <a:pt x="1103312" y="150058"/>
                        <a:pt x="1103312" y="157918"/>
                        <a:pt x="1098304" y="163634"/>
                      </a:cubicBezTo>
                      <a:cubicBezTo>
                        <a:pt x="1098304" y="163634"/>
                        <a:pt x="1098304" y="163634"/>
                        <a:pt x="985969" y="301544"/>
                      </a:cubicBezTo>
                      <a:cubicBezTo>
                        <a:pt x="983107" y="305832"/>
                        <a:pt x="978814" y="307975"/>
                        <a:pt x="973805" y="307975"/>
                      </a:cubicBezTo>
                      <a:cubicBezTo>
                        <a:pt x="973805" y="307975"/>
                        <a:pt x="973805" y="307975"/>
                        <a:pt x="15741" y="307975"/>
                      </a:cubicBezTo>
                      <a:cubicBezTo>
                        <a:pt x="7155" y="307975"/>
                        <a:pt x="0" y="300830"/>
                        <a:pt x="0" y="292255"/>
                      </a:cubicBezTo>
                      <a:cubicBezTo>
                        <a:pt x="0" y="292255"/>
                        <a:pt x="0" y="292255"/>
                        <a:pt x="0" y="15720"/>
                      </a:cubicBezTo>
                      <a:cubicBezTo>
                        <a:pt x="0" y="7146"/>
                        <a:pt x="7155" y="0"/>
                        <a:pt x="1574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17" name="TextBox 16"/>
          <p:cNvSpPr txBox="1"/>
          <p:nvPr/>
        </p:nvSpPr>
        <p:spPr>
          <a:xfrm>
            <a:off x="630000" y="1706880"/>
            <a:ext cx="3992880" cy="17373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p:txBody>
      </p:sp>
      <p:pic>
        <p:nvPicPr>
          <p:cNvPr id="3" name="Picture 2">
            <a:extLst>
              <a:ext uri="{FF2B5EF4-FFF2-40B4-BE49-F238E27FC236}">
                <a16:creationId xmlns:a16="http://schemas.microsoft.com/office/drawing/2014/main" id="{39E098A8-7010-3043-92A4-22B2120AEB68}"/>
              </a:ext>
            </a:extLst>
          </p:cNvPr>
          <p:cNvPicPr>
            <a:picLocks noChangeAspect="1"/>
          </p:cNvPicPr>
          <p:nvPr/>
        </p:nvPicPr>
        <p:blipFill>
          <a:blip r:embed="rId8"/>
          <a:stretch>
            <a:fillRect/>
          </a:stretch>
        </p:blipFill>
        <p:spPr>
          <a:xfrm>
            <a:off x="3200204" y="1660063"/>
            <a:ext cx="5791874" cy="39319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id="{7FFDF194-F745-D049-9062-D065054A06A6}"/>
              </a:ext>
            </a:extLst>
          </p:cNvPr>
          <p:cNvPicPr>
            <a:picLocks noChangeAspect="1"/>
          </p:cNvPicPr>
          <p:nvPr/>
        </p:nvPicPr>
        <p:blipFill>
          <a:blip r:embed="rId9"/>
          <a:stretch>
            <a:fillRect/>
          </a:stretch>
        </p:blipFill>
        <p:spPr>
          <a:xfrm>
            <a:off x="4010869" y="1084745"/>
            <a:ext cx="4334305" cy="55098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0957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9913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65"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TextBox 16"/>
          <p:cNvSpPr txBox="1"/>
          <p:nvPr/>
        </p:nvSpPr>
        <p:spPr>
          <a:xfrm>
            <a:off x="630000" y="1706880"/>
            <a:ext cx="3992880" cy="17373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tx1">
                  <a:lumMod val="100000"/>
                </a:schemeClr>
              </a:solidFill>
              <a:latin typeface="Trebuchet MS" panose="020B0603020202020204" pitchFamily="34" charset="0"/>
            </a:endParaRPr>
          </a:p>
        </p:txBody>
      </p:sp>
      <p:pic>
        <p:nvPicPr>
          <p:cNvPr id="3" name="Picture 2">
            <a:extLst>
              <a:ext uri="{FF2B5EF4-FFF2-40B4-BE49-F238E27FC236}">
                <a16:creationId xmlns:a16="http://schemas.microsoft.com/office/drawing/2014/main" id="{7416C754-6A3E-6E43-8F7D-E3E3F89DF610}"/>
              </a:ext>
            </a:extLst>
          </p:cNvPr>
          <p:cNvPicPr>
            <a:picLocks noChangeAspect="1"/>
          </p:cNvPicPr>
          <p:nvPr/>
        </p:nvPicPr>
        <p:blipFill>
          <a:blip r:embed="rId8"/>
          <a:stretch>
            <a:fillRect/>
          </a:stretch>
        </p:blipFill>
        <p:spPr>
          <a:xfrm>
            <a:off x="6575324" y="536372"/>
            <a:ext cx="3411185" cy="6235200"/>
          </a:xfrm>
          <a:prstGeom prst="rect">
            <a:avLst/>
          </a:prstGeom>
        </p:spPr>
      </p:pic>
      <p:pic>
        <p:nvPicPr>
          <p:cNvPr id="8" name="Picture 7">
            <a:extLst>
              <a:ext uri="{FF2B5EF4-FFF2-40B4-BE49-F238E27FC236}">
                <a16:creationId xmlns:a16="http://schemas.microsoft.com/office/drawing/2014/main" id="{40AB4AA0-0D52-E441-8B09-E8F12F02D77F}"/>
              </a:ext>
            </a:extLst>
          </p:cNvPr>
          <p:cNvPicPr>
            <a:picLocks noChangeAspect="1"/>
          </p:cNvPicPr>
          <p:nvPr/>
        </p:nvPicPr>
        <p:blipFill>
          <a:blip r:embed="rId9"/>
          <a:stretch>
            <a:fillRect/>
          </a:stretch>
        </p:blipFill>
        <p:spPr>
          <a:xfrm>
            <a:off x="920638" y="503011"/>
            <a:ext cx="5259934" cy="6235200"/>
          </a:xfrm>
          <a:prstGeom prst="rect">
            <a:avLst/>
          </a:prstGeom>
        </p:spPr>
      </p:pic>
      <p:sp>
        <p:nvSpPr>
          <p:cNvPr id="4" name="Title 2"/>
          <p:cNvSpPr>
            <a:spLocks noGrp="1"/>
          </p:cNvSpPr>
          <p:nvPr>
            <p:ph type="title"/>
          </p:nvPr>
        </p:nvSpPr>
        <p:spPr>
          <a:xfrm>
            <a:off x="523048" y="170612"/>
            <a:ext cx="10933350" cy="332399"/>
          </a:xfrm>
        </p:spPr>
        <p:txBody>
          <a:bodyPr/>
          <a:lstStyle/>
          <a:p>
            <a:r>
              <a:rPr lang="en-US" dirty="0">
                <a:solidFill>
                  <a:schemeClr val="accent6">
                    <a:lumMod val="75000"/>
                  </a:schemeClr>
                </a:solidFill>
              </a:rPr>
              <a:t>Revenue chart code</a:t>
            </a:r>
          </a:p>
        </p:txBody>
      </p:sp>
      <p:grpSp>
        <p:nvGrpSpPr>
          <p:cNvPr id="15" name="Group 14">
            <a:extLst>
              <a:ext uri="{FF2B5EF4-FFF2-40B4-BE49-F238E27FC236}">
                <a16:creationId xmlns:a16="http://schemas.microsoft.com/office/drawing/2014/main" id="{4A71114F-F97C-4849-9062-B52A828520E6}"/>
              </a:ext>
            </a:extLst>
          </p:cNvPr>
          <p:cNvGrpSpPr>
            <a:grpSpLocks noChangeAspect="1"/>
          </p:cNvGrpSpPr>
          <p:nvPr/>
        </p:nvGrpSpPr>
        <p:grpSpPr>
          <a:xfrm>
            <a:off x="10128687" y="5349239"/>
            <a:ext cx="1340069" cy="1340069"/>
            <a:chOff x="2670720" y="1"/>
            <a:chExt cx="6858001" cy="6858000"/>
          </a:xfrm>
        </p:grpSpPr>
        <p:sp>
          <p:nvSpPr>
            <p:cNvPr id="16" name="AutoShape 17">
              <a:extLst>
                <a:ext uri="{FF2B5EF4-FFF2-40B4-BE49-F238E27FC236}">
                  <a16:creationId xmlns:a16="http://schemas.microsoft.com/office/drawing/2014/main" id="{71EBA094-140E-194B-9D63-59B0C7A2E54C}"/>
                </a:ext>
              </a:extLst>
            </p:cNvPr>
            <p:cNvSpPr>
              <a:spLocks noChangeAspect="1" noChangeArrowheads="1" noTextEdit="1"/>
            </p:cNvSpPr>
            <p:nvPr/>
          </p:nvSpPr>
          <p:spPr bwMode="auto">
            <a:xfrm>
              <a:off x="2670720" y="1"/>
              <a:ext cx="6858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a:extLst>
                <a:ext uri="{FF2B5EF4-FFF2-40B4-BE49-F238E27FC236}">
                  <a16:creationId xmlns:a16="http://schemas.microsoft.com/office/drawing/2014/main" id="{A049D0EB-08F2-2840-9E2F-67FB037D2EAF}"/>
                </a:ext>
              </a:extLst>
            </p:cNvPr>
            <p:cNvGrpSpPr/>
            <p:nvPr/>
          </p:nvGrpSpPr>
          <p:grpSpPr>
            <a:xfrm>
              <a:off x="3398341" y="708026"/>
              <a:ext cx="5402763" cy="5441950"/>
              <a:chOff x="3398339" y="708025"/>
              <a:chExt cx="5402761" cy="5441951"/>
            </a:xfrm>
          </p:grpSpPr>
          <p:sp>
            <p:nvSpPr>
              <p:cNvPr id="24" name="Freeform 23">
                <a:extLst>
                  <a:ext uri="{FF2B5EF4-FFF2-40B4-BE49-F238E27FC236}">
                    <a16:creationId xmlns:a16="http://schemas.microsoft.com/office/drawing/2014/main" id="{8BE44F53-5273-8C49-935F-35D7B7DBEDBC}"/>
                  </a:ext>
                </a:extLst>
              </p:cNvPr>
              <p:cNvSpPr>
                <a:spLocks/>
              </p:cNvSpPr>
              <p:nvPr/>
            </p:nvSpPr>
            <p:spPr bwMode="auto">
              <a:xfrm>
                <a:off x="3398339" y="708025"/>
                <a:ext cx="5402761" cy="5441951"/>
              </a:xfrm>
              <a:custGeom>
                <a:avLst/>
                <a:gdLst>
                  <a:gd name="connsiteX0" fmla="*/ 3533552 w 5402761"/>
                  <a:gd name="connsiteY0" fmla="*/ 4075113 h 5441951"/>
                  <a:gd name="connsiteX1" fmla="*/ 3643735 w 5402761"/>
                  <a:gd name="connsiteY1" fmla="*/ 4075113 h 5441951"/>
                  <a:gd name="connsiteX2" fmla="*/ 3643735 w 5402761"/>
                  <a:gd name="connsiteY2" fmla="*/ 4155462 h 5441951"/>
                  <a:gd name="connsiteX3" fmla="*/ 3780720 w 5402761"/>
                  <a:gd name="connsiteY3" fmla="*/ 4197125 h 5441951"/>
                  <a:gd name="connsiteX4" fmla="*/ 3742007 w 5402761"/>
                  <a:gd name="connsiteY4" fmla="*/ 4301281 h 5441951"/>
                  <a:gd name="connsiteX5" fmla="*/ 3599066 w 5402761"/>
                  <a:gd name="connsiteY5" fmla="*/ 4253667 h 5441951"/>
                  <a:gd name="connsiteX6" fmla="*/ 3530574 w 5402761"/>
                  <a:gd name="connsiteY6" fmla="*/ 4277474 h 5441951"/>
                  <a:gd name="connsiteX7" fmla="*/ 3506750 w 5402761"/>
                  <a:gd name="connsiteY7" fmla="*/ 4334016 h 5441951"/>
                  <a:gd name="connsiteX8" fmla="*/ 3640757 w 5402761"/>
                  <a:gd name="connsiteY8" fmla="*/ 4456027 h 5441951"/>
                  <a:gd name="connsiteX9" fmla="*/ 3747963 w 5402761"/>
                  <a:gd name="connsiteY9" fmla="*/ 4518521 h 5441951"/>
                  <a:gd name="connsiteX10" fmla="*/ 3792632 w 5402761"/>
                  <a:gd name="connsiteY10" fmla="*/ 4583991 h 5441951"/>
                  <a:gd name="connsiteX11" fmla="*/ 3810499 w 5402761"/>
                  <a:gd name="connsiteY11" fmla="*/ 4664340 h 5441951"/>
                  <a:gd name="connsiteX12" fmla="*/ 3768808 w 5402761"/>
                  <a:gd name="connsiteY12" fmla="*/ 4780400 h 5441951"/>
                  <a:gd name="connsiteX13" fmla="*/ 3643735 w 5402761"/>
                  <a:gd name="connsiteY13" fmla="*/ 4845869 h 5441951"/>
                  <a:gd name="connsiteX14" fmla="*/ 3643735 w 5402761"/>
                  <a:gd name="connsiteY14" fmla="*/ 4953001 h 5441951"/>
                  <a:gd name="connsiteX15" fmla="*/ 3533552 w 5402761"/>
                  <a:gd name="connsiteY15" fmla="*/ 4953001 h 5441951"/>
                  <a:gd name="connsiteX16" fmla="*/ 3533552 w 5402761"/>
                  <a:gd name="connsiteY16" fmla="*/ 4854797 h 5441951"/>
                  <a:gd name="connsiteX17" fmla="*/ 3378699 w 5402761"/>
                  <a:gd name="connsiteY17" fmla="*/ 4807183 h 5441951"/>
                  <a:gd name="connsiteX18" fmla="*/ 3426346 w 5402761"/>
                  <a:gd name="connsiteY18" fmla="*/ 4697075 h 5441951"/>
                  <a:gd name="connsiteX19" fmla="*/ 3575243 w 5402761"/>
                  <a:gd name="connsiteY19" fmla="*/ 4747665 h 5441951"/>
                  <a:gd name="connsiteX20" fmla="*/ 3685426 w 5402761"/>
                  <a:gd name="connsiteY20" fmla="*/ 4673267 h 5441951"/>
                  <a:gd name="connsiteX21" fmla="*/ 3655647 w 5402761"/>
                  <a:gd name="connsiteY21" fmla="*/ 4607798 h 5441951"/>
                  <a:gd name="connsiteX22" fmla="*/ 3548441 w 5402761"/>
                  <a:gd name="connsiteY22" fmla="*/ 4536376 h 5441951"/>
                  <a:gd name="connsiteX23" fmla="*/ 3441236 w 5402761"/>
                  <a:gd name="connsiteY23" fmla="*/ 4473883 h 5441951"/>
                  <a:gd name="connsiteX24" fmla="*/ 3396567 w 5402761"/>
                  <a:gd name="connsiteY24" fmla="*/ 4414365 h 5441951"/>
                  <a:gd name="connsiteX25" fmla="*/ 3381677 w 5402761"/>
                  <a:gd name="connsiteY25" fmla="*/ 4336992 h 5441951"/>
                  <a:gd name="connsiteX26" fmla="*/ 3423368 w 5402761"/>
                  <a:gd name="connsiteY26" fmla="*/ 4226884 h 5441951"/>
                  <a:gd name="connsiteX27" fmla="*/ 3533552 w 5402761"/>
                  <a:gd name="connsiteY27" fmla="*/ 4161414 h 5441951"/>
                  <a:gd name="connsiteX28" fmla="*/ 3533552 w 5402761"/>
                  <a:gd name="connsiteY28" fmla="*/ 4075113 h 5441951"/>
                  <a:gd name="connsiteX29" fmla="*/ 1932486 w 5402761"/>
                  <a:gd name="connsiteY29" fmla="*/ 3735388 h 5441951"/>
                  <a:gd name="connsiteX30" fmla="*/ 1932486 w 5402761"/>
                  <a:gd name="connsiteY30" fmla="*/ 5310188 h 5441951"/>
                  <a:gd name="connsiteX31" fmla="*/ 5272586 w 5402761"/>
                  <a:gd name="connsiteY31" fmla="*/ 5310188 h 5441951"/>
                  <a:gd name="connsiteX32" fmla="*/ 5272586 w 5402761"/>
                  <a:gd name="connsiteY32" fmla="*/ 3735388 h 5441951"/>
                  <a:gd name="connsiteX33" fmla="*/ 1867774 w 5402761"/>
                  <a:gd name="connsiteY33" fmla="*/ 3608388 h 5441951"/>
                  <a:gd name="connsiteX34" fmla="*/ 5337298 w 5402761"/>
                  <a:gd name="connsiteY34" fmla="*/ 3608388 h 5441951"/>
                  <a:gd name="connsiteX35" fmla="*/ 5402761 w 5402761"/>
                  <a:gd name="connsiteY35" fmla="*/ 3670896 h 5441951"/>
                  <a:gd name="connsiteX36" fmla="*/ 5402761 w 5402761"/>
                  <a:gd name="connsiteY36" fmla="*/ 5376467 h 5441951"/>
                  <a:gd name="connsiteX37" fmla="*/ 5337298 w 5402761"/>
                  <a:gd name="connsiteY37" fmla="*/ 5441951 h 5441951"/>
                  <a:gd name="connsiteX38" fmla="*/ 1867774 w 5402761"/>
                  <a:gd name="connsiteY38" fmla="*/ 5441951 h 5441951"/>
                  <a:gd name="connsiteX39" fmla="*/ 1802311 w 5402761"/>
                  <a:gd name="connsiteY39" fmla="*/ 5376467 h 5441951"/>
                  <a:gd name="connsiteX40" fmla="*/ 1802311 w 5402761"/>
                  <a:gd name="connsiteY40" fmla="*/ 3670896 h 5441951"/>
                  <a:gd name="connsiteX41" fmla="*/ 1867774 w 5402761"/>
                  <a:gd name="connsiteY41" fmla="*/ 3608388 h 5441951"/>
                  <a:gd name="connsiteX42" fmla="*/ 409138 w 5402761"/>
                  <a:gd name="connsiteY42" fmla="*/ 2566988 h 5441951"/>
                  <a:gd name="connsiteX43" fmla="*/ 465674 w 5402761"/>
                  <a:gd name="connsiteY43" fmla="*/ 2623521 h 5441951"/>
                  <a:gd name="connsiteX44" fmla="*/ 792985 w 5402761"/>
                  <a:gd name="connsiteY44" fmla="*/ 2950815 h 5441951"/>
                  <a:gd name="connsiteX45" fmla="*/ 804887 w 5402761"/>
                  <a:gd name="connsiteY45" fmla="*/ 3057929 h 5441951"/>
                  <a:gd name="connsiteX46" fmla="*/ 742400 w 5402761"/>
                  <a:gd name="connsiteY46" fmla="*/ 3087683 h 5441951"/>
                  <a:gd name="connsiteX47" fmla="*/ 694791 w 5402761"/>
                  <a:gd name="connsiteY47" fmla="*/ 3072806 h 5441951"/>
                  <a:gd name="connsiteX48" fmla="*/ 489478 w 5402761"/>
                  <a:gd name="connsiteY48" fmla="*/ 2867504 h 5441951"/>
                  <a:gd name="connsiteX49" fmla="*/ 489478 w 5402761"/>
                  <a:gd name="connsiteY49" fmla="*/ 4444467 h 5441951"/>
                  <a:gd name="connsiteX50" fmla="*/ 1667797 w 5402761"/>
                  <a:gd name="connsiteY50" fmla="*/ 4444467 h 5441951"/>
                  <a:gd name="connsiteX51" fmla="*/ 1745161 w 5402761"/>
                  <a:gd name="connsiteY51" fmla="*/ 4524803 h 5441951"/>
                  <a:gd name="connsiteX52" fmla="*/ 1667797 w 5402761"/>
                  <a:gd name="connsiteY52" fmla="*/ 4602163 h 5441951"/>
                  <a:gd name="connsiteX53" fmla="*/ 331774 w 5402761"/>
                  <a:gd name="connsiteY53" fmla="*/ 4602163 h 5441951"/>
                  <a:gd name="connsiteX54" fmla="*/ 331774 w 5402761"/>
                  <a:gd name="connsiteY54" fmla="*/ 2867504 h 5441951"/>
                  <a:gd name="connsiteX55" fmla="*/ 132412 w 5402761"/>
                  <a:gd name="connsiteY55" fmla="*/ 3063880 h 5441951"/>
                  <a:gd name="connsiteX56" fmla="*/ 22316 w 5402761"/>
                  <a:gd name="connsiteY56" fmla="*/ 3063880 h 5441951"/>
                  <a:gd name="connsiteX57" fmla="*/ 22316 w 5402761"/>
                  <a:gd name="connsiteY57" fmla="*/ 2953790 h 5441951"/>
                  <a:gd name="connsiteX58" fmla="*/ 409138 w 5402761"/>
                  <a:gd name="connsiteY58" fmla="*/ 2566988 h 5441951"/>
                  <a:gd name="connsiteX59" fmla="*/ 3075116 w 5402761"/>
                  <a:gd name="connsiteY59" fmla="*/ 1373188 h 5441951"/>
                  <a:gd name="connsiteX60" fmla="*/ 4412049 w 5402761"/>
                  <a:gd name="connsiteY60" fmla="*/ 1373188 h 5441951"/>
                  <a:gd name="connsiteX61" fmla="*/ 4412049 w 5402761"/>
                  <a:gd name="connsiteY61" fmla="*/ 3104872 h 5441951"/>
                  <a:gd name="connsiteX62" fmla="*/ 4605591 w 5402761"/>
                  <a:gd name="connsiteY62" fmla="*/ 2914446 h 5441951"/>
                  <a:gd name="connsiteX63" fmla="*/ 4715761 w 5402761"/>
                  <a:gd name="connsiteY63" fmla="*/ 2917422 h 5441951"/>
                  <a:gd name="connsiteX64" fmla="*/ 4715761 w 5402761"/>
                  <a:gd name="connsiteY64" fmla="*/ 3027512 h 5441951"/>
                  <a:gd name="connsiteX65" fmla="*/ 4400138 w 5402761"/>
                  <a:gd name="connsiteY65" fmla="*/ 3336954 h 5441951"/>
                  <a:gd name="connsiteX66" fmla="*/ 4376318 w 5402761"/>
                  <a:gd name="connsiteY66" fmla="*/ 3363732 h 5441951"/>
                  <a:gd name="connsiteX67" fmla="*/ 4331654 w 5402761"/>
                  <a:gd name="connsiteY67" fmla="*/ 3408363 h 5441951"/>
                  <a:gd name="connsiteX68" fmla="*/ 4275080 w 5402761"/>
                  <a:gd name="connsiteY68" fmla="*/ 3351831 h 5441951"/>
                  <a:gd name="connsiteX69" fmla="*/ 3953502 w 5402761"/>
                  <a:gd name="connsiteY69" fmla="*/ 3030487 h 5441951"/>
                  <a:gd name="connsiteX70" fmla="*/ 3938614 w 5402761"/>
                  <a:gd name="connsiteY70" fmla="*/ 2923373 h 5441951"/>
                  <a:gd name="connsiteX71" fmla="*/ 4048784 w 5402761"/>
                  <a:gd name="connsiteY71" fmla="*/ 2908496 h 5441951"/>
                  <a:gd name="connsiteX72" fmla="*/ 4257214 w 5402761"/>
                  <a:gd name="connsiteY72" fmla="*/ 3110823 h 5441951"/>
                  <a:gd name="connsiteX73" fmla="*/ 4257214 w 5402761"/>
                  <a:gd name="connsiteY73" fmla="*/ 1527909 h 5441951"/>
                  <a:gd name="connsiteX74" fmla="*/ 3075116 w 5402761"/>
                  <a:gd name="connsiteY74" fmla="*/ 1527909 h 5441951"/>
                  <a:gd name="connsiteX75" fmla="*/ 2997699 w 5402761"/>
                  <a:gd name="connsiteY75" fmla="*/ 1450549 h 5441951"/>
                  <a:gd name="connsiteX76" fmla="*/ 3075116 w 5402761"/>
                  <a:gd name="connsiteY76" fmla="*/ 1373188 h 5441951"/>
                  <a:gd name="connsiteX77" fmla="*/ 1464174 w 5402761"/>
                  <a:gd name="connsiteY77" fmla="*/ 669925 h 5441951"/>
                  <a:gd name="connsiteX78" fmla="*/ 694236 w 5402761"/>
                  <a:gd name="connsiteY78" fmla="*/ 1440657 h 5441951"/>
                  <a:gd name="connsiteX79" fmla="*/ 1464174 w 5402761"/>
                  <a:gd name="connsiteY79" fmla="*/ 2211389 h 5441951"/>
                  <a:gd name="connsiteX80" fmla="*/ 2234112 w 5402761"/>
                  <a:gd name="connsiteY80" fmla="*/ 1440657 h 5441951"/>
                  <a:gd name="connsiteX81" fmla="*/ 1464174 w 5402761"/>
                  <a:gd name="connsiteY81" fmla="*/ 669925 h 5441951"/>
                  <a:gd name="connsiteX82" fmla="*/ 1465761 w 5402761"/>
                  <a:gd name="connsiteY82" fmla="*/ 533400 h 5441951"/>
                  <a:gd name="connsiteX83" fmla="*/ 2373811 w 5402761"/>
                  <a:gd name="connsiteY83" fmla="*/ 1441450 h 5441951"/>
                  <a:gd name="connsiteX84" fmla="*/ 1465761 w 5402761"/>
                  <a:gd name="connsiteY84" fmla="*/ 2349500 h 5441951"/>
                  <a:gd name="connsiteX85" fmla="*/ 557711 w 5402761"/>
                  <a:gd name="connsiteY85" fmla="*/ 1441450 h 5441951"/>
                  <a:gd name="connsiteX86" fmla="*/ 1465761 w 5402761"/>
                  <a:gd name="connsiteY86" fmla="*/ 533400 h 5441951"/>
                  <a:gd name="connsiteX87" fmla="*/ 1333910 w 5402761"/>
                  <a:gd name="connsiteY87" fmla="*/ 142875 h 5441951"/>
                  <a:gd name="connsiteX88" fmla="*/ 1232714 w 5402761"/>
                  <a:gd name="connsiteY88" fmla="*/ 416804 h 5441951"/>
                  <a:gd name="connsiteX89" fmla="*/ 1196998 w 5402761"/>
                  <a:gd name="connsiteY89" fmla="*/ 425736 h 5441951"/>
                  <a:gd name="connsiteX90" fmla="*/ 1009489 w 5402761"/>
                  <a:gd name="connsiteY90" fmla="*/ 488263 h 5441951"/>
                  <a:gd name="connsiteX91" fmla="*/ 979726 w 5402761"/>
                  <a:gd name="connsiteY91" fmla="*/ 503152 h 5441951"/>
                  <a:gd name="connsiteX92" fmla="*/ 732690 w 5402761"/>
                  <a:gd name="connsiteY92" fmla="*/ 363209 h 5441951"/>
                  <a:gd name="connsiteX93" fmla="*/ 628518 w 5402761"/>
                  <a:gd name="connsiteY93" fmla="*/ 443601 h 5441951"/>
                  <a:gd name="connsiteX94" fmla="*/ 530299 w 5402761"/>
                  <a:gd name="connsiteY94" fmla="*/ 532926 h 5441951"/>
                  <a:gd name="connsiteX95" fmla="*/ 619589 w 5402761"/>
                  <a:gd name="connsiteY95" fmla="*/ 777080 h 5441951"/>
                  <a:gd name="connsiteX96" fmla="*/ 592802 w 5402761"/>
                  <a:gd name="connsiteY96" fmla="*/ 806854 h 5441951"/>
                  <a:gd name="connsiteX97" fmla="*/ 467796 w 5402761"/>
                  <a:gd name="connsiteY97" fmla="*/ 1009324 h 5441951"/>
                  <a:gd name="connsiteX98" fmla="*/ 452914 w 5402761"/>
                  <a:gd name="connsiteY98" fmla="*/ 1039098 h 5441951"/>
                  <a:gd name="connsiteX99" fmla="*/ 211831 w 5402761"/>
                  <a:gd name="connsiteY99" fmla="*/ 1086738 h 5441951"/>
                  <a:gd name="connsiteX100" fmla="*/ 185044 w 5402761"/>
                  <a:gd name="connsiteY100" fmla="*/ 1211793 h 5441951"/>
                  <a:gd name="connsiteX101" fmla="*/ 167186 w 5402761"/>
                  <a:gd name="connsiteY101" fmla="*/ 1345779 h 5441951"/>
                  <a:gd name="connsiteX102" fmla="*/ 366601 w 5402761"/>
                  <a:gd name="connsiteY102" fmla="*/ 1461902 h 5441951"/>
                  <a:gd name="connsiteX103" fmla="*/ 369577 w 5402761"/>
                  <a:gd name="connsiteY103" fmla="*/ 1500609 h 5441951"/>
                  <a:gd name="connsiteX104" fmla="*/ 417198 w 5402761"/>
                  <a:gd name="connsiteY104" fmla="*/ 1756673 h 5441951"/>
                  <a:gd name="connsiteX105" fmla="*/ 429104 w 5402761"/>
                  <a:gd name="connsiteY105" fmla="*/ 1789425 h 5441951"/>
                  <a:gd name="connsiteX106" fmla="*/ 277311 w 5402761"/>
                  <a:gd name="connsiteY106" fmla="*/ 1974029 h 5441951"/>
                  <a:gd name="connsiteX107" fmla="*/ 336837 w 5402761"/>
                  <a:gd name="connsiteY107" fmla="*/ 2090151 h 5441951"/>
                  <a:gd name="connsiteX108" fmla="*/ 408269 w 5402761"/>
                  <a:gd name="connsiteY108" fmla="*/ 2200318 h 5441951"/>
                  <a:gd name="connsiteX109" fmla="*/ 658281 w 5402761"/>
                  <a:gd name="connsiteY109" fmla="*/ 2161611 h 5441951"/>
                  <a:gd name="connsiteX110" fmla="*/ 685068 w 5402761"/>
                  <a:gd name="connsiteY110" fmla="*/ 2185431 h 5441951"/>
                  <a:gd name="connsiteX111" fmla="*/ 863649 w 5402761"/>
                  <a:gd name="connsiteY111" fmla="*/ 2325372 h 5441951"/>
                  <a:gd name="connsiteX112" fmla="*/ 896388 w 5402761"/>
                  <a:gd name="connsiteY112" fmla="*/ 2346215 h 5441951"/>
                  <a:gd name="connsiteX113" fmla="*/ 896388 w 5402761"/>
                  <a:gd name="connsiteY113" fmla="*/ 2611211 h 5441951"/>
                  <a:gd name="connsiteX114" fmla="*/ 1018418 w 5402761"/>
                  <a:gd name="connsiteY114" fmla="*/ 2661828 h 5441951"/>
                  <a:gd name="connsiteX115" fmla="*/ 1143424 w 5402761"/>
                  <a:gd name="connsiteY115" fmla="*/ 2700536 h 5441951"/>
                  <a:gd name="connsiteX116" fmla="*/ 1324981 w 5402761"/>
                  <a:gd name="connsiteY116" fmla="*/ 2492112 h 5441951"/>
                  <a:gd name="connsiteX117" fmla="*/ 1360697 w 5402761"/>
                  <a:gd name="connsiteY117" fmla="*/ 2495089 h 5441951"/>
                  <a:gd name="connsiteX118" fmla="*/ 1566064 w 5402761"/>
                  <a:gd name="connsiteY118" fmla="*/ 2495089 h 5441951"/>
                  <a:gd name="connsiteX119" fmla="*/ 1601780 w 5402761"/>
                  <a:gd name="connsiteY119" fmla="*/ 2492112 h 5441951"/>
                  <a:gd name="connsiteX120" fmla="*/ 1783336 w 5402761"/>
                  <a:gd name="connsiteY120" fmla="*/ 2703513 h 5441951"/>
                  <a:gd name="connsiteX121" fmla="*/ 1905366 w 5402761"/>
                  <a:gd name="connsiteY121" fmla="*/ 2661828 h 5441951"/>
                  <a:gd name="connsiteX122" fmla="*/ 2030372 w 5402761"/>
                  <a:gd name="connsiteY122" fmla="*/ 2611211 h 5441951"/>
                  <a:gd name="connsiteX123" fmla="*/ 2033348 w 5402761"/>
                  <a:gd name="connsiteY123" fmla="*/ 2349192 h 5441951"/>
                  <a:gd name="connsiteX124" fmla="*/ 2063112 w 5402761"/>
                  <a:gd name="connsiteY124" fmla="*/ 2328350 h 5441951"/>
                  <a:gd name="connsiteX125" fmla="*/ 2244668 w 5402761"/>
                  <a:gd name="connsiteY125" fmla="*/ 2185431 h 5441951"/>
                  <a:gd name="connsiteX126" fmla="*/ 2271455 w 5402761"/>
                  <a:gd name="connsiteY126" fmla="*/ 2161611 h 5441951"/>
                  <a:gd name="connsiteX127" fmla="*/ 2518491 w 5402761"/>
                  <a:gd name="connsiteY127" fmla="*/ 2200318 h 5441951"/>
                  <a:gd name="connsiteX128" fmla="*/ 2589923 w 5402761"/>
                  <a:gd name="connsiteY128" fmla="*/ 2090151 h 5441951"/>
                  <a:gd name="connsiteX129" fmla="*/ 2649450 w 5402761"/>
                  <a:gd name="connsiteY129" fmla="*/ 1977007 h 5441951"/>
                  <a:gd name="connsiteX130" fmla="*/ 2497657 w 5402761"/>
                  <a:gd name="connsiteY130" fmla="*/ 1792402 h 5441951"/>
                  <a:gd name="connsiteX131" fmla="*/ 2509562 w 5402761"/>
                  <a:gd name="connsiteY131" fmla="*/ 1756673 h 5441951"/>
                  <a:gd name="connsiteX132" fmla="*/ 2557183 w 5402761"/>
                  <a:gd name="connsiteY132" fmla="*/ 1500609 h 5441951"/>
                  <a:gd name="connsiteX133" fmla="*/ 2560160 w 5402761"/>
                  <a:gd name="connsiteY133" fmla="*/ 1464879 h 5441951"/>
                  <a:gd name="connsiteX134" fmla="*/ 2759574 w 5402761"/>
                  <a:gd name="connsiteY134" fmla="*/ 1345779 h 5441951"/>
                  <a:gd name="connsiteX135" fmla="*/ 2741716 w 5402761"/>
                  <a:gd name="connsiteY135" fmla="*/ 1214771 h 5441951"/>
                  <a:gd name="connsiteX136" fmla="*/ 2714929 w 5402761"/>
                  <a:gd name="connsiteY136" fmla="*/ 1086738 h 5441951"/>
                  <a:gd name="connsiteX137" fmla="*/ 2476822 w 5402761"/>
                  <a:gd name="connsiteY137" fmla="*/ 1042076 h 5441951"/>
                  <a:gd name="connsiteX138" fmla="*/ 2461941 w 5402761"/>
                  <a:gd name="connsiteY138" fmla="*/ 1009324 h 5441951"/>
                  <a:gd name="connsiteX139" fmla="*/ 2333958 w 5402761"/>
                  <a:gd name="connsiteY139" fmla="*/ 806854 h 5441951"/>
                  <a:gd name="connsiteX140" fmla="*/ 2310148 w 5402761"/>
                  <a:gd name="connsiteY140" fmla="*/ 777080 h 5441951"/>
                  <a:gd name="connsiteX141" fmla="*/ 2396461 w 5402761"/>
                  <a:gd name="connsiteY141" fmla="*/ 532926 h 5441951"/>
                  <a:gd name="connsiteX142" fmla="*/ 2298242 w 5402761"/>
                  <a:gd name="connsiteY142" fmla="*/ 443601 h 5441951"/>
                  <a:gd name="connsiteX143" fmla="*/ 2197047 w 5402761"/>
                  <a:gd name="connsiteY143" fmla="*/ 363209 h 5441951"/>
                  <a:gd name="connsiteX144" fmla="*/ 1950011 w 5402761"/>
                  <a:gd name="connsiteY144" fmla="*/ 503152 h 5441951"/>
                  <a:gd name="connsiteX145" fmla="*/ 1917271 w 5402761"/>
                  <a:gd name="connsiteY145" fmla="*/ 488263 h 5441951"/>
                  <a:gd name="connsiteX146" fmla="*/ 1732739 w 5402761"/>
                  <a:gd name="connsiteY146" fmla="*/ 425736 h 5441951"/>
                  <a:gd name="connsiteX147" fmla="*/ 1697023 w 5402761"/>
                  <a:gd name="connsiteY147" fmla="*/ 416804 h 5441951"/>
                  <a:gd name="connsiteX148" fmla="*/ 1595827 w 5402761"/>
                  <a:gd name="connsiteY148" fmla="*/ 142875 h 5441951"/>
                  <a:gd name="connsiteX149" fmla="*/ 1464868 w 5402761"/>
                  <a:gd name="connsiteY149" fmla="*/ 142875 h 5441951"/>
                  <a:gd name="connsiteX150" fmla="*/ 1333910 w 5402761"/>
                  <a:gd name="connsiteY150" fmla="*/ 142875 h 5441951"/>
                  <a:gd name="connsiteX151" fmla="*/ 1464868 w 5402761"/>
                  <a:gd name="connsiteY151" fmla="*/ 0 h 5441951"/>
                  <a:gd name="connsiteX152" fmla="*/ 1655355 w 5402761"/>
                  <a:gd name="connsiteY152" fmla="*/ 11906 h 5441951"/>
                  <a:gd name="connsiteX153" fmla="*/ 1694048 w 5402761"/>
                  <a:gd name="connsiteY153" fmla="*/ 17858 h 5441951"/>
                  <a:gd name="connsiteX154" fmla="*/ 1801197 w 5402761"/>
                  <a:gd name="connsiteY154" fmla="*/ 300612 h 5441951"/>
                  <a:gd name="connsiteX155" fmla="*/ 1941086 w 5402761"/>
                  <a:gd name="connsiteY155" fmla="*/ 348234 h 5441951"/>
                  <a:gd name="connsiteX156" fmla="*/ 2203005 w 5402761"/>
                  <a:gd name="connsiteY156" fmla="*/ 202392 h 5441951"/>
                  <a:gd name="connsiteX157" fmla="*/ 2238721 w 5402761"/>
                  <a:gd name="connsiteY157" fmla="*/ 226203 h 5441951"/>
                  <a:gd name="connsiteX158" fmla="*/ 2387539 w 5402761"/>
                  <a:gd name="connsiteY158" fmla="*/ 339305 h 5441951"/>
                  <a:gd name="connsiteX159" fmla="*/ 2524452 w 5402761"/>
                  <a:gd name="connsiteY159" fmla="*/ 467288 h 5441951"/>
                  <a:gd name="connsiteX160" fmla="*/ 2554215 w 5402761"/>
                  <a:gd name="connsiteY160" fmla="*/ 500028 h 5441951"/>
                  <a:gd name="connsiteX161" fmla="*/ 2467901 w 5402761"/>
                  <a:gd name="connsiteY161" fmla="*/ 753018 h 5441951"/>
                  <a:gd name="connsiteX162" fmla="*/ 2572073 w 5402761"/>
                  <a:gd name="connsiteY162" fmla="*/ 919694 h 5441951"/>
                  <a:gd name="connsiteX163" fmla="*/ 2825064 w 5402761"/>
                  <a:gd name="connsiteY163" fmla="*/ 964339 h 5441951"/>
                  <a:gd name="connsiteX164" fmla="*/ 2836969 w 5402761"/>
                  <a:gd name="connsiteY164" fmla="*/ 1006008 h 5441951"/>
                  <a:gd name="connsiteX165" fmla="*/ 2878638 w 5402761"/>
                  <a:gd name="connsiteY165" fmla="*/ 1190543 h 5441951"/>
                  <a:gd name="connsiteX166" fmla="*/ 2899473 w 5402761"/>
                  <a:gd name="connsiteY166" fmla="*/ 1378053 h 5441951"/>
                  <a:gd name="connsiteX167" fmla="*/ 2902449 w 5402761"/>
                  <a:gd name="connsiteY167" fmla="*/ 1419722 h 5441951"/>
                  <a:gd name="connsiteX168" fmla="*/ 2691128 w 5402761"/>
                  <a:gd name="connsiteY168" fmla="*/ 1547705 h 5441951"/>
                  <a:gd name="connsiteX169" fmla="*/ 2655411 w 5402761"/>
                  <a:gd name="connsiteY169" fmla="*/ 1762003 h 5441951"/>
                  <a:gd name="connsiteX170" fmla="*/ 2810182 w 5402761"/>
                  <a:gd name="connsiteY170" fmla="*/ 1952489 h 5441951"/>
                  <a:gd name="connsiteX171" fmla="*/ 2792324 w 5402761"/>
                  <a:gd name="connsiteY171" fmla="*/ 1988206 h 5441951"/>
                  <a:gd name="connsiteX172" fmla="*/ 2706010 w 5402761"/>
                  <a:gd name="connsiteY172" fmla="*/ 2160834 h 5441951"/>
                  <a:gd name="connsiteX173" fmla="*/ 2604813 w 5402761"/>
                  <a:gd name="connsiteY173" fmla="*/ 2318581 h 5441951"/>
                  <a:gd name="connsiteX174" fmla="*/ 2581002 w 5402761"/>
                  <a:gd name="connsiteY174" fmla="*/ 2351321 h 5441951"/>
                  <a:gd name="connsiteX175" fmla="*/ 2313130 w 5402761"/>
                  <a:gd name="connsiteY175" fmla="*/ 2309652 h 5441951"/>
                  <a:gd name="connsiteX176" fmla="*/ 2170265 w 5402761"/>
                  <a:gd name="connsiteY176" fmla="*/ 2422754 h 5441951"/>
                  <a:gd name="connsiteX177" fmla="*/ 2164312 w 5402761"/>
                  <a:gd name="connsiteY177" fmla="*/ 2699555 h 5441951"/>
                  <a:gd name="connsiteX178" fmla="*/ 2128596 w 5402761"/>
                  <a:gd name="connsiteY178" fmla="*/ 2717413 h 5441951"/>
                  <a:gd name="connsiteX179" fmla="*/ 1952991 w 5402761"/>
                  <a:gd name="connsiteY179" fmla="*/ 2791822 h 5441951"/>
                  <a:gd name="connsiteX180" fmla="*/ 1774410 w 5402761"/>
                  <a:gd name="connsiteY180" fmla="*/ 2845396 h 5441951"/>
                  <a:gd name="connsiteX181" fmla="*/ 1732741 w 5402761"/>
                  <a:gd name="connsiteY181" fmla="*/ 2854325 h 5441951"/>
                  <a:gd name="connsiteX182" fmla="*/ 1542254 w 5402761"/>
                  <a:gd name="connsiteY182" fmla="*/ 2634075 h 5441951"/>
                  <a:gd name="connsiteX183" fmla="*/ 1384507 w 5402761"/>
                  <a:gd name="connsiteY183" fmla="*/ 2634075 h 5441951"/>
                  <a:gd name="connsiteX184" fmla="*/ 1194020 w 5402761"/>
                  <a:gd name="connsiteY184" fmla="*/ 2854325 h 5441951"/>
                  <a:gd name="connsiteX185" fmla="*/ 1152351 w 5402761"/>
                  <a:gd name="connsiteY185" fmla="*/ 2845396 h 5441951"/>
                  <a:gd name="connsiteX186" fmla="*/ 970793 w 5402761"/>
                  <a:gd name="connsiteY186" fmla="*/ 2791822 h 5441951"/>
                  <a:gd name="connsiteX187" fmla="*/ 798164 w 5402761"/>
                  <a:gd name="connsiteY187" fmla="*/ 2717413 h 5441951"/>
                  <a:gd name="connsiteX188" fmla="*/ 759472 w 5402761"/>
                  <a:gd name="connsiteY188" fmla="*/ 2696578 h 5441951"/>
                  <a:gd name="connsiteX189" fmla="*/ 756495 w 5402761"/>
                  <a:gd name="connsiteY189" fmla="*/ 2419777 h 5441951"/>
                  <a:gd name="connsiteX190" fmla="*/ 613630 w 5402761"/>
                  <a:gd name="connsiteY190" fmla="*/ 2306676 h 5441951"/>
                  <a:gd name="connsiteX191" fmla="*/ 345758 w 5402761"/>
                  <a:gd name="connsiteY191" fmla="*/ 2351321 h 5441951"/>
                  <a:gd name="connsiteX192" fmla="*/ 321947 w 5402761"/>
                  <a:gd name="connsiteY192" fmla="*/ 2315605 h 5441951"/>
                  <a:gd name="connsiteX193" fmla="*/ 217774 w 5402761"/>
                  <a:gd name="connsiteY193" fmla="*/ 2160834 h 5441951"/>
                  <a:gd name="connsiteX194" fmla="*/ 131460 w 5402761"/>
                  <a:gd name="connsiteY194" fmla="*/ 1988206 h 5441951"/>
                  <a:gd name="connsiteX195" fmla="*/ 116578 w 5402761"/>
                  <a:gd name="connsiteY195" fmla="*/ 1952489 h 5441951"/>
                  <a:gd name="connsiteX196" fmla="*/ 274325 w 5402761"/>
                  <a:gd name="connsiteY196" fmla="*/ 1759026 h 5441951"/>
                  <a:gd name="connsiteX197" fmla="*/ 235633 w 5402761"/>
                  <a:gd name="connsiteY197" fmla="*/ 1544729 h 5441951"/>
                  <a:gd name="connsiteX198" fmla="*/ 24311 w 5402761"/>
                  <a:gd name="connsiteY198" fmla="*/ 1419722 h 5441951"/>
                  <a:gd name="connsiteX199" fmla="*/ 27287 w 5402761"/>
                  <a:gd name="connsiteY199" fmla="*/ 1375077 h 5441951"/>
                  <a:gd name="connsiteX200" fmla="*/ 48122 w 5402761"/>
                  <a:gd name="connsiteY200" fmla="*/ 1187566 h 5441951"/>
                  <a:gd name="connsiteX201" fmla="*/ 92767 w 5402761"/>
                  <a:gd name="connsiteY201" fmla="*/ 1006008 h 5441951"/>
                  <a:gd name="connsiteX202" fmla="*/ 104673 w 5402761"/>
                  <a:gd name="connsiteY202" fmla="*/ 964339 h 5441951"/>
                  <a:gd name="connsiteX203" fmla="*/ 357663 w 5402761"/>
                  <a:gd name="connsiteY203" fmla="*/ 916718 h 5441951"/>
                  <a:gd name="connsiteX204" fmla="*/ 464812 w 5402761"/>
                  <a:gd name="connsiteY204" fmla="*/ 753018 h 5441951"/>
                  <a:gd name="connsiteX205" fmla="*/ 372545 w 5402761"/>
                  <a:gd name="connsiteY205" fmla="*/ 497051 h 5441951"/>
                  <a:gd name="connsiteX206" fmla="*/ 402309 w 5402761"/>
                  <a:gd name="connsiteY206" fmla="*/ 467288 h 5441951"/>
                  <a:gd name="connsiteX207" fmla="*/ 539221 w 5402761"/>
                  <a:gd name="connsiteY207" fmla="*/ 339305 h 5441951"/>
                  <a:gd name="connsiteX208" fmla="*/ 693992 w 5402761"/>
                  <a:gd name="connsiteY208" fmla="*/ 223227 h 5441951"/>
                  <a:gd name="connsiteX209" fmla="*/ 726732 w 5402761"/>
                  <a:gd name="connsiteY209" fmla="*/ 199416 h 5441951"/>
                  <a:gd name="connsiteX210" fmla="*/ 985675 w 5402761"/>
                  <a:gd name="connsiteY210" fmla="*/ 345257 h 5441951"/>
                  <a:gd name="connsiteX211" fmla="*/ 1125564 w 5402761"/>
                  <a:gd name="connsiteY211" fmla="*/ 300612 h 5441951"/>
                  <a:gd name="connsiteX212" fmla="*/ 1235689 w 5402761"/>
                  <a:gd name="connsiteY212" fmla="*/ 17858 h 5441951"/>
                  <a:gd name="connsiteX213" fmla="*/ 1277358 w 5402761"/>
                  <a:gd name="connsiteY213" fmla="*/ 11906 h 5441951"/>
                  <a:gd name="connsiteX214" fmla="*/ 1464868 w 5402761"/>
                  <a:gd name="connsiteY214" fmla="*/ 0 h 5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5402761" h="5441951">
                    <a:moveTo>
                      <a:pt x="3533552" y="4075113"/>
                    </a:moveTo>
                    <a:cubicBezTo>
                      <a:pt x="3643735" y="4075113"/>
                      <a:pt x="3643735" y="4075113"/>
                      <a:pt x="3643735" y="4075113"/>
                    </a:cubicBezTo>
                    <a:cubicBezTo>
                      <a:pt x="3643735" y="4155462"/>
                      <a:pt x="3643735" y="4155462"/>
                      <a:pt x="3643735" y="4155462"/>
                    </a:cubicBezTo>
                    <a:cubicBezTo>
                      <a:pt x="3706272" y="4161414"/>
                      <a:pt x="3750941" y="4176294"/>
                      <a:pt x="3780720" y="4197125"/>
                    </a:cubicBezTo>
                    <a:cubicBezTo>
                      <a:pt x="3742007" y="4301281"/>
                      <a:pt x="3742007" y="4301281"/>
                      <a:pt x="3742007" y="4301281"/>
                    </a:cubicBezTo>
                    <a:cubicBezTo>
                      <a:pt x="3694360" y="4271522"/>
                      <a:pt x="3646713" y="4253667"/>
                      <a:pt x="3599066" y="4253667"/>
                    </a:cubicBezTo>
                    <a:cubicBezTo>
                      <a:pt x="3569287" y="4253667"/>
                      <a:pt x="3548441" y="4262594"/>
                      <a:pt x="3530574" y="4277474"/>
                    </a:cubicBezTo>
                    <a:cubicBezTo>
                      <a:pt x="3515684" y="4292353"/>
                      <a:pt x="3506750" y="4313185"/>
                      <a:pt x="3506750" y="4334016"/>
                    </a:cubicBezTo>
                    <a:cubicBezTo>
                      <a:pt x="3506750" y="4375678"/>
                      <a:pt x="3551419" y="4414365"/>
                      <a:pt x="3640757" y="4456027"/>
                    </a:cubicBezTo>
                    <a:cubicBezTo>
                      <a:pt x="3691382" y="4476859"/>
                      <a:pt x="3727117" y="4497690"/>
                      <a:pt x="3747963" y="4518521"/>
                    </a:cubicBezTo>
                    <a:cubicBezTo>
                      <a:pt x="3768808" y="4536376"/>
                      <a:pt x="3780720" y="4560184"/>
                      <a:pt x="3792632" y="4583991"/>
                    </a:cubicBezTo>
                    <a:cubicBezTo>
                      <a:pt x="3804543" y="4610774"/>
                      <a:pt x="3810499" y="4634581"/>
                      <a:pt x="3810499" y="4664340"/>
                    </a:cubicBezTo>
                    <a:cubicBezTo>
                      <a:pt x="3810499" y="4708978"/>
                      <a:pt x="3795610" y="4747665"/>
                      <a:pt x="3768808" y="4780400"/>
                    </a:cubicBezTo>
                    <a:cubicBezTo>
                      <a:pt x="3739029" y="4810158"/>
                      <a:pt x="3697338" y="4833966"/>
                      <a:pt x="3643735" y="4845869"/>
                    </a:cubicBezTo>
                    <a:cubicBezTo>
                      <a:pt x="3643735" y="4953001"/>
                      <a:pt x="3643735" y="4953001"/>
                      <a:pt x="3643735" y="4953001"/>
                    </a:cubicBezTo>
                    <a:cubicBezTo>
                      <a:pt x="3533552" y="4953001"/>
                      <a:pt x="3533552" y="4953001"/>
                      <a:pt x="3533552" y="4953001"/>
                    </a:cubicBezTo>
                    <a:cubicBezTo>
                      <a:pt x="3533552" y="4854797"/>
                      <a:pt x="3533552" y="4854797"/>
                      <a:pt x="3533552" y="4854797"/>
                    </a:cubicBezTo>
                    <a:cubicBezTo>
                      <a:pt x="3479949" y="4848845"/>
                      <a:pt x="3426346" y="4833966"/>
                      <a:pt x="3378699" y="4807183"/>
                    </a:cubicBezTo>
                    <a:cubicBezTo>
                      <a:pt x="3426346" y="4697075"/>
                      <a:pt x="3426346" y="4697075"/>
                      <a:pt x="3426346" y="4697075"/>
                    </a:cubicBezTo>
                    <a:cubicBezTo>
                      <a:pt x="3476971" y="4732785"/>
                      <a:pt x="3524618" y="4747665"/>
                      <a:pt x="3575243" y="4747665"/>
                    </a:cubicBezTo>
                    <a:cubicBezTo>
                      <a:pt x="3646713" y="4747665"/>
                      <a:pt x="3685426" y="4723858"/>
                      <a:pt x="3685426" y="4673267"/>
                    </a:cubicBezTo>
                    <a:cubicBezTo>
                      <a:pt x="3685426" y="4649460"/>
                      <a:pt x="3676492" y="4625653"/>
                      <a:pt x="3655647" y="4607798"/>
                    </a:cubicBezTo>
                    <a:cubicBezTo>
                      <a:pt x="3637779" y="4586967"/>
                      <a:pt x="3602044" y="4563159"/>
                      <a:pt x="3548441" y="4536376"/>
                    </a:cubicBezTo>
                    <a:cubicBezTo>
                      <a:pt x="3494839" y="4509593"/>
                      <a:pt x="3459103" y="4488762"/>
                      <a:pt x="3441236" y="4473883"/>
                    </a:cubicBezTo>
                    <a:cubicBezTo>
                      <a:pt x="3420390" y="4456027"/>
                      <a:pt x="3405501" y="4435196"/>
                      <a:pt x="3396567" y="4414365"/>
                    </a:cubicBezTo>
                    <a:cubicBezTo>
                      <a:pt x="3384655" y="4390558"/>
                      <a:pt x="3381677" y="4363775"/>
                      <a:pt x="3381677" y="4336992"/>
                    </a:cubicBezTo>
                    <a:cubicBezTo>
                      <a:pt x="3381677" y="4292353"/>
                      <a:pt x="3393589" y="4256643"/>
                      <a:pt x="3423368" y="4226884"/>
                    </a:cubicBezTo>
                    <a:cubicBezTo>
                      <a:pt x="3450170" y="4194149"/>
                      <a:pt x="3485905" y="4170342"/>
                      <a:pt x="3533552" y="4161414"/>
                    </a:cubicBezTo>
                    <a:cubicBezTo>
                      <a:pt x="3533552" y="4075113"/>
                      <a:pt x="3533552" y="4075113"/>
                      <a:pt x="3533552" y="4075113"/>
                    </a:cubicBezTo>
                    <a:close/>
                    <a:moveTo>
                      <a:pt x="1932486" y="3735388"/>
                    </a:moveTo>
                    <a:lnTo>
                      <a:pt x="1932486" y="5310188"/>
                    </a:lnTo>
                    <a:lnTo>
                      <a:pt x="5272586" y="5310188"/>
                    </a:lnTo>
                    <a:lnTo>
                      <a:pt x="5272586" y="3735388"/>
                    </a:lnTo>
                    <a:close/>
                    <a:moveTo>
                      <a:pt x="1867774" y="3608388"/>
                    </a:moveTo>
                    <a:cubicBezTo>
                      <a:pt x="5337298" y="3608388"/>
                      <a:pt x="5337298" y="3608388"/>
                      <a:pt x="5337298" y="3608388"/>
                    </a:cubicBezTo>
                    <a:cubicBezTo>
                      <a:pt x="5373005" y="3608388"/>
                      <a:pt x="5402761" y="3635177"/>
                      <a:pt x="5402761" y="3670896"/>
                    </a:cubicBezTo>
                    <a:cubicBezTo>
                      <a:pt x="5402761" y="5376467"/>
                      <a:pt x="5402761" y="5376467"/>
                      <a:pt x="5402761" y="5376467"/>
                    </a:cubicBezTo>
                    <a:cubicBezTo>
                      <a:pt x="5402761" y="5412186"/>
                      <a:pt x="5373005" y="5441951"/>
                      <a:pt x="5337298" y="5441951"/>
                    </a:cubicBezTo>
                    <a:cubicBezTo>
                      <a:pt x="1867774" y="5441951"/>
                      <a:pt x="1867774" y="5441951"/>
                      <a:pt x="1867774" y="5441951"/>
                    </a:cubicBezTo>
                    <a:cubicBezTo>
                      <a:pt x="1832067" y="5441951"/>
                      <a:pt x="1802311" y="5412186"/>
                      <a:pt x="1802311" y="5376467"/>
                    </a:cubicBezTo>
                    <a:cubicBezTo>
                      <a:pt x="1802311" y="3670896"/>
                      <a:pt x="1802311" y="3670896"/>
                      <a:pt x="1802311" y="3670896"/>
                    </a:cubicBezTo>
                    <a:cubicBezTo>
                      <a:pt x="1802311" y="3635177"/>
                      <a:pt x="1832067" y="3608388"/>
                      <a:pt x="1867774" y="3608388"/>
                    </a:cubicBezTo>
                    <a:close/>
                    <a:moveTo>
                      <a:pt x="409138" y="2566988"/>
                    </a:moveTo>
                    <a:cubicBezTo>
                      <a:pt x="409138" y="2566988"/>
                      <a:pt x="409138" y="2566988"/>
                      <a:pt x="465674" y="2623521"/>
                    </a:cubicBezTo>
                    <a:cubicBezTo>
                      <a:pt x="581720" y="2739561"/>
                      <a:pt x="769180" y="2929987"/>
                      <a:pt x="792985" y="2950815"/>
                    </a:cubicBezTo>
                    <a:cubicBezTo>
                      <a:pt x="822740" y="2977594"/>
                      <a:pt x="828691" y="3022225"/>
                      <a:pt x="804887" y="3057929"/>
                    </a:cubicBezTo>
                    <a:cubicBezTo>
                      <a:pt x="790009" y="3075782"/>
                      <a:pt x="766205" y="3087683"/>
                      <a:pt x="742400" y="3087683"/>
                    </a:cubicBezTo>
                    <a:cubicBezTo>
                      <a:pt x="724547" y="3087683"/>
                      <a:pt x="709669" y="3081733"/>
                      <a:pt x="694791" y="3072806"/>
                    </a:cubicBezTo>
                    <a:cubicBezTo>
                      <a:pt x="688840" y="3069831"/>
                      <a:pt x="679914" y="3060905"/>
                      <a:pt x="489478" y="2867504"/>
                    </a:cubicBezTo>
                    <a:cubicBezTo>
                      <a:pt x="489478" y="2867504"/>
                      <a:pt x="489478" y="2867504"/>
                      <a:pt x="489478" y="4444467"/>
                    </a:cubicBezTo>
                    <a:cubicBezTo>
                      <a:pt x="489478" y="4444467"/>
                      <a:pt x="489478" y="4444467"/>
                      <a:pt x="1667797" y="4444467"/>
                    </a:cubicBezTo>
                    <a:cubicBezTo>
                      <a:pt x="1712430" y="4444467"/>
                      <a:pt x="1745161" y="4480172"/>
                      <a:pt x="1745161" y="4524803"/>
                    </a:cubicBezTo>
                    <a:cubicBezTo>
                      <a:pt x="1745161" y="4566458"/>
                      <a:pt x="1712430" y="4602163"/>
                      <a:pt x="1667797" y="4602163"/>
                    </a:cubicBezTo>
                    <a:cubicBezTo>
                      <a:pt x="1667797" y="4602163"/>
                      <a:pt x="1667797" y="4602163"/>
                      <a:pt x="331774" y="4602163"/>
                    </a:cubicBezTo>
                    <a:cubicBezTo>
                      <a:pt x="331774" y="4602163"/>
                      <a:pt x="331774" y="4602163"/>
                      <a:pt x="331774" y="2867504"/>
                    </a:cubicBezTo>
                    <a:cubicBezTo>
                      <a:pt x="331774" y="2867504"/>
                      <a:pt x="331774" y="2867504"/>
                      <a:pt x="132412" y="3063880"/>
                    </a:cubicBezTo>
                    <a:cubicBezTo>
                      <a:pt x="102657" y="3096610"/>
                      <a:pt x="52072" y="3096610"/>
                      <a:pt x="22316" y="3063880"/>
                    </a:cubicBezTo>
                    <a:cubicBezTo>
                      <a:pt x="-7439" y="3034126"/>
                      <a:pt x="-7439" y="2983544"/>
                      <a:pt x="22316" y="2953790"/>
                    </a:cubicBezTo>
                    <a:cubicBezTo>
                      <a:pt x="22316" y="2953790"/>
                      <a:pt x="22316" y="2953790"/>
                      <a:pt x="409138" y="2566988"/>
                    </a:cubicBezTo>
                    <a:close/>
                    <a:moveTo>
                      <a:pt x="3075116" y="1373188"/>
                    </a:moveTo>
                    <a:cubicBezTo>
                      <a:pt x="3075116" y="1373188"/>
                      <a:pt x="3075116" y="1373188"/>
                      <a:pt x="4412049" y="1373188"/>
                    </a:cubicBezTo>
                    <a:cubicBezTo>
                      <a:pt x="4412049" y="1373188"/>
                      <a:pt x="4412049" y="1373188"/>
                      <a:pt x="4412049" y="3104872"/>
                    </a:cubicBezTo>
                    <a:cubicBezTo>
                      <a:pt x="4412049" y="3104872"/>
                      <a:pt x="4412049" y="3104872"/>
                      <a:pt x="4605591" y="2914446"/>
                    </a:cubicBezTo>
                    <a:cubicBezTo>
                      <a:pt x="4635367" y="2884692"/>
                      <a:pt x="4685986" y="2884692"/>
                      <a:pt x="4715761" y="2917422"/>
                    </a:cubicBezTo>
                    <a:cubicBezTo>
                      <a:pt x="4745537" y="2947176"/>
                      <a:pt x="4745537" y="2997758"/>
                      <a:pt x="4715761" y="3027512"/>
                    </a:cubicBezTo>
                    <a:cubicBezTo>
                      <a:pt x="4715761" y="3027512"/>
                      <a:pt x="4715761" y="3027512"/>
                      <a:pt x="4400138" y="3336954"/>
                    </a:cubicBezTo>
                    <a:cubicBezTo>
                      <a:pt x="4394183" y="3348855"/>
                      <a:pt x="4385250" y="3357781"/>
                      <a:pt x="4376318" y="3363732"/>
                    </a:cubicBezTo>
                    <a:cubicBezTo>
                      <a:pt x="4376318" y="3363732"/>
                      <a:pt x="4376318" y="3363732"/>
                      <a:pt x="4331654" y="3408363"/>
                    </a:cubicBezTo>
                    <a:cubicBezTo>
                      <a:pt x="4331654" y="3408363"/>
                      <a:pt x="4331654" y="3408363"/>
                      <a:pt x="4275080" y="3351831"/>
                    </a:cubicBezTo>
                    <a:cubicBezTo>
                      <a:pt x="4161932" y="3238765"/>
                      <a:pt x="3974345" y="3051315"/>
                      <a:pt x="3953502" y="3030487"/>
                    </a:cubicBezTo>
                    <a:cubicBezTo>
                      <a:pt x="3920748" y="3003709"/>
                      <a:pt x="3914793" y="2959077"/>
                      <a:pt x="3938614" y="2923373"/>
                    </a:cubicBezTo>
                    <a:cubicBezTo>
                      <a:pt x="3965412" y="2890643"/>
                      <a:pt x="4013053" y="2881717"/>
                      <a:pt x="4048784" y="2908496"/>
                    </a:cubicBezTo>
                    <a:cubicBezTo>
                      <a:pt x="4054739" y="2911471"/>
                      <a:pt x="4063672" y="2917422"/>
                      <a:pt x="4257214" y="3110823"/>
                    </a:cubicBezTo>
                    <a:cubicBezTo>
                      <a:pt x="4257214" y="3110823"/>
                      <a:pt x="4257214" y="3110823"/>
                      <a:pt x="4257214" y="1527909"/>
                    </a:cubicBezTo>
                    <a:cubicBezTo>
                      <a:pt x="4257214" y="1527909"/>
                      <a:pt x="4257214" y="1527909"/>
                      <a:pt x="3075116" y="1527909"/>
                    </a:cubicBezTo>
                    <a:cubicBezTo>
                      <a:pt x="3033430" y="1527909"/>
                      <a:pt x="2997699" y="1495180"/>
                      <a:pt x="2997699" y="1450549"/>
                    </a:cubicBezTo>
                    <a:cubicBezTo>
                      <a:pt x="2997699" y="1408893"/>
                      <a:pt x="3033430" y="1373188"/>
                      <a:pt x="3075116" y="1373188"/>
                    </a:cubicBezTo>
                    <a:close/>
                    <a:moveTo>
                      <a:pt x="1464174" y="669925"/>
                    </a:moveTo>
                    <a:cubicBezTo>
                      <a:pt x="1038949" y="669925"/>
                      <a:pt x="694236" y="1014993"/>
                      <a:pt x="694236" y="1440657"/>
                    </a:cubicBezTo>
                    <a:cubicBezTo>
                      <a:pt x="694236" y="1866321"/>
                      <a:pt x="1038949" y="2211389"/>
                      <a:pt x="1464174" y="2211389"/>
                    </a:cubicBezTo>
                    <a:cubicBezTo>
                      <a:pt x="1889399" y="2211389"/>
                      <a:pt x="2234112" y="1866321"/>
                      <a:pt x="2234112" y="1440657"/>
                    </a:cubicBezTo>
                    <a:cubicBezTo>
                      <a:pt x="2234112" y="1014993"/>
                      <a:pt x="1889399" y="669925"/>
                      <a:pt x="1464174" y="669925"/>
                    </a:cubicBezTo>
                    <a:close/>
                    <a:moveTo>
                      <a:pt x="1465761" y="533400"/>
                    </a:moveTo>
                    <a:cubicBezTo>
                      <a:pt x="1967263" y="533400"/>
                      <a:pt x="2373811" y="939948"/>
                      <a:pt x="2373811" y="1441450"/>
                    </a:cubicBezTo>
                    <a:cubicBezTo>
                      <a:pt x="2373811" y="1942952"/>
                      <a:pt x="1967263" y="2349500"/>
                      <a:pt x="1465761" y="2349500"/>
                    </a:cubicBezTo>
                    <a:cubicBezTo>
                      <a:pt x="964259" y="2349500"/>
                      <a:pt x="557711" y="1942952"/>
                      <a:pt x="557711" y="1441450"/>
                    </a:cubicBezTo>
                    <a:cubicBezTo>
                      <a:pt x="557711" y="939948"/>
                      <a:pt x="964259" y="533400"/>
                      <a:pt x="1465761" y="533400"/>
                    </a:cubicBezTo>
                    <a:close/>
                    <a:moveTo>
                      <a:pt x="1333910" y="142875"/>
                    </a:moveTo>
                    <a:cubicBezTo>
                      <a:pt x="1333910" y="142875"/>
                      <a:pt x="1333910" y="142875"/>
                      <a:pt x="1232714" y="416804"/>
                    </a:cubicBezTo>
                    <a:cubicBezTo>
                      <a:pt x="1232714" y="416804"/>
                      <a:pt x="1232714" y="416804"/>
                      <a:pt x="1196998" y="425736"/>
                    </a:cubicBezTo>
                    <a:cubicBezTo>
                      <a:pt x="1131519" y="440624"/>
                      <a:pt x="1071992" y="461466"/>
                      <a:pt x="1009489" y="488263"/>
                    </a:cubicBezTo>
                    <a:cubicBezTo>
                      <a:pt x="1009489" y="488263"/>
                      <a:pt x="1009489" y="488263"/>
                      <a:pt x="979726" y="503152"/>
                    </a:cubicBezTo>
                    <a:cubicBezTo>
                      <a:pt x="979726" y="503152"/>
                      <a:pt x="979726" y="503152"/>
                      <a:pt x="732690" y="363209"/>
                    </a:cubicBezTo>
                    <a:cubicBezTo>
                      <a:pt x="682092" y="401916"/>
                      <a:pt x="631494" y="440624"/>
                      <a:pt x="628518" y="443601"/>
                    </a:cubicBezTo>
                    <a:cubicBezTo>
                      <a:pt x="628518" y="443601"/>
                      <a:pt x="577920" y="485287"/>
                      <a:pt x="530299" y="532926"/>
                    </a:cubicBezTo>
                    <a:cubicBezTo>
                      <a:pt x="530299" y="532926"/>
                      <a:pt x="530299" y="532926"/>
                      <a:pt x="619589" y="777080"/>
                    </a:cubicBezTo>
                    <a:cubicBezTo>
                      <a:pt x="619589" y="777080"/>
                      <a:pt x="619589" y="777080"/>
                      <a:pt x="592802" y="806854"/>
                    </a:cubicBezTo>
                    <a:cubicBezTo>
                      <a:pt x="542204" y="869382"/>
                      <a:pt x="500536" y="937864"/>
                      <a:pt x="467796" y="1009324"/>
                    </a:cubicBezTo>
                    <a:cubicBezTo>
                      <a:pt x="467796" y="1009324"/>
                      <a:pt x="467796" y="1009324"/>
                      <a:pt x="452914" y="1039098"/>
                    </a:cubicBezTo>
                    <a:cubicBezTo>
                      <a:pt x="452914" y="1039098"/>
                      <a:pt x="452914" y="1039098"/>
                      <a:pt x="211831" y="1086738"/>
                    </a:cubicBezTo>
                    <a:cubicBezTo>
                      <a:pt x="196949" y="1146289"/>
                      <a:pt x="185044" y="1205838"/>
                      <a:pt x="185044" y="1211793"/>
                    </a:cubicBezTo>
                    <a:cubicBezTo>
                      <a:pt x="185044" y="1214771"/>
                      <a:pt x="173139" y="1277297"/>
                      <a:pt x="167186" y="1345779"/>
                    </a:cubicBezTo>
                    <a:cubicBezTo>
                      <a:pt x="167186" y="1345779"/>
                      <a:pt x="167186" y="1345779"/>
                      <a:pt x="366601" y="1461902"/>
                    </a:cubicBezTo>
                    <a:cubicBezTo>
                      <a:pt x="366601" y="1461902"/>
                      <a:pt x="366601" y="1461902"/>
                      <a:pt x="369577" y="1500609"/>
                    </a:cubicBezTo>
                    <a:cubicBezTo>
                      <a:pt x="375530" y="1583978"/>
                      <a:pt x="390411" y="1673303"/>
                      <a:pt x="417198" y="1756673"/>
                    </a:cubicBezTo>
                    <a:cubicBezTo>
                      <a:pt x="417198" y="1756673"/>
                      <a:pt x="417198" y="1756673"/>
                      <a:pt x="429104" y="1789425"/>
                    </a:cubicBezTo>
                    <a:cubicBezTo>
                      <a:pt x="429104" y="1789425"/>
                      <a:pt x="429104" y="1789425"/>
                      <a:pt x="277311" y="1974029"/>
                    </a:cubicBezTo>
                    <a:cubicBezTo>
                      <a:pt x="304098" y="2033579"/>
                      <a:pt x="336837" y="2090151"/>
                      <a:pt x="336837" y="2090151"/>
                    </a:cubicBezTo>
                    <a:cubicBezTo>
                      <a:pt x="336837" y="2090151"/>
                      <a:pt x="369577" y="2146723"/>
                      <a:pt x="408269" y="2200318"/>
                    </a:cubicBezTo>
                    <a:cubicBezTo>
                      <a:pt x="408269" y="2200318"/>
                      <a:pt x="408269" y="2200318"/>
                      <a:pt x="658281" y="2161611"/>
                    </a:cubicBezTo>
                    <a:cubicBezTo>
                      <a:pt x="658281" y="2161611"/>
                      <a:pt x="658281" y="2161611"/>
                      <a:pt x="685068" y="2185431"/>
                    </a:cubicBezTo>
                    <a:cubicBezTo>
                      <a:pt x="735666" y="2236048"/>
                      <a:pt x="798169" y="2283688"/>
                      <a:pt x="863649" y="2325372"/>
                    </a:cubicBezTo>
                    <a:cubicBezTo>
                      <a:pt x="863649" y="2325372"/>
                      <a:pt x="863649" y="2325372"/>
                      <a:pt x="896388" y="2346215"/>
                    </a:cubicBezTo>
                    <a:cubicBezTo>
                      <a:pt x="896388" y="2346215"/>
                      <a:pt x="896388" y="2346215"/>
                      <a:pt x="896388" y="2611211"/>
                    </a:cubicBezTo>
                    <a:cubicBezTo>
                      <a:pt x="955915" y="2638008"/>
                      <a:pt x="1018418" y="2661828"/>
                      <a:pt x="1018418" y="2661828"/>
                    </a:cubicBezTo>
                    <a:cubicBezTo>
                      <a:pt x="1018418" y="2661828"/>
                      <a:pt x="1080921" y="2682671"/>
                      <a:pt x="1143424" y="2700536"/>
                    </a:cubicBezTo>
                    <a:cubicBezTo>
                      <a:pt x="1143424" y="2700536"/>
                      <a:pt x="1143424" y="2700536"/>
                      <a:pt x="1324981" y="2492112"/>
                    </a:cubicBezTo>
                    <a:cubicBezTo>
                      <a:pt x="1324981" y="2492112"/>
                      <a:pt x="1324981" y="2492112"/>
                      <a:pt x="1360697" y="2495089"/>
                    </a:cubicBezTo>
                    <a:cubicBezTo>
                      <a:pt x="1429152" y="2501044"/>
                      <a:pt x="1494632" y="2501044"/>
                      <a:pt x="1566064" y="2495089"/>
                    </a:cubicBezTo>
                    <a:cubicBezTo>
                      <a:pt x="1566064" y="2495089"/>
                      <a:pt x="1566064" y="2495089"/>
                      <a:pt x="1601780" y="2492112"/>
                    </a:cubicBezTo>
                    <a:cubicBezTo>
                      <a:pt x="1601780" y="2492112"/>
                      <a:pt x="1601780" y="2492112"/>
                      <a:pt x="1783336" y="2703513"/>
                    </a:cubicBezTo>
                    <a:cubicBezTo>
                      <a:pt x="1845839" y="2685648"/>
                      <a:pt x="1902390" y="2661828"/>
                      <a:pt x="1905366" y="2661828"/>
                    </a:cubicBezTo>
                    <a:cubicBezTo>
                      <a:pt x="1905366" y="2661828"/>
                      <a:pt x="1967869" y="2638008"/>
                      <a:pt x="2030372" y="2611211"/>
                    </a:cubicBezTo>
                    <a:cubicBezTo>
                      <a:pt x="2030372" y="2611211"/>
                      <a:pt x="2030372" y="2611211"/>
                      <a:pt x="2033348" y="2349192"/>
                    </a:cubicBezTo>
                    <a:cubicBezTo>
                      <a:pt x="2033348" y="2349192"/>
                      <a:pt x="2033348" y="2349192"/>
                      <a:pt x="2063112" y="2328350"/>
                    </a:cubicBezTo>
                    <a:cubicBezTo>
                      <a:pt x="2128591" y="2286665"/>
                      <a:pt x="2188118" y="2239025"/>
                      <a:pt x="2244668" y="2185431"/>
                    </a:cubicBezTo>
                    <a:cubicBezTo>
                      <a:pt x="2244668" y="2185431"/>
                      <a:pt x="2244668" y="2185431"/>
                      <a:pt x="2271455" y="2161611"/>
                    </a:cubicBezTo>
                    <a:cubicBezTo>
                      <a:pt x="2271455" y="2161611"/>
                      <a:pt x="2271455" y="2161611"/>
                      <a:pt x="2518491" y="2200318"/>
                    </a:cubicBezTo>
                    <a:cubicBezTo>
                      <a:pt x="2554207" y="2149701"/>
                      <a:pt x="2586947" y="2093129"/>
                      <a:pt x="2589923" y="2090151"/>
                    </a:cubicBezTo>
                    <a:cubicBezTo>
                      <a:pt x="2589923" y="2090151"/>
                      <a:pt x="2622663" y="2033579"/>
                      <a:pt x="2649450" y="1977007"/>
                    </a:cubicBezTo>
                    <a:cubicBezTo>
                      <a:pt x="2649450" y="1977007"/>
                      <a:pt x="2649450" y="1977007"/>
                      <a:pt x="2497657" y="1792402"/>
                    </a:cubicBezTo>
                    <a:cubicBezTo>
                      <a:pt x="2497657" y="1792402"/>
                      <a:pt x="2497657" y="1792402"/>
                      <a:pt x="2509562" y="1756673"/>
                    </a:cubicBezTo>
                    <a:cubicBezTo>
                      <a:pt x="2536349" y="1673303"/>
                      <a:pt x="2554207" y="1586956"/>
                      <a:pt x="2557183" y="1500609"/>
                    </a:cubicBezTo>
                    <a:cubicBezTo>
                      <a:pt x="2557183" y="1500609"/>
                      <a:pt x="2557183" y="1500609"/>
                      <a:pt x="2560160" y="1464879"/>
                    </a:cubicBezTo>
                    <a:cubicBezTo>
                      <a:pt x="2560160" y="1464879"/>
                      <a:pt x="2560160" y="1464879"/>
                      <a:pt x="2759574" y="1345779"/>
                    </a:cubicBezTo>
                    <a:cubicBezTo>
                      <a:pt x="2753621" y="1280275"/>
                      <a:pt x="2741716" y="1214771"/>
                      <a:pt x="2741716" y="1214771"/>
                    </a:cubicBezTo>
                    <a:cubicBezTo>
                      <a:pt x="2741716" y="1214771"/>
                      <a:pt x="2729811" y="1152243"/>
                      <a:pt x="2714929" y="1086738"/>
                    </a:cubicBezTo>
                    <a:cubicBezTo>
                      <a:pt x="2714929" y="1086738"/>
                      <a:pt x="2714929" y="1086738"/>
                      <a:pt x="2476822" y="1042076"/>
                    </a:cubicBezTo>
                    <a:cubicBezTo>
                      <a:pt x="2476822" y="1042076"/>
                      <a:pt x="2476822" y="1042076"/>
                      <a:pt x="2461941" y="1009324"/>
                    </a:cubicBezTo>
                    <a:cubicBezTo>
                      <a:pt x="2429201" y="940841"/>
                      <a:pt x="2384556" y="869382"/>
                      <a:pt x="2333958" y="806854"/>
                    </a:cubicBezTo>
                    <a:cubicBezTo>
                      <a:pt x="2333958" y="806854"/>
                      <a:pt x="2333958" y="806854"/>
                      <a:pt x="2310148" y="777080"/>
                    </a:cubicBezTo>
                    <a:cubicBezTo>
                      <a:pt x="2310148" y="777080"/>
                      <a:pt x="2310148" y="777080"/>
                      <a:pt x="2396461" y="532926"/>
                    </a:cubicBezTo>
                    <a:cubicBezTo>
                      <a:pt x="2348840" y="488263"/>
                      <a:pt x="2301218" y="446579"/>
                      <a:pt x="2298242" y="443601"/>
                    </a:cubicBezTo>
                    <a:cubicBezTo>
                      <a:pt x="2292289" y="440624"/>
                      <a:pt x="2247645" y="401916"/>
                      <a:pt x="2197047" y="363209"/>
                    </a:cubicBezTo>
                    <a:cubicBezTo>
                      <a:pt x="2197047" y="363209"/>
                      <a:pt x="2197047" y="363209"/>
                      <a:pt x="1950011" y="503152"/>
                    </a:cubicBezTo>
                    <a:cubicBezTo>
                      <a:pt x="1950011" y="503152"/>
                      <a:pt x="1950011" y="503152"/>
                      <a:pt x="1917271" y="488263"/>
                    </a:cubicBezTo>
                    <a:cubicBezTo>
                      <a:pt x="1860721" y="461466"/>
                      <a:pt x="1798218" y="440624"/>
                      <a:pt x="1732739" y="425736"/>
                    </a:cubicBezTo>
                    <a:cubicBezTo>
                      <a:pt x="1732739" y="425736"/>
                      <a:pt x="1732739" y="425736"/>
                      <a:pt x="1697023" y="416804"/>
                    </a:cubicBezTo>
                    <a:cubicBezTo>
                      <a:pt x="1697023" y="416804"/>
                      <a:pt x="1697023" y="416804"/>
                      <a:pt x="1595827" y="142875"/>
                    </a:cubicBezTo>
                    <a:cubicBezTo>
                      <a:pt x="1527371" y="142875"/>
                      <a:pt x="1464868" y="142875"/>
                      <a:pt x="1464868" y="142875"/>
                    </a:cubicBezTo>
                    <a:cubicBezTo>
                      <a:pt x="1464868" y="142875"/>
                      <a:pt x="1399389" y="142875"/>
                      <a:pt x="1333910" y="142875"/>
                    </a:cubicBezTo>
                    <a:close/>
                    <a:moveTo>
                      <a:pt x="1464868" y="0"/>
                    </a:moveTo>
                    <a:cubicBezTo>
                      <a:pt x="1470821" y="0"/>
                      <a:pt x="1569041" y="0"/>
                      <a:pt x="1655355" y="11906"/>
                    </a:cubicBezTo>
                    <a:cubicBezTo>
                      <a:pt x="1655355" y="11906"/>
                      <a:pt x="1655355" y="11906"/>
                      <a:pt x="1694048" y="17858"/>
                    </a:cubicBezTo>
                    <a:cubicBezTo>
                      <a:pt x="1694048" y="17858"/>
                      <a:pt x="1694048" y="17858"/>
                      <a:pt x="1801197" y="300612"/>
                    </a:cubicBezTo>
                    <a:cubicBezTo>
                      <a:pt x="1848819" y="315494"/>
                      <a:pt x="1896440" y="330376"/>
                      <a:pt x="1941086" y="348234"/>
                    </a:cubicBezTo>
                    <a:cubicBezTo>
                      <a:pt x="1941086" y="348234"/>
                      <a:pt x="1941086" y="348234"/>
                      <a:pt x="2203005" y="202392"/>
                    </a:cubicBezTo>
                    <a:cubicBezTo>
                      <a:pt x="2203005" y="202392"/>
                      <a:pt x="2203005" y="202392"/>
                      <a:pt x="2238721" y="226203"/>
                    </a:cubicBezTo>
                    <a:cubicBezTo>
                      <a:pt x="2310154" y="273825"/>
                      <a:pt x="2387539" y="339305"/>
                      <a:pt x="2387539" y="339305"/>
                    </a:cubicBezTo>
                    <a:cubicBezTo>
                      <a:pt x="2390516" y="342281"/>
                      <a:pt x="2467901" y="404784"/>
                      <a:pt x="2524452" y="467288"/>
                    </a:cubicBezTo>
                    <a:cubicBezTo>
                      <a:pt x="2524452" y="467288"/>
                      <a:pt x="2524452" y="467288"/>
                      <a:pt x="2554215" y="500028"/>
                    </a:cubicBezTo>
                    <a:cubicBezTo>
                      <a:pt x="2554215" y="500028"/>
                      <a:pt x="2554215" y="500028"/>
                      <a:pt x="2467901" y="753018"/>
                    </a:cubicBezTo>
                    <a:cubicBezTo>
                      <a:pt x="2503617" y="803616"/>
                      <a:pt x="2539333" y="860167"/>
                      <a:pt x="2572073" y="919694"/>
                    </a:cubicBezTo>
                    <a:cubicBezTo>
                      <a:pt x="2572073" y="919694"/>
                      <a:pt x="2572073" y="919694"/>
                      <a:pt x="2825064" y="964339"/>
                    </a:cubicBezTo>
                    <a:cubicBezTo>
                      <a:pt x="2825064" y="964339"/>
                      <a:pt x="2825064" y="964339"/>
                      <a:pt x="2836969" y="1006008"/>
                    </a:cubicBezTo>
                    <a:cubicBezTo>
                      <a:pt x="2863756" y="1089346"/>
                      <a:pt x="2878638" y="1187566"/>
                      <a:pt x="2878638" y="1190543"/>
                    </a:cubicBezTo>
                    <a:cubicBezTo>
                      <a:pt x="2878638" y="1190543"/>
                      <a:pt x="2896496" y="1291738"/>
                      <a:pt x="2899473" y="1378053"/>
                    </a:cubicBezTo>
                    <a:cubicBezTo>
                      <a:pt x="2899473" y="1378053"/>
                      <a:pt x="2899473" y="1378053"/>
                      <a:pt x="2902449" y="1419722"/>
                    </a:cubicBezTo>
                    <a:cubicBezTo>
                      <a:pt x="2902449" y="1419722"/>
                      <a:pt x="2902449" y="1419722"/>
                      <a:pt x="2691128" y="1547705"/>
                    </a:cubicBezTo>
                    <a:cubicBezTo>
                      <a:pt x="2685175" y="1619138"/>
                      <a:pt x="2676246" y="1690570"/>
                      <a:pt x="2655411" y="1762003"/>
                    </a:cubicBezTo>
                    <a:cubicBezTo>
                      <a:pt x="2655411" y="1762003"/>
                      <a:pt x="2655411" y="1762003"/>
                      <a:pt x="2810182" y="1952489"/>
                    </a:cubicBezTo>
                    <a:cubicBezTo>
                      <a:pt x="2810182" y="1952489"/>
                      <a:pt x="2810182" y="1952489"/>
                      <a:pt x="2792324" y="1988206"/>
                    </a:cubicBezTo>
                    <a:cubicBezTo>
                      <a:pt x="2759584" y="2071544"/>
                      <a:pt x="2708986" y="2160834"/>
                      <a:pt x="2706010" y="2160834"/>
                    </a:cubicBezTo>
                    <a:cubicBezTo>
                      <a:pt x="2703033" y="2169763"/>
                      <a:pt x="2655411" y="2250125"/>
                      <a:pt x="2604813" y="2318581"/>
                    </a:cubicBezTo>
                    <a:cubicBezTo>
                      <a:pt x="2604813" y="2318581"/>
                      <a:pt x="2604813" y="2318581"/>
                      <a:pt x="2581002" y="2351321"/>
                    </a:cubicBezTo>
                    <a:cubicBezTo>
                      <a:pt x="2581002" y="2351321"/>
                      <a:pt x="2581002" y="2351321"/>
                      <a:pt x="2313130" y="2309652"/>
                    </a:cubicBezTo>
                    <a:cubicBezTo>
                      <a:pt x="2271461" y="2351321"/>
                      <a:pt x="2220863" y="2390014"/>
                      <a:pt x="2170265" y="2422754"/>
                    </a:cubicBezTo>
                    <a:cubicBezTo>
                      <a:pt x="2170265" y="2422754"/>
                      <a:pt x="2170265" y="2422754"/>
                      <a:pt x="2164312" y="2699555"/>
                    </a:cubicBezTo>
                    <a:cubicBezTo>
                      <a:pt x="2164312" y="2699555"/>
                      <a:pt x="2164312" y="2699555"/>
                      <a:pt x="2128596" y="2717413"/>
                    </a:cubicBezTo>
                    <a:cubicBezTo>
                      <a:pt x="2054187" y="2756105"/>
                      <a:pt x="1958944" y="2791822"/>
                      <a:pt x="1952991" y="2791822"/>
                    </a:cubicBezTo>
                    <a:cubicBezTo>
                      <a:pt x="1950015" y="2794798"/>
                      <a:pt x="1857748" y="2824562"/>
                      <a:pt x="1774410" y="2845396"/>
                    </a:cubicBezTo>
                    <a:cubicBezTo>
                      <a:pt x="1774410" y="2845396"/>
                      <a:pt x="1774410" y="2845396"/>
                      <a:pt x="1732741" y="2854325"/>
                    </a:cubicBezTo>
                    <a:cubicBezTo>
                      <a:pt x="1732741" y="2854325"/>
                      <a:pt x="1732741" y="2854325"/>
                      <a:pt x="1542254" y="2634075"/>
                    </a:cubicBezTo>
                    <a:cubicBezTo>
                      <a:pt x="1488679" y="2637051"/>
                      <a:pt x="1438081" y="2637051"/>
                      <a:pt x="1384507" y="2634075"/>
                    </a:cubicBezTo>
                    <a:cubicBezTo>
                      <a:pt x="1384507" y="2634075"/>
                      <a:pt x="1384507" y="2634075"/>
                      <a:pt x="1194020" y="2854325"/>
                    </a:cubicBezTo>
                    <a:cubicBezTo>
                      <a:pt x="1194020" y="2854325"/>
                      <a:pt x="1194020" y="2854325"/>
                      <a:pt x="1152351" y="2845396"/>
                    </a:cubicBezTo>
                    <a:cubicBezTo>
                      <a:pt x="1069013" y="2824562"/>
                      <a:pt x="973769" y="2794798"/>
                      <a:pt x="970793" y="2791822"/>
                    </a:cubicBezTo>
                    <a:cubicBezTo>
                      <a:pt x="967817" y="2791822"/>
                      <a:pt x="875550" y="2756105"/>
                      <a:pt x="798164" y="2717413"/>
                    </a:cubicBezTo>
                    <a:cubicBezTo>
                      <a:pt x="798164" y="2717413"/>
                      <a:pt x="798164" y="2717413"/>
                      <a:pt x="759472" y="2696578"/>
                    </a:cubicBezTo>
                    <a:cubicBezTo>
                      <a:pt x="759472" y="2696578"/>
                      <a:pt x="759472" y="2696578"/>
                      <a:pt x="756495" y="2419777"/>
                    </a:cubicBezTo>
                    <a:cubicBezTo>
                      <a:pt x="705897" y="2387037"/>
                      <a:pt x="658275" y="2348345"/>
                      <a:pt x="613630" y="2306676"/>
                    </a:cubicBezTo>
                    <a:cubicBezTo>
                      <a:pt x="613630" y="2306676"/>
                      <a:pt x="613630" y="2306676"/>
                      <a:pt x="345758" y="2351321"/>
                    </a:cubicBezTo>
                    <a:cubicBezTo>
                      <a:pt x="345758" y="2351321"/>
                      <a:pt x="345758" y="2351321"/>
                      <a:pt x="321947" y="2315605"/>
                    </a:cubicBezTo>
                    <a:cubicBezTo>
                      <a:pt x="271349" y="2250125"/>
                      <a:pt x="223727" y="2169763"/>
                      <a:pt x="217774" y="2160834"/>
                    </a:cubicBezTo>
                    <a:cubicBezTo>
                      <a:pt x="217774" y="2154882"/>
                      <a:pt x="167176" y="2068567"/>
                      <a:pt x="131460" y="1988206"/>
                    </a:cubicBezTo>
                    <a:cubicBezTo>
                      <a:pt x="131460" y="1988206"/>
                      <a:pt x="131460" y="1988206"/>
                      <a:pt x="116578" y="1952489"/>
                    </a:cubicBezTo>
                    <a:cubicBezTo>
                      <a:pt x="116578" y="1952489"/>
                      <a:pt x="116578" y="1952489"/>
                      <a:pt x="274325" y="1759026"/>
                    </a:cubicBezTo>
                    <a:cubicBezTo>
                      <a:pt x="253491" y="1690570"/>
                      <a:pt x="241585" y="1616161"/>
                      <a:pt x="235633" y="1544729"/>
                    </a:cubicBezTo>
                    <a:cubicBezTo>
                      <a:pt x="235633" y="1544729"/>
                      <a:pt x="235633" y="1544729"/>
                      <a:pt x="24311" y="1419722"/>
                    </a:cubicBezTo>
                    <a:cubicBezTo>
                      <a:pt x="24311" y="1419722"/>
                      <a:pt x="24311" y="1419722"/>
                      <a:pt x="27287" y="1375077"/>
                    </a:cubicBezTo>
                    <a:cubicBezTo>
                      <a:pt x="30264" y="1288763"/>
                      <a:pt x="48122" y="1190543"/>
                      <a:pt x="48122" y="1187566"/>
                    </a:cubicBezTo>
                    <a:cubicBezTo>
                      <a:pt x="48122" y="1187566"/>
                      <a:pt x="65980" y="1089346"/>
                      <a:pt x="92767" y="1006008"/>
                    </a:cubicBezTo>
                    <a:cubicBezTo>
                      <a:pt x="92767" y="1006008"/>
                      <a:pt x="92767" y="1006008"/>
                      <a:pt x="104673" y="964339"/>
                    </a:cubicBezTo>
                    <a:cubicBezTo>
                      <a:pt x="104673" y="964339"/>
                      <a:pt x="104673" y="964339"/>
                      <a:pt x="357663" y="916718"/>
                    </a:cubicBezTo>
                    <a:cubicBezTo>
                      <a:pt x="387427" y="860167"/>
                      <a:pt x="423143" y="803616"/>
                      <a:pt x="464812" y="753018"/>
                    </a:cubicBezTo>
                    <a:cubicBezTo>
                      <a:pt x="464812" y="753018"/>
                      <a:pt x="464812" y="753018"/>
                      <a:pt x="372545" y="497051"/>
                    </a:cubicBezTo>
                    <a:cubicBezTo>
                      <a:pt x="372545" y="497051"/>
                      <a:pt x="372545" y="497051"/>
                      <a:pt x="402309" y="467288"/>
                    </a:cubicBezTo>
                    <a:cubicBezTo>
                      <a:pt x="461836" y="404784"/>
                      <a:pt x="536245" y="342281"/>
                      <a:pt x="539221" y="339305"/>
                    </a:cubicBezTo>
                    <a:cubicBezTo>
                      <a:pt x="542197" y="336328"/>
                      <a:pt x="619583" y="270848"/>
                      <a:pt x="693992" y="223227"/>
                    </a:cubicBezTo>
                    <a:cubicBezTo>
                      <a:pt x="693992" y="223227"/>
                      <a:pt x="693992" y="223227"/>
                      <a:pt x="726732" y="199416"/>
                    </a:cubicBezTo>
                    <a:cubicBezTo>
                      <a:pt x="726732" y="199416"/>
                      <a:pt x="726732" y="199416"/>
                      <a:pt x="985675" y="345257"/>
                    </a:cubicBezTo>
                    <a:cubicBezTo>
                      <a:pt x="1033297" y="330376"/>
                      <a:pt x="1080918" y="315494"/>
                      <a:pt x="1125564" y="300612"/>
                    </a:cubicBezTo>
                    <a:cubicBezTo>
                      <a:pt x="1125564" y="300612"/>
                      <a:pt x="1125564" y="300612"/>
                      <a:pt x="1235689" y="17858"/>
                    </a:cubicBezTo>
                    <a:cubicBezTo>
                      <a:pt x="1235689" y="17858"/>
                      <a:pt x="1235689" y="17858"/>
                      <a:pt x="1277358" y="11906"/>
                    </a:cubicBezTo>
                    <a:cubicBezTo>
                      <a:pt x="1360696" y="0"/>
                      <a:pt x="1461892" y="0"/>
                      <a:pt x="1464868"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24">
                <a:extLst>
                  <a:ext uri="{FF2B5EF4-FFF2-40B4-BE49-F238E27FC236}">
                    <a16:creationId xmlns:a16="http://schemas.microsoft.com/office/drawing/2014/main" id="{37F9FBF2-3326-E843-8131-84E0BCB44ACA}"/>
                  </a:ext>
                </a:extLst>
              </p:cNvPr>
              <p:cNvSpPr>
                <a:spLocks/>
              </p:cNvSpPr>
              <p:nvPr/>
            </p:nvSpPr>
            <p:spPr bwMode="auto">
              <a:xfrm>
                <a:off x="4449764" y="1741488"/>
                <a:ext cx="4068761" cy="4125913"/>
              </a:xfrm>
              <a:custGeom>
                <a:avLst/>
                <a:gdLst>
                  <a:gd name="connsiteX0" fmla="*/ 2733075 w 4068763"/>
                  <a:gd name="connsiteY0" fmla="*/ 2836862 h 4125912"/>
                  <a:gd name="connsiteX1" fmla="*/ 3851602 w 4068763"/>
                  <a:gd name="connsiteY1" fmla="*/ 2836862 h 4125912"/>
                  <a:gd name="connsiteX2" fmla="*/ 3860527 w 4068763"/>
                  <a:gd name="connsiteY2" fmla="*/ 2842816 h 4125912"/>
                  <a:gd name="connsiteX3" fmla="*/ 3851602 w 4068763"/>
                  <a:gd name="connsiteY3" fmla="*/ 2890449 h 4125912"/>
                  <a:gd name="connsiteX4" fmla="*/ 4006292 w 4068763"/>
                  <a:gd name="connsiteY4" fmla="*/ 3042277 h 4125912"/>
                  <a:gd name="connsiteX5" fmla="*/ 4059839 w 4068763"/>
                  <a:gd name="connsiteY5" fmla="*/ 3030369 h 4125912"/>
                  <a:gd name="connsiteX6" fmla="*/ 4068763 w 4068763"/>
                  <a:gd name="connsiteY6" fmla="*/ 3039300 h 4125912"/>
                  <a:gd name="connsiteX7" fmla="*/ 4068763 w 4068763"/>
                  <a:gd name="connsiteY7" fmla="*/ 3926452 h 4125912"/>
                  <a:gd name="connsiteX8" fmla="*/ 4059839 w 4068763"/>
                  <a:gd name="connsiteY8" fmla="*/ 3932406 h 4125912"/>
                  <a:gd name="connsiteX9" fmla="*/ 4006292 w 4068763"/>
                  <a:gd name="connsiteY9" fmla="*/ 3923475 h 4125912"/>
                  <a:gd name="connsiteX10" fmla="*/ 3851602 w 4068763"/>
                  <a:gd name="connsiteY10" fmla="*/ 4072326 h 4125912"/>
                  <a:gd name="connsiteX11" fmla="*/ 3857552 w 4068763"/>
                  <a:gd name="connsiteY11" fmla="*/ 4116981 h 4125912"/>
                  <a:gd name="connsiteX12" fmla="*/ 3851602 w 4068763"/>
                  <a:gd name="connsiteY12" fmla="*/ 4125912 h 4125912"/>
                  <a:gd name="connsiteX13" fmla="*/ 2733075 w 4068763"/>
                  <a:gd name="connsiteY13" fmla="*/ 4125912 h 4125912"/>
                  <a:gd name="connsiteX14" fmla="*/ 2730100 w 4068763"/>
                  <a:gd name="connsiteY14" fmla="*/ 4114004 h 4125912"/>
                  <a:gd name="connsiteX15" fmla="*/ 3042455 w 4068763"/>
                  <a:gd name="connsiteY15" fmla="*/ 3482876 h 4125912"/>
                  <a:gd name="connsiteX16" fmla="*/ 2730100 w 4068763"/>
                  <a:gd name="connsiteY16" fmla="*/ 2845793 h 4125912"/>
                  <a:gd name="connsiteX17" fmla="*/ 2733075 w 4068763"/>
                  <a:gd name="connsiteY17" fmla="*/ 2836862 h 4125912"/>
                  <a:gd name="connsiteX18" fmla="*/ 1232160 w 4068763"/>
                  <a:gd name="connsiteY18" fmla="*/ 2836862 h 4125912"/>
                  <a:gd name="connsiteX19" fmla="*/ 2348702 w 4068763"/>
                  <a:gd name="connsiteY19" fmla="*/ 2836862 h 4125912"/>
                  <a:gd name="connsiteX20" fmla="*/ 2354657 w 4068763"/>
                  <a:gd name="connsiteY20" fmla="*/ 2845793 h 4125912"/>
                  <a:gd name="connsiteX21" fmla="*/ 2045003 w 4068763"/>
                  <a:gd name="connsiteY21" fmla="*/ 3482876 h 4125912"/>
                  <a:gd name="connsiteX22" fmla="*/ 2354657 w 4068763"/>
                  <a:gd name="connsiteY22" fmla="*/ 4114004 h 4125912"/>
                  <a:gd name="connsiteX23" fmla="*/ 2348702 w 4068763"/>
                  <a:gd name="connsiteY23" fmla="*/ 4125912 h 4125912"/>
                  <a:gd name="connsiteX24" fmla="*/ 1235138 w 4068763"/>
                  <a:gd name="connsiteY24" fmla="*/ 4125912 h 4125912"/>
                  <a:gd name="connsiteX25" fmla="*/ 1229183 w 4068763"/>
                  <a:gd name="connsiteY25" fmla="*/ 4116981 h 4125912"/>
                  <a:gd name="connsiteX26" fmla="*/ 1235138 w 4068763"/>
                  <a:gd name="connsiteY26" fmla="*/ 4072326 h 4125912"/>
                  <a:gd name="connsiteX27" fmla="*/ 1080311 w 4068763"/>
                  <a:gd name="connsiteY27" fmla="*/ 3923475 h 4125912"/>
                  <a:gd name="connsiteX28" fmla="*/ 1029694 w 4068763"/>
                  <a:gd name="connsiteY28" fmla="*/ 3929429 h 4125912"/>
                  <a:gd name="connsiteX29" fmla="*/ 1020762 w 4068763"/>
                  <a:gd name="connsiteY29" fmla="*/ 3923475 h 4125912"/>
                  <a:gd name="connsiteX30" fmla="*/ 1020762 w 4068763"/>
                  <a:gd name="connsiteY30" fmla="*/ 3039300 h 4125912"/>
                  <a:gd name="connsiteX31" fmla="*/ 1029694 w 4068763"/>
                  <a:gd name="connsiteY31" fmla="*/ 3033346 h 4125912"/>
                  <a:gd name="connsiteX32" fmla="*/ 1080311 w 4068763"/>
                  <a:gd name="connsiteY32" fmla="*/ 3042277 h 4125912"/>
                  <a:gd name="connsiteX33" fmla="*/ 1235138 w 4068763"/>
                  <a:gd name="connsiteY33" fmla="*/ 2890449 h 4125912"/>
                  <a:gd name="connsiteX34" fmla="*/ 1229183 w 4068763"/>
                  <a:gd name="connsiteY34" fmla="*/ 2842816 h 4125912"/>
                  <a:gd name="connsiteX35" fmla="*/ 1232160 w 4068763"/>
                  <a:gd name="connsiteY35" fmla="*/ 2836862 h 4125912"/>
                  <a:gd name="connsiteX36" fmla="*/ 415132 w 4068763"/>
                  <a:gd name="connsiteY36" fmla="*/ 0 h 4125912"/>
                  <a:gd name="connsiteX37" fmla="*/ 830264 w 4068763"/>
                  <a:gd name="connsiteY37" fmla="*/ 411957 h 4125912"/>
                  <a:gd name="connsiteX38" fmla="*/ 415132 w 4068763"/>
                  <a:gd name="connsiteY38" fmla="*/ 823914 h 4125912"/>
                  <a:gd name="connsiteX39" fmla="*/ 0 w 4068763"/>
                  <a:gd name="connsiteY39" fmla="*/ 411957 h 4125912"/>
                  <a:gd name="connsiteX40" fmla="*/ 415132 w 4068763"/>
                  <a:gd name="connsiteY40" fmla="*/ 0 h 412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68763" h="4125912">
                    <a:moveTo>
                      <a:pt x="2733075" y="2836862"/>
                    </a:moveTo>
                    <a:cubicBezTo>
                      <a:pt x="2733075" y="2836862"/>
                      <a:pt x="2733075" y="2836862"/>
                      <a:pt x="3851602" y="2836862"/>
                    </a:cubicBezTo>
                    <a:cubicBezTo>
                      <a:pt x="3857552" y="2836862"/>
                      <a:pt x="3860527" y="2839839"/>
                      <a:pt x="3860527" y="2842816"/>
                    </a:cubicBezTo>
                    <a:cubicBezTo>
                      <a:pt x="3854577" y="2857701"/>
                      <a:pt x="3851602" y="2875564"/>
                      <a:pt x="3851602" y="2890449"/>
                    </a:cubicBezTo>
                    <a:cubicBezTo>
                      <a:pt x="3851602" y="2973805"/>
                      <a:pt x="3920023" y="3042277"/>
                      <a:pt x="4006292" y="3042277"/>
                    </a:cubicBezTo>
                    <a:cubicBezTo>
                      <a:pt x="4024141" y="3042277"/>
                      <a:pt x="4044965" y="3039300"/>
                      <a:pt x="4059839" y="3030369"/>
                    </a:cubicBezTo>
                    <a:cubicBezTo>
                      <a:pt x="4065788" y="3030369"/>
                      <a:pt x="4068763" y="3033346"/>
                      <a:pt x="4068763" y="3039300"/>
                    </a:cubicBezTo>
                    <a:cubicBezTo>
                      <a:pt x="4068763" y="3039300"/>
                      <a:pt x="4068763" y="3039300"/>
                      <a:pt x="4068763" y="3926452"/>
                    </a:cubicBezTo>
                    <a:cubicBezTo>
                      <a:pt x="4068763" y="3929429"/>
                      <a:pt x="4065788" y="3932406"/>
                      <a:pt x="4059839" y="3932406"/>
                    </a:cubicBezTo>
                    <a:cubicBezTo>
                      <a:pt x="4044965" y="3926452"/>
                      <a:pt x="4024141" y="3923475"/>
                      <a:pt x="4006292" y="3923475"/>
                    </a:cubicBezTo>
                    <a:cubicBezTo>
                      <a:pt x="3920023" y="3923475"/>
                      <a:pt x="3851602" y="3991946"/>
                      <a:pt x="3851602" y="4072326"/>
                    </a:cubicBezTo>
                    <a:cubicBezTo>
                      <a:pt x="3851602" y="4087211"/>
                      <a:pt x="3851602" y="4102096"/>
                      <a:pt x="3857552" y="4116981"/>
                    </a:cubicBezTo>
                    <a:cubicBezTo>
                      <a:pt x="3860527" y="4119958"/>
                      <a:pt x="3857552" y="4125912"/>
                      <a:pt x="3851602" y="4125912"/>
                    </a:cubicBezTo>
                    <a:cubicBezTo>
                      <a:pt x="3851602" y="4125912"/>
                      <a:pt x="3851602" y="4125912"/>
                      <a:pt x="2733075" y="4125912"/>
                    </a:cubicBezTo>
                    <a:cubicBezTo>
                      <a:pt x="2727125" y="4125912"/>
                      <a:pt x="2724150" y="4116981"/>
                      <a:pt x="2730100" y="4114004"/>
                    </a:cubicBezTo>
                    <a:cubicBezTo>
                      <a:pt x="2890739" y="4003854"/>
                      <a:pt x="3042455" y="3759739"/>
                      <a:pt x="3042455" y="3482876"/>
                    </a:cubicBezTo>
                    <a:cubicBezTo>
                      <a:pt x="3042455" y="3200059"/>
                      <a:pt x="2890739" y="2955943"/>
                      <a:pt x="2730100" y="2845793"/>
                    </a:cubicBezTo>
                    <a:cubicBezTo>
                      <a:pt x="2724150" y="2842816"/>
                      <a:pt x="2727125" y="2836862"/>
                      <a:pt x="2733075" y="2836862"/>
                    </a:cubicBezTo>
                    <a:close/>
                    <a:moveTo>
                      <a:pt x="1232160" y="2836862"/>
                    </a:moveTo>
                    <a:cubicBezTo>
                      <a:pt x="1232160" y="2836862"/>
                      <a:pt x="1232160" y="2836862"/>
                      <a:pt x="2348702" y="2836862"/>
                    </a:cubicBezTo>
                    <a:cubicBezTo>
                      <a:pt x="2357634" y="2836862"/>
                      <a:pt x="2360612" y="2842816"/>
                      <a:pt x="2354657" y="2845793"/>
                    </a:cubicBezTo>
                    <a:cubicBezTo>
                      <a:pt x="2196852" y="2955943"/>
                      <a:pt x="2045003" y="3200059"/>
                      <a:pt x="2045003" y="3482876"/>
                    </a:cubicBezTo>
                    <a:cubicBezTo>
                      <a:pt x="2045003" y="3759739"/>
                      <a:pt x="2196852" y="4003854"/>
                      <a:pt x="2354657" y="4114004"/>
                    </a:cubicBezTo>
                    <a:cubicBezTo>
                      <a:pt x="2360612" y="4116981"/>
                      <a:pt x="2357634" y="4125912"/>
                      <a:pt x="2348702" y="4125912"/>
                    </a:cubicBezTo>
                    <a:cubicBezTo>
                      <a:pt x="2348702" y="4125912"/>
                      <a:pt x="2348702" y="4125912"/>
                      <a:pt x="1235138" y="4125912"/>
                    </a:cubicBezTo>
                    <a:cubicBezTo>
                      <a:pt x="1232160" y="4125912"/>
                      <a:pt x="1229183" y="4119958"/>
                      <a:pt x="1229183" y="4116981"/>
                    </a:cubicBezTo>
                    <a:cubicBezTo>
                      <a:pt x="1232160" y="4102096"/>
                      <a:pt x="1235138" y="4087211"/>
                      <a:pt x="1235138" y="4072326"/>
                    </a:cubicBezTo>
                    <a:cubicBezTo>
                      <a:pt x="1235138" y="3991946"/>
                      <a:pt x="1166657" y="3923475"/>
                      <a:pt x="1080311" y="3923475"/>
                    </a:cubicBezTo>
                    <a:cubicBezTo>
                      <a:pt x="1062446" y="3923475"/>
                      <a:pt x="1044581" y="3926452"/>
                      <a:pt x="1029694" y="3929429"/>
                    </a:cubicBezTo>
                    <a:cubicBezTo>
                      <a:pt x="1026717" y="3932406"/>
                      <a:pt x="1020762" y="3929429"/>
                      <a:pt x="1020762" y="3923475"/>
                    </a:cubicBezTo>
                    <a:cubicBezTo>
                      <a:pt x="1020762" y="3923475"/>
                      <a:pt x="1020762" y="3923475"/>
                      <a:pt x="1020762" y="3039300"/>
                    </a:cubicBezTo>
                    <a:cubicBezTo>
                      <a:pt x="1020762" y="3033346"/>
                      <a:pt x="1026717" y="3030369"/>
                      <a:pt x="1029694" y="3033346"/>
                    </a:cubicBezTo>
                    <a:cubicBezTo>
                      <a:pt x="1044581" y="3039300"/>
                      <a:pt x="1062446" y="3042277"/>
                      <a:pt x="1080311" y="3042277"/>
                    </a:cubicBezTo>
                    <a:cubicBezTo>
                      <a:pt x="1166657" y="3042277"/>
                      <a:pt x="1235138" y="2973805"/>
                      <a:pt x="1235138" y="2890449"/>
                    </a:cubicBezTo>
                    <a:cubicBezTo>
                      <a:pt x="1235138" y="2875564"/>
                      <a:pt x="1232160" y="2857701"/>
                      <a:pt x="1229183" y="2842816"/>
                    </a:cubicBezTo>
                    <a:cubicBezTo>
                      <a:pt x="1226205" y="2839839"/>
                      <a:pt x="1229183" y="2836862"/>
                      <a:pt x="1232160" y="2836862"/>
                    </a:cubicBezTo>
                    <a:close/>
                    <a:moveTo>
                      <a:pt x="415132" y="0"/>
                    </a:moveTo>
                    <a:cubicBezTo>
                      <a:pt x="644403" y="0"/>
                      <a:pt x="830264" y="184439"/>
                      <a:pt x="830264" y="411957"/>
                    </a:cubicBezTo>
                    <a:cubicBezTo>
                      <a:pt x="830264" y="639475"/>
                      <a:pt x="644403" y="823914"/>
                      <a:pt x="415132" y="823914"/>
                    </a:cubicBezTo>
                    <a:cubicBezTo>
                      <a:pt x="185861" y="823914"/>
                      <a:pt x="0" y="639475"/>
                      <a:pt x="0" y="411957"/>
                    </a:cubicBezTo>
                    <a:cubicBezTo>
                      <a:pt x="0" y="184439"/>
                      <a:pt x="185861" y="0"/>
                      <a:pt x="415132"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936945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7" name="think-cell Slide" r:id="rId6" imgW="473" imgH="476" progId="TCLayout.ActiveDocument.1">
                  <p:embed/>
                </p:oleObj>
              </mc:Choice>
              <mc:Fallback>
                <p:oleObj name="think-cell Slide" r:id="rId6" imgW="473" imgH="47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2"/>
          <p:cNvSpPr>
            <a:spLocks noGrp="1"/>
          </p:cNvSpPr>
          <p:nvPr>
            <p:ph type="title"/>
          </p:nvPr>
        </p:nvSpPr>
        <p:spPr>
          <a:xfrm>
            <a:off x="630000" y="622800"/>
            <a:ext cx="10933350" cy="332399"/>
          </a:xfrm>
        </p:spPr>
        <p:txBody>
          <a:bodyPr/>
          <a:lstStyle/>
          <a:p>
            <a:r>
              <a:rPr lang="en-US" dirty="0">
                <a:solidFill>
                  <a:schemeClr val="accent6">
                    <a:lumMod val="75000"/>
                  </a:schemeClr>
                </a:solidFill>
              </a:rPr>
              <a:t>Revenue charts</a:t>
            </a:r>
          </a:p>
        </p:txBody>
      </p:sp>
      <p:sp>
        <p:nvSpPr>
          <p:cNvPr id="17" name="TextBox 16"/>
          <p:cNvSpPr txBox="1"/>
          <p:nvPr/>
        </p:nvSpPr>
        <p:spPr>
          <a:xfrm>
            <a:off x="630000" y="1706880"/>
            <a:ext cx="3992880" cy="17373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sert talking points </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and code sample</a:t>
            </a:r>
          </a:p>
        </p:txBody>
      </p:sp>
      <p:grpSp>
        <p:nvGrpSpPr>
          <p:cNvPr id="18" name="Group 17"/>
          <p:cNvGrpSpPr>
            <a:grpSpLocks noChangeAspect="1"/>
          </p:cNvGrpSpPr>
          <p:nvPr/>
        </p:nvGrpSpPr>
        <p:grpSpPr>
          <a:xfrm>
            <a:off x="10128687" y="5349239"/>
            <a:ext cx="1340069" cy="1340069"/>
            <a:chOff x="2670720" y="1"/>
            <a:chExt cx="6858001" cy="6858000"/>
          </a:xfrm>
        </p:grpSpPr>
        <p:sp>
          <p:nvSpPr>
            <p:cNvPr id="19" name="AutoShape 17"/>
            <p:cNvSpPr>
              <a:spLocks noChangeAspect="1" noChangeArrowheads="1" noTextEdit="1"/>
            </p:cNvSpPr>
            <p:nvPr/>
          </p:nvSpPr>
          <p:spPr bwMode="auto">
            <a:xfrm>
              <a:off x="2670720" y="1"/>
              <a:ext cx="6858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p:cNvGrpSpPr/>
            <p:nvPr/>
          </p:nvGrpSpPr>
          <p:grpSpPr>
            <a:xfrm>
              <a:off x="3398341" y="708026"/>
              <a:ext cx="5402763" cy="5441950"/>
              <a:chOff x="3398339" y="708025"/>
              <a:chExt cx="5402761" cy="5441951"/>
            </a:xfrm>
          </p:grpSpPr>
          <p:sp>
            <p:nvSpPr>
              <p:cNvPr id="21" name="Freeform 20"/>
              <p:cNvSpPr>
                <a:spLocks/>
              </p:cNvSpPr>
              <p:nvPr/>
            </p:nvSpPr>
            <p:spPr bwMode="auto">
              <a:xfrm>
                <a:off x="3398339" y="708025"/>
                <a:ext cx="5402761" cy="5441951"/>
              </a:xfrm>
              <a:custGeom>
                <a:avLst/>
                <a:gdLst>
                  <a:gd name="connsiteX0" fmla="*/ 3533552 w 5402761"/>
                  <a:gd name="connsiteY0" fmla="*/ 4075113 h 5441951"/>
                  <a:gd name="connsiteX1" fmla="*/ 3643735 w 5402761"/>
                  <a:gd name="connsiteY1" fmla="*/ 4075113 h 5441951"/>
                  <a:gd name="connsiteX2" fmla="*/ 3643735 w 5402761"/>
                  <a:gd name="connsiteY2" fmla="*/ 4155462 h 5441951"/>
                  <a:gd name="connsiteX3" fmla="*/ 3780720 w 5402761"/>
                  <a:gd name="connsiteY3" fmla="*/ 4197125 h 5441951"/>
                  <a:gd name="connsiteX4" fmla="*/ 3742007 w 5402761"/>
                  <a:gd name="connsiteY4" fmla="*/ 4301281 h 5441951"/>
                  <a:gd name="connsiteX5" fmla="*/ 3599066 w 5402761"/>
                  <a:gd name="connsiteY5" fmla="*/ 4253667 h 5441951"/>
                  <a:gd name="connsiteX6" fmla="*/ 3530574 w 5402761"/>
                  <a:gd name="connsiteY6" fmla="*/ 4277474 h 5441951"/>
                  <a:gd name="connsiteX7" fmla="*/ 3506750 w 5402761"/>
                  <a:gd name="connsiteY7" fmla="*/ 4334016 h 5441951"/>
                  <a:gd name="connsiteX8" fmla="*/ 3640757 w 5402761"/>
                  <a:gd name="connsiteY8" fmla="*/ 4456027 h 5441951"/>
                  <a:gd name="connsiteX9" fmla="*/ 3747963 w 5402761"/>
                  <a:gd name="connsiteY9" fmla="*/ 4518521 h 5441951"/>
                  <a:gd name="connsiteX10" fmla="*/ 3792632 w 5402761"/>
                  <a:gd name="connsiteY10" fmla="*/ 4583991 h 5441951"/>
                  <a:gd name="connsiteX11" fmla="*/ 3810499 w 5402761"/>
                  <a:gd name="connsiteY11" fmla="*/ 4664340 h 5441951"/>
                  <a:gd name="connsiteX12" fmla="*/ 3768808 w 5402761"/>
                  <a:gd name="connsiteY12" fmla="*/ 4780400 h 5441951"/>
                  <a:gd name="connsiteX13" fmla="*/ 3643735 w 5402761"/>
                  <a:gd name="connsiteY13" fmla="*/ 4845869 h 5441951"/>
                  <a:gd name="connsiteX14" fmla="*/ 3643735 w 5402761"/>
                  <a:gd name="connsiteY14" fmla="*/ 4953001 h 5441951"/>
                  <a:gd name="connsiteX15" fmla="*/ 3533552 w 5402761"/>
                  <a:gd name="connsiteY15" fmla="*/ 4953001 h 5441951"/>
                  <a:gd name="connsiteX16" fmla="*/ 3533552 w 5402761"/>
                  <a:gd name="connsiteY16" fmla="*/ 4854797 h 5441951"/>
                  <a:gd name="connsiteX17" fmla="*/ 3378699 w 5402761"/>
                  <a:gd name="connsiteY17" fmla="*/ 4807183 h 5441951"/>
                  <a:gd name="connsiteX18" fmla="*/ 3426346 w 5402761"/>
                  <a:gd name="connsiteY18" fmla="*/ 4697075 h 5441951"/>
                  <a:gd name="connsiteX19" fmla="*/ 3575243 w 5402761"/>
                  <a:gd name="connsiteY19" fmla="*/ 4747665 h 5441951"/>
                  <a:gd name="connsiteX20" fmla="*/ 3685426 w 5402761"/>
                  <a:gd name="connsiteY20" fmla="*/ 4673267 h 5441951"/>
                  <a:gd name="connsiteX21" fmla="*/ 3655647 w 5402761"/>
                  <a:gd name="connsiteY21" fmla="*/ 4607798 h 5441951"/>
                  <a:gd name="connsiteX22" fmla="*/ 3548441 w 5402761"/>
                  <a:gd name="connsiteY22" fmla="*/ 4536376 h 5441951"/>
                  <a:gd name="connsiteX23" fmla="*/ 3441236 w 5402761"/>
                  <a:gd name="connsiteY23" fmla="*/ 4473883 h 5441951"/>
                  <a:gd name="connsiteX24" fmla="*/ 3396567 w 5402761"/>
                  <a:gd name="connsiteY24" fmla="*/ 4414365 h 5441951"/>
                  <a:gd name="connsiteX25" fmla="*/ 3381677 w 5402761"/>
                  <a:gd name="connsiteY25" fmla="*/ 4336992 h 5441951"/>
                  <a:gd name="connsiteX26" fmla="*/ 3423368 w 5402761"/>
                  <a:gd name="connsiteY26" fmla="*/ 4226884 h 5441951"/>
                  <a:gd name="connsiteX27" fmla="*/ 3533552 w 5402761"/>
                  <a:gd name="connsiteY27" fmla="*/ 4161414 h 5441951"/>
                  <a:gd name="connsiteX28" fmla="*/ 3533552 w 5402761"/>
                  <a:gd name="connsiteY28" fmla="*/ 4075113 h 5441951"/>
                  <a:gd name="connsiteX29" fmla="*/ 1932486 w 5402761"/>
                  <a:gd name="connsiteY29" fmla="*/ 3735388 h 5441951"/>
                  <a:gd name="connsiteX30" fmla="*/ 1932486 w 5402761"/>
                  <a:gd name="connsiteY30" fmla="*/ 5310188 h 5441951"/>
                  <a:gd name="connsiteX31" fmla="*/ 5272586 w 5402761"/>
                  <a:gd name="connsiteY31" fmla="*/ 5310188 h 5441951"/>
                  <a:gd name="connsiteX32" fmla="*/ 5272586 w 5402761"/>
                  <a:gd name="connsiteY32" fmla="*/ 3735388 h 5441951"/>
                  <a:gd name="connsiteX33" fmla="*/ 1867774 w 5402761"/>
                  <a:gd name="connsiteY33" fmla="*/ 3608388 h 5441951"/>
                  <a:gd name="connsiteX34" fmla="*/ 5337298 w 5402761"/>
                  <a:gd name="connsiteY34" fmla="*/ 3608388 h 5441951"/>
                  <a:gd name="connsiteX35" fmla="*/ 5402761 w 5402761"/>
                  <a:gd name="connsiteY35" fmla="*/ 3670896 h 5441951"/>
                  <a:gd name="connsiteX36" fmla="*/ 5402761 w 5402761"/>
                  <a:gd name="connsiteY36" fmla="*/ 5376467 h 5441951"/>
                  <a:gd name="connsiteX37" fmla="*/ 5337298 w 5402761"/>
                  <a:gd name="connsiteY37" fmla="*/ 5441951 h 5441951"/>
                  <a:gd name="connsiteX38" fmla="*/ 1867774 w 5402761"/>
                  <a:gd name="connsiteY38" fmla="*/ 5441951 h 5441951"/>
                  <a:gd name="connsiteX39" fmla="*/ 1802311 w 5402761"/>
                  <a:gd name="connsiteY39" fmla="*/ 5376467 h 5441951"/>
                  <a:gd name="connsiteX40" fmla="*/ 1802311 w 5402761"/>
                  <a:gd name="connsiteY40" fmla="*/ 3670896 h 5441951"/>
                  <a:gd name="connsiteX41" fmla="*/ 1867774 w 5402761"/>
                  <a:gd name="connsiteY41" fmla="*/ 3608388 h 5441951"/>
                  <a:gd name="connsiteX42" fmla="*/ 409138 w 5402761"/>
                  <a:gd name="connsiteY42" fmla="*/ 2566988 h 5441951"/>
                  <a:gd name="connsiteX43" fmla="*/ 465674 w 5402761"/>
                  <a:gd name="connsiteY43" fmla="*/ 2623521 h 5441951"/>
                  <a:gd name="connsiteX44" fmla="*/ 792985 w 5402761"/>
                  <a:gd name="connsiteY44" fmla="*/ 2950815 h 5441951"/>
                  <a:gd name="connsiteX45" fmla="*/ 804887 w 5402761"/>
                  <a:gd name="connsiteY45" fmla="*/ 3057929 h 5441951"/>
                  <a:gd name="connsiteX46" fmla="*/ 742400 w 5402761"/>
                  <a:gd name="connsiteY46" fmla="*/ 3087683 h 5441951"/>
                  <a:gd name="connsiteX47" fmla="*/ 694791 w 5402761"/>
                  <a:gd name="connsiteY47" fmla="*/ 3072806 h 5441951"/>
                  <a:gd name="connsiteX48" fmla="*/ 489478 w 5402761"/>
                  <a:gd name="connsiteY48" fmla="*/ 2867504 h 5441951"/>
                  <a:gd name="connsiteX49" fmla="*/ 489478 w 5402761"/>
                  <a:gd name="connsiteY49" fmla="*/ 4444467 h 5441951"/>
                  <a:gd name="connsiteX50" fmla="*/ 1667797 w 5402761"/>
                  <a:gd name="connsiteY50" fmla="*/ 4444467 h 5441951"/>
                  <a:gd name="connsiteX51" fmla="*/ 1745161 w 5402761"/>
                  <a:gd name="connsiteY51" fmla="*/ 4524803 h 5441951"/>
                  <a:gd name="connsiteX52" fmla="*/ 1667797 w 5402761"/>
                  <a:gd name="connsiteY52" fmla="*/ 4602163 h 5441951"/>
                  <a:gd name="connsiteX53" fmla="*/ 331774 w 5402761"/>
                  <a:gd name="connsiteY53" fmla="*/ 4602163 h 5441951"/>
                  <a:gd name="connsiteX54" fmla="*/ 331774 w 5402761"/>
                  <a:gd name="connsiteY54" fmla="*/ 2867504 h 5441951"/>
                  <a:gd name="connsiteX55" fmla="*/ 132412 w 5402761"/>
                  <a:gd name="connsiteY55" fmla="*/ 3063880 h 5441951"/>
                  <a:gd name="connsiteX56" fmla="*/ 22316 w 5402761"/>
                  <a:gd name="connsiteY56" fmla="*/ 3063880 h 5441951"/>
                  <a:gd name="connsiteX57" fmla="*/ 22316 w 5402761"/>
                  <a:gd name="connsiteY57" fmla="*/ 2953790 h 5441951"/>
                  <a:gd name="connsiteX58" fmla="*/ 409138 w 5402761"/>
                  <a:gd name="connsiteY58" fmla="*/ 2566988 h 5441951"/>
                  <a:gd name="connsiteX59" fmla="*/ 3075116 w 5402761"/>
                  <a:gd name="connsiteY59" fmla="*/ 1373188 h 5441951"/>
                  <a:gd name="connsiteX60" fmla="*/ 4412049 w 5402761"/>
                  <a:gd name="connsiteY60" fmla="*/ 1373188 h 5441951"/>
                  <a:gd name="connsiteX61" fmla="*/ 4412049 w 5402761"/>
                  <a:gd name="connsiteY61" fmla="*/ 3104872 h 5441951"/>
                  <a:gd name="connsiteX62" fmla="*/ 4605591 w 5402761"/>
                  <a:gd name="connsiteY62" fmla="*/ 2914446 h 5441951"/>
                  <a:gd name="connsiteX63" fmla="*/ 4715761 w 5402761"/>
                  <a:gd name="connsiteY63" fmla="*/ 2917422 h 5441951"/>
                  <a:gd name="connsiteX64" fmla="*/ 4715761 w 5402761"/>
                  <a:gd name="connsiteY64" fmla="*/ 3027512 h 5441951"/>
                  <a:gd name="connsiteX65" fmla="*/ 4400138 w 5402761"/>
                  <a:gd name="connsiteY65" fmla="*/ 3336954 h 5441951"/>
                  <a:gd name="connsiteX66" fmla="*/ 4376318 w 5402761"/>
                  <a:gd name="connsiteY66" fmla="*/ 3363732 h 5441951"/>
                  <a:gd name="connsiteX67" fmla="*/ 4331654 w 5402761"/>
                  <a:gd name="connsiteY67" fmla="*/ 3408363 h 5441951"/>
                  <a:gd name="connsiteX68" fmla="*/ 4275080 w 5402761"/>
                  <a:gd name="connsiteY68" fmla="*/ 3351831 h 5441951"/>
                  <a:gd name="connsiteX69" fmla="*/ 3953502 w 5402761"/>
                  <a:gd name="connsiteY69" fmla="*/ 3030487 h 5441951"/>
                  <a:gd name="connsiteX70" fmla="*/ 3938614 w 5402761"/>
                  <a:gd name="connsiteY70" fmla="*/ 2923373 h 5441951"/>
                  <a:gd name="connsiteX71" fmla="*/ 4048784 w 5402761"/>
                  <a:gd name="connsiteY71" fmla="*/ 2908496 h 5441951"/>
                  <a:gd name="connsiteX72" fmla="*/ 4257214 w 5402761"/>
                  <a:gd name="connsiteY72" fmla="*/ 3110823 h 5441951"/>
                  <a:gd name="connsiteX73" fmla="*/ 4257214 w 5402761"/>
                  <a:gd name="connsiteY73" fmla="*/ 1527909 h 5441951"/>
                  <a:gd name="connsiteX74" fmla="*/ 3075116 w 5402761"/>
                  <a:gd name="connsiteY74" fmla="*/ 1527909 h 5441951"/>
                  <a:gd name="connsiteX75" fmla="*/ 2997699 w 5402761"/>
                  <a:gd name="connsiteY75" fmla="*/ 1450549 h 5441951"/>
                  <a:gd name="connsiteX76" fmla="*/ 3075116 w 5402761"/>
                  <a:gd name="connsiteY76" fmla="*/ 1373188 h 5441951"/>
                  <a:gd name="connsiteX77" fmla="*/ 1464174 w 5402761"/>
                  <a:gd name="connsiteY77" fmla="*/ 669925 h 5441951"/>
                  <a:gd name="connsiteX78" fmla="*/ 694236 w 5402761"/>
                  <a:gd name="connsiteY78" fmla="*/ 1440657 h 5441951"/>
                  <a:gd name="connsiteX79" fmla="*/ 1464174 w 5402761"/>
                  <a:gd name="connsiteY79" fmla="*/ 2211389 h 5441951"/>
                  <a:gd name="connsiteX80" fmla="*/ 2234112 w 5402761"/>
                  <a:gd name="connsiteY80" fmla="*/ 1440657 h 5441951"/>
                  <a:gd name="connsiteX81" fmla="*/ 1464174 w 5402761"/>
                  <a:gd name="connsiteY81" fmla="*/ 669925 h 5441951"/>
                  <a:gd name="connsiteX82" fmla="*/ 1465761 w 5402761"/>
                  <a:gd name="connsiteY82" fmla="*/ 533400 h 5441951"/>
                  <a:gd name="connsiteX83" fmla="*/ 2373811 w 5402761"/>
                  <a:gd name="connsiteY83" fmla="*/ 1441450 h 5441951"/>
                  <a:gd name="connsiteX84" fmla="*/ 1465761 w 5402761"/>
                  <a:gd name="connsiteY84" fmla="*/ 2349500 h 5441951"/>
                  <a:gd name="connsiteX85" fmla="*/ 557711 w 5402761"/>
                  <a:gd name="connsiteY85" fmla="*/ 1441450 h 5441951"/>
                  <a:gd name="connsiteX86" fmla="*/ 1465761 w 5402761"/>
                  <a:gd name="connsiteY86" fmla="*/ 533400 h 5441951"/>
                  <a:gd name="connsiteX87" fmla="*/ 1333910 w 5402761"/>
                  <a:gd name="connsiteY87" fmla="*/ 142875 h 5441951"/>
                  <a:gd name="connsiteX88" fmla="*/ 1232714 w 5402761"/>
                  <a:gd name="connsiteY88" fmla="*/ 416804 h 5441951"/>
                  <a:gd name="connsiteX89" fmla="*/ 1196998 w 5402761"/>
                  <a:gd name="connsiteY89" fmla="*/ 425736 h 5441951"/>
                  <a:gd name="connsiteX90" fmla="*/ 1009489 w 5402761"/>
                  <a:gd name="connsiteY90" fmla="*/ 488263 h 5441951"/>
                  <a:gd name="connsiteX91" fmla="*/ 979726 w 5402761"/>
                  <a:gd name="connsiteY91" fmla="*/ 503152 h 5441951"/>
                  <a:gd name="connsiteX92" fmla="*/ 732690 w 5402761"/>
                  <a:gd name="connsiteY92" fmla="*/ 363209 h 5441951"/>
                  <a:gd name="connsiteX93" fmla="*/ 628518 w 5402761"/>
                  <a:gd name="connsiteY93" fmla="*/ 443601 h 5441951"/>
                  <a:gd name="connsiteX94" fmla="*/ 530299 w 5402761"/>
                  <a:gd name="connsiteY94" fmla="*/ 532926 h 5441951"/>
                  <a:gd name="connsiteX95" fmla="*/ 619589 w 5402761"/>
                  <a:gd name="connsiteY95" fmla="*/ 777080 h 5441951"/>
                  <a:gd name="connsiteX96" fmla="*/ 592802 w 5402761"/>
                  <a:gd name="connsiteY96" fmla="*/ 806854 h 5441951"/>
                  <a:gd name="connsiteX97" fmla="*/ 467796 w 5402761"/>
                  <a:gd name="connsiteY97" fmla="*/ 1009324 h 5441951"/>
                  <a:gd name="connsiteX98" fmla="*/ 452914 w 5402761"/>
                  <a:gd name="connsiteY98" fmla="*/ 1039098 h 5441951"/>
                  <a:gd name="connsiteX99" fmla="*/ 211831 w 5402761"/>
                  <a:gd name="connsiteY99" fmla="*/ 1086738 h 5441951"/>
                  <a:gd name="connsiteX100" fmla="*/ 185044 w 5402761"/>
                  <a:gd name="connsiteY100" fmla="*/ 1211793 h 5441951"/>
                  <a:gd name="connsiteX101" fmla="*/ 167186 w 5402761"/>
                  <a:gd name="connsiteY101" fmla="*/ 1345779 h 5441951"/>
                  <a:gd name="connsiteX102" fmla="*/ 366601 w 5402761"/>
                  <a:gd name="connsiteY102" fmla="*/ 1461902 h 5441951"/>
                  <a:gd name="connsiteX103" fmla="*/ 369577 w 5402761"/>
                  <a:gd name="connsiteY103" fmla="*/ 1500609 h 5441951"/>
                  <a:gd name="connsiteX104" fmla="*/ 417198 w 5402761"/>
                  <a:gd name="connsiteY104" fmla="*/ 1756673 h 5441951"/>
                  <a:gd name="connsiteX105" fmla="*/ 429104 w 5402761"/>
                  <a:gd name="connsiteY105" fmla="*/ 1789425 h 5441951"/>
                  <a:gd name="connsiteX106" fmla="*/ 277311 w 5402761"/>
                  <a:gd name="connsiteY106" fmla="*/ 1974029 h 5441951"/>
                  <a:gd name="connsiteX107" fmla="*/ 336837 w 5402761"/>
                  <a:gd name="connsiteY107" fmla="*/ 2090151 h 5441951"/>
                  <a:gd name="connsiteX108" fmla="*/ 408269 w 5402761"/>
                  <a:gd name="connsiteY108" fmla="*/ 2200318 h 5441951"/>
                  <a:gd name="connsiteX109" fmla="*/ 658281 w 5402761"/>
                  <a:gd name="connsiteY109" fmla="*/ 2161611 h 5441951"/>
                  <a:gd name="connsiteX110" fmla="*/ 685068 w 5402761"/>
                  <a:gd name="connsiteY110" fmla="*/ 2185431 h 5441951"/>
                  <a:gd name="connsiteX111" fmla="*/ 863649 w 5402761"/>
                  <a:gd name="connsiteY111" fmla="*/ 2325372 h 5441951"/>
                  <a:gd name="connsiteX112" fmla="*/ 896388 w 5402761"/>
                  <a:gd name="connsiteY112" fmla="*/ 2346215 h 5441951"/>
                  <a:gd name="connsiteX113" fmla="*/ 896388 w 5402761"/>
                  <a:gd name="connsiteY113" fmla="*/ 2611211 h 5441951"/>
                  <a:gd name="connsiteX114" fmla="*/ 1018418 w 5402761"/>
                  <a:gd name="connsiteY114" fmla="*/ 2661828 h 5441951"/>
                  <a:gd name="connsiteX115" fmla="*/ 1143424 w 5402761"/>
                  <a:gd name="connsiteY115" fmla="*/ 2700536 h 5441951"/>
                  <a:gd name="connsiteX116" fmla="*/ 1324981 w 5402761"/>
                  <a:gd name="connsiteY116" fmla="*/ 2492112 h 5441951"/>
                  <a:gd name="connsiteX117" fmla="*/ 1360697 w 5402761"/>
                  <a:gd name="connsiteY117" fmla="*/ 2495089 h 5441951"/>
                  <a:gd name="connsiteX118" fmla="*/ 1566064 w 5402761"/>
                  <a:gd name="connsiteY118" fmla="*/ 2495089 h 5441951"/>
                  <a:gd name="connsiteX119" fmla="*/ 1601780 w 5402761"/>
                  <a:gd name="connsiteY119" fmla="*/ 2492112 h 5441951"/>
                  <a:gd name="connsiteX120" fmla="*/ 1783336 w 5402761"/>
                  <a:gd name="connsiteY120" fmla="*/ 2703513 h 5441951"/>
                  <a:gd name="connsiteX121" fmla="*/ 1905366 w 5402761"/>
                  <a:gd name="connsiteY121" fmla="*/ 2661828 h 5441951"/>
                  <a:gd name="connsiteX122" fmla="*/ 2030372 w 5402761"/>
                  <a:gd name="connsiteY122" fmla="*/ 2611211 h 5441951"/>
                  <a:gd name="connsiteX123" fmla="*/ 2033348 w 5402761"/>
                  <a:gd name="connsiteY123" fmla="*/ 2349192 h 5441951"/>
                  <a:gd name="connsiteX124" fmla="*/ 2063112 w 5402761"/>
                  <a:gd name="connsiteY124" fmla="*/ 2328350 h 5441951"/>
                  <a:gd name="connsiteX125" fmla="*/ 2244668 w 5402761"/>
                  <a:gd name="connsiteY125" fmla="*/ 2185431 h 5441951"/>
                  <a:gd name="connsiteX126" fmla="*/ 2271455 w 5402761"/>
                  <a:gd name="connsiteY126" fmla="*/ 2161611 h 5441951"/>
                  <a:gd name="connsiteX127" fmla="*/ 2518491 w 5402761"/>
                  <a:gd name="connsiteY127" fmla="*/ 2200318 h 5441951"/>
                  <a:gd name="connsiteX128" fmla="*/ 2589923 w 5402761"/>
                  <a:gd name="connsiteY128" fmla="*/ 2090151 h 5441951"/>
                  <a:gd name="connsiteX129" fmla="*/ 2649450 w 5402761"/>
                  <a:gd name="connsiteY129" fmla="*/ 1977007 h 5441951"/>
                  <a:gd name="connsiteX130" fmla="*/ 2497657 w 5402761"/>
                  <a:gd name="connsiteY130" fmla="*/ 1792402 h 5441951"/>
                  <a:gd name="connsiteX131" fmla="*/ 2509562 w 5402761"/>
                  <a:gd name="connsiteY131" fmla="*/ 1756673 h 5441951"/>
                  <a:gd name="connsiteX132" fmla="*/ 2557183 w 5402761"/>
                  <a:gd name="connsiteY132" fmla="*/ 1500609 h 5441951"/>
                  <a:gd name="connsiteX133" fmla="*/ 2560160 w 5402761"/>
                  <a:gd name="connsiteY133" fmla="*/ 1464879 h 5441951"/>
                  <a:gd name="connsiteX134" fmla="*/ 2759574 w 5402761"/>
                  <a:gd name="connsiteY134" fmla="*/ 1345779 h 5441951"/>
                  <a:gd name="connsiteX135" fmla="*/ 2741716 w 5402761"/>
                  <a:gd name="connsiteY135" fmla="*/ 1214771 h 5441951"/>
                  <a:gd name="connsiteX136" fmla="*/ 2714929 w 5402761"/>
                  <a:gd name="connsiteY136" fmla="*/ 1086738 h 5441951"/>
                  <a:gd name="connsiteX137" fmla="*/ 2476822 w 5402761"/>
                  <a:gd name="connsiteY137" fmla="*/ 1042076 h 5441951"/>
                  <a:gd name="connsiteX138" fmla="*/ 2461941 w 5402761"/>
                  <a:gd name="connsiteY138" fmla="*/ 1009324 h 5441951"/>
                  <a:gd name="connsiteX139" fmla="*/ 2333958 w 5402761"/>
                  <a:gd name="connsiteY139" fmla="*/ 806854 h 5441951"/>
                  <a:gd name="connsiteX140" fmla="*/ 2310148 w 5402761"/>
                  <a:gd name="connsiteY140" fmla="*/ 777080 h 5441951"/>
                  <a:gd name="connsiteX141" fmla="*/ 2396461 w 5402761"/>
                  <a:gd name="connsiteY141" fmla="*/ 532926 h 5441951"/>
                  <a:gd name="connsiteX142" fmla="*/ 2298242 w 5402761"/>
                  <a:gd name="connsiteY142" fmla="*/ 443601 h 5441951"/>
                  <a:gd name="connsiteX143" fmla="*/ 2197047 w 5402761"/>
                  <a:gd name="connsiteY143" fmla="*/ 363209 h 5441951"/>
                  <a:gd name="connsiteX144" fmla="*/ 1950011 w 5402761"/>
                  <a:gd name="connsiteY144" fmla="*/ 503152 h 5441951"/>
                  <a:gd name="connsiteX145" fmla="*/ 1917271 w 5402761"/>
                  <a:gd name="connsiteY145" fmla="*/ 488263 h 5441951"/>
                  <a:gd name="connsiteX146" fmla="*/ 1732739 w 5402761"/>
                  <a:gd name="connsiteY146" fmla="*/ 425736 h 5441951"/>
                  <a:gd name="connsiteX147" fmla="*/ 1697023 w 5402761"/>
                  <a:gd name="connsiteY147" fmla="*/ 416804 h 5441951"/>
                  <a:gd name="connsiteX148" fmla="*/ 1595827 w 5402761"/>
                  <a:gd name="connsiteY148" fmla="*/ 142875 h 5441951"/>
                  <a:gd name="connsiteX149" fmla="*/ 1464868 w 5402761"/>
                  <a:gd name="connsiteY149" fmla="*/ 142875 h 5441951"/>
                  <a:gd name="connsiteX150" fmla="*/ 1333910 w 5402761"/>
                  <a:gd name="connsiteY150" fmla="*/ 142875 h 5441951"/>
                  <a:gd name="connsiteX151" fmla="*/ 1464868 w 5402761"/>
                  <a:gd name="connsiteY151" fmla="*/ 0 h 5441951"/>
                  <a:gd name="connsiteX152" fmla="*/ 1655355 w 5402761"/>
                  <a:gd name="connsiteY152" fmla="*/ 11906 h 5441951"/>
                  <a:gd name="connsiteX153" fmla="*/ 1694048 w 5402761"/>
                  <a:gd name="connsiteY153" fmla="*/ 17858 h 5441951"/>
                  <a:gd name="connsiteX154" fmla="*/ 1801197 w 5402761"/>
                  <a:gd name="connsiteY154" fmla="*/ 300612 h 5441951"/>
                  <a:gd name="connsiteX155" fmla="*/ 1941086 w 5402761"/>
                  <a:gd name="connsiteY155" fmla="*/ 348234 h 5441951"/>
                  <a:gd name="connsiteX156" fmla="*/ 2203005 w 5402761"/>
                  <a:gd name="connsiteY156" fmla="*/ 202392 h 5441951"/>
                  <a:gd name="connsiteX157" fmla="*/ 2238721 w 5402761"/>
                  <a:gd name="connsiteY157" fmla="*/ 226203 h 5441951"/>
                  <a:gd name="connsiteX158" fmla="*/ 2387539 w 5402761"/>
                  <a:gd name="connsiteY158" fmla="*/ 339305 h 5441951"/>
                  <a:gd name="connsiteX159" fmla="*/ 2524452 w 5402761"/>
                  <a:gd name="connsiteY159" fmla="*/ 467288 h 5441951"/>
                  <a:gd name="connsiteX160" fmla="*/ 2554215 w 5402761"/>
                  <a:gd name="connsiteY160" fmla="*/ 500028 h 5441951"/>
                  <a:gd name="connsiteX161" fmla="*/ 2467901 w 5402761"/>
                  <a:gd name="connsiteY161" fmla="*/ 753018 h 5441951"/>
                  <a:gd name="connsiteX162" fmla="*/ 2572073 w 5402761"/>
                  <a:gd name="connsiteY162" fmla="*/ 919694 h 5441951"/>
                  <a:gd name="connsiteX163" fmla="*/ 2825064 w 5402761"/>
                  <a:gd name="connsiteY163" fmla="*/ 964339 h 5441951"/>
                  <a:gd name="connsiteX164" fmla="*/ 2836969 w 5402761"/>
                  <a:gd name="connsiteY164" fmla="*/ 1006008 h 5441951"/>
                  <a:gd name="connsiteX165" fmla="*/ 2878638 w 5402761"/>
                  <a:gd name="connsiteY165" fmla="*/ 1190543 h 5441951"/>
                  <a:gd name="connsiteX166" fmla="*/ 2899473 w 5402761"/>
                  <a:gd name="connsiteY166" fmla="*/ 1378053 h 5441951"/>
                  <a:gd name="connsiteX167" fmla="*/ 2902449 w 5402761"/>
                  <a:gd name="connsiteY167" fmla="*/ 1419722 h 5441951"/>
                  <a:gd name="connsiteX168" fmla="*/ 2691128 w 5402761"/>
                  <a:gd name="connsiteY168" fmla="*/ 1547705 h 5441951"/>
                  <a:gd name="connsiteX169" fmla="*/ 2655411 w 5402761"/>
                  <a:gd name="connsiteY169" fmla="*/ 1762003 h 5441951"/>
                  <a:gd name="connsiteX170" fmla="*/ 2810182 w 5402761"/>
                  <a:gd name="connsiteY170" fmla="*/ 1952489 h 5441951"/>
                  <a:gd name="connsiteX171" fmla="*/ 2792324 w 5402761"/>
                  <a:gd name="connsiteY171" fmla="*/ 1988206 h 5441951"/>
                  <a:gd name="connsiteX172" fmla="*/ 2706010 w 5402761"/>
                  <a:gd name="connsiteY172" fmla="*/ 2160834 h 5441951"/>
                  <a:gd name="connsiteX173" fmla="*/ 2604813 w 5402761"/>
                  <a:gd name="connsiteY173" fmla="*/ 2318581 h 5441951"/>
                  <a:gd name="connsiteX174" fmla="*/ 2581002 w 5402761"/>
                  <a:gd name="connsiteY174" fmla="*/ 2351321 h 5441951"/>
                  <a:gd name="connsiteX175" fmla="*/ 2313130 w 5402761"/>
                  <a:gd name="connsiteY175" fmla="*/ 2309652 h 5441951"/>
                  <a:gd name="connsiteX176" fmla="*/ 2170265 w 5402761"/>
                  <a:gd name="connsiteY176" fmla="*/ 2422754 h 5441951"/>
                  <a:gd name="connsiteX177" fmla="*/ 2164312 w 5402761"/>
                  <a:gd name="connsiteY177" fmla="*/ 2699555 h 5441951"/>
                  <a:gd name="connsiteX178" fmla="*/ 2128596 w 5402761"/>
                  <a:gd name="connsiteY178" fmla="*/ 2717413 h 5441951"/>
                  <a:gd name="connsiteX179" fmla="*/ 1952991 w 5402761"/>
                  <a:gd name="connsiteY179" fmla="*/ 2791822 h 5441951"/>
                  <a:gd name="connsiteX180" fmla="*/ 1774410 w 5402761"/>
                  <a:gd name="connsiteY180" fmla="*/ 2845396 h 5441951"/>
                  <a:gd name="connsiteX181" fmla="*/ 1732741 w 5402761"/>
                  <a:gd name="connsiteY181" fmla="*/ 2854325 h 5441951"/>
                  <a:gd name="connsiteX182" fmla="*/ 1542254 w 5402761"/>
                  <a:gd name="connsiteY182" fmla="*/ 2634075 h 5441951"/>
                  <a:gd name="connsiteX183" fmla="*/ 1384507 w 5402761"/>
                  <a:gd name="connsiteY183" fmla="*/ 2634075 h 5441951"/>
                  <a:gd name="connsiteX184" fmla="*/ 1194020 w 5402761"/>
                  <a:gd name="connsiteY184" fmla="*/ 2854325 h 5441951"/>
                  <a:gd name="connsiteX185" fmla="*/ 1152351 w 5402761"/>
                  <a:gd name="connsiteY185" fmla="*/ 2845396 h 5441951"/>
                  <a:gd name="connsiteX186" fmla="*/ 970793 w 5402761"/>
                  <a:gd name="connsiteY186" fmla="*/ 2791822 h 5441951"/>
                  <a:gd name="connsiteX187" fmla="*/ 798164 w 5402761"/>
                  <a:gd name="connsiteY187" fmla="*/ 2717413 h 5441951"/>
                  <a:gd name="connsiteX188" fmla="*/ 759472 w 5402761"/>
                  <a:gd name="connsiteY188" fmla="*/ 2696578 h 5441951"/>
                  <a:gd name="connsiteX189" fmla="*/ 756495 w 5402761"/>
                  <a:gd name="connsiteY189" fmla="*/ 2419777 h 5441951"/>
                  <a:gd name="connsiteX190" fmla="*/ 613630 w 5402761"/>
                  <a:gd name="connsiteY190" fmla="*/ 2306676 h 5441951"/>
                  <a:gd name="connsiteX191" fmla="*/ 345758 w 5402761"/>
                  <a:gd name="connsiteY191" fmla="*/ 2351321 h 5441951"/>
                  <a:gd name="connsiteX192" fmla="*/ 321947 w 5402761"/>
                  <a:gd name="connsiteY192" fmla="*/ 2315605 h 5441951"/>
                  <a:gd name="connsiteX193" fmla="*/ 217774 w 5402761"/>
                  <a:gd name="connsiteY193" fmla="*/ 2160834 h 5441951"/>
                  <a:gd name="connsiteX194" fmla="*/ 131460 w 5402761"/>
                  <a:gd name="connsiteY194" fmla="*/ 1988206 h 5441951"/>
                  <a:gd name="connsiteX195" fmla="*/ 116578 w 5402761"/>
                  <a:gd name="connsiteY195" fmla="*/ 1952489 h 5441951"/>
                  <a:gd name="connsiteX196" fmla="*/ 274325 w 5402761"/>
                  <a:gd name="connsiteY196" fmla="*/ 1759026 h 5441951"/>
                  <a:gd name="connsiteX197" fmla="*/ 235633 w 5402761"/>
                  <a:gd name="connsiteY197" fmla="*/ 1544729 h 5441951"/>
                  <a:gd name="connsiteX198" fmla="*/ 24311 w 5402761"/>
                  <a:gd name="connsiteY198" fmla="*/ 1419722 h 5441951"/>
                  <a:gd name="connsiteX199" fmla="*/ 27287 w 5402761"/>
                  <a:gd name="connsiteY199" fmla="*/ 1375077 h 5441951"/>
                  <a:gd name="connsiteX200" fmla="*/ 48122 w 5402761"/>
                  <a:gd name="connsiteY200" fmla="*/ 1187566 h 5441951"/>
                  <a:gd name="connsiteX201" fmla="*/ 92767 w 5402761"/>
                  <a:gd name="connsiteY201" fmla="*/ 1006008 h 5441951"/>
                  <a:gd name="connsiteX202" fmla="*/ 104673 w 5402761"/>
                  <a:gd name="connsiteY202" fmla="*/ 964339 h 5441951"/>
                  <a:gd name="connsiteX203" fmla="*/ 357663 w 5402761"/>
                  <a:gd name="connsiteY203" fmla="*/ 916718 h 5441951"/>
                  <a:gd name="connsiteX204" fmla="*/ 464812 w 5402761"/>
                  <a:gd name="connsiteY204" fmla="*/ 753018 h 5441951"/>
                  <a:gd name="connsiteX205" fmla="*/ 372545 w 5402761"/>
                  <a:gd name="connsiteY205" fmla="*/ 497051 h 5441951"/>
                  <a:gd name="connsiteX206" fmla="*/ 402309 w 5402761"/>
                  <a:gd name="connsiteY206" fmla="*/ 467288 h 5441951"/>
                  <a:gd name="connsiteX207" fmla="*/ 539221 w 5402761"/>
                  <a:gd name="connsiteY207" fmla="*/ 339305 h 5441951"/>
                  <a:gd name="connsiteX208" fmla="*/ 693992 w 5402761"/>
                  <a:gd name="connsiteY208" fmla="*/ 223227 h 5441951"/>
                  <a:gd name="connsiteX209" fmla="*/ 726732 w 5402761"/>
                  <a:gd name="connsiteY209" fmla="*/ 199416 h 5441951"/>
                  <a:gd name="connsiteX210" fmla="*/ 985675 w 5402761"/>
                  <a:gd name="connsiteY210" fmla="*/ 345257 h 5441951"/>
                  <a:gd name="connsiteX211" fmla="*/ 1125564 w 5402761"/>
                  <a:gd name="connsiteY211" fmla="*/ 300612 h 5441951"/>
                  <a:gd name="connsiteX212" fmla="*/ 1235689 w 5402761"/>
                  <a:gd name="connsiteY212" fmla="*/ 17858 h 5441951"/>
                  <a:gd name="connsiteX213" fmla="*/ 1277358 w 5402761"/>
                  <a:gd name="connsiteY213" fmla="*/ 11906 h 5441951"/>
                  <a:gd name="connsiteX214" fmla="*/ 1464868 w 5402761"/>
                  <a:gd name="connsiteY214" fmla="*/ 0 h 5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5402761" h="5441951">
                    <a:moveTo>
                      <a:pt x="3533552" y="4075113"/>
                    </a:moveTo>
                    <a:cubicBezTo>
                      <a:pt x="3643735" y="4075113"/>
                      <a:pt x="3643735" y="4075113"/>
                      <a:pt x="3643735" y="4075113"/>
                    </a:cubicBezTo>
                    <a:cubicBezTo>
                      <a:pt x="3643735" y="4155462"/>
                      <a:pt x="3643735" y="4155462"/>
                      <a:pt x="3643735" y="4155462"/>
                    </a:cubicBezTo>
                    <a:cubicBezTo>
                      <a:pt x="3706272" y="4161414"/>
                      <a:pt x="3750941" y="4176294"/>
                      <a:pt x="3780720" y="4197125"/>
                    </a:cubicBezTo>
                    <a:cubicBezTo>
                      <a:pt x="3742007" y="4301281"/>
                      <a:pt x="3742007" y="4301281"/>
                      <a:pt x="3742007" y="4301281"/>
                    </a:cubicBezTo>
                    <a:cubicBezTo>
                      <a:pt x="3694360" y="4271522"/>
                      <a:pt x="3646713" y="4253667"/>
                      <a:pt x="3599066" y="4253667"/>
                    </a:cubicBezTo>
                    <a:cubicBezTo>
                      <a:pt x="3569287" y="4253667"/>
                      <a:pt x="3548441" y="4262594"/>
                      <a:pt x="3530574" y="4277474"/>
                    </a:cubicBezTo>
                    <a:cubicBezTo>
                      <a:pt x="3515684" y="4292353"/>
                      <a:pt x="3506750" y="4313185"/>
                      <a:pt x="3506750" y="4334016"/>
                    </a:cubicBezTo>
                    <a:cubicBezTo>
                      <a:pt x="3506750" y="4375678"/>
                      <a:pt x="3551419" y="4414365"/>
                      <a:pt x="3640757" y="4456027"/>
                    </a:cubicBezTo>
                    <a:cubicBezTo>
                      <a:pt x="3691382" y="4476859"/>
                      <a:pt x="3727117" y="4497690"/>
                      <a:pt x="3747963" y="4518521"/>
                    </a:cubicBezTo>
                    <a:cubicBezTo>
                      <a:pt x="3768808" y="4536376"/>
                      <a:pt x="3780720" y="4560184"/>
                      <a:pt x="3792632" y="4583991"/>
                    </a:cubicBezTo>
                    <a:cubicBezTo>
                      <a:pt x="3804543" y="4610774"/>
                      <a:pt x="3810499" y="4634581"/>
                      <a:pt x="3810499" y="4664340"/>
                    </a:cubicBezTo>
                    <a:cubicBezTo>
                      <a:pt x="3810499" y="4708978"/>
                      <a:pt x="3795610" y="4747665"/>
                      <a:pt x="3768808" y="4780400"/>
                    </a:cubicBezTo>
                    <a:cubicBezTo>
                      <a:pt x="3739029" y="4810158"/>
                      <a:pt x="3697338" y="4833966"/>
                      <a:pt x="3643735" y="4845869"/>
                    </a:cubicBezTo>
                    <a:cubicBezTo>
                      <a:pt x="3643735" y="4953001"/>
                      <a:pt x="3643735" y="4953001"/>
                      <a:pt x="3643735" y="4953001"/>
                    </a:cubicBezTo>
                    <a:cubicBezTo>
                      <a:pt x="3533552" y="4953001"/>
                      <a:pt x="3533552" y="4953001"/>
                      <a:pt x="3533552" y="4953001"/>
                    </a:cubicBezTo>
                    <a:cubicBezTo>
                      <a:pt x="3533552" y="4854797"/>
                      <a:pt x="3533552" y="4854797"/>
                      <a:pt x="3533552" y="4854797"/>
                    </a:cubicBezTo>
                    <a:cubicBezTo>
                      <a:pt x="3479949" y="4848845"/>
                      <a:pt x="3426346" y="4833966"/>
                      <a:pt x="3378699" y="4807183"/>
                    </a:cubicBezTo>
                    <a:cubicBezTo>
                      <a:pt x="3426346" y="4697075"/>
                      <a:pt x="3426346" y="4697075"/>
                      <a:pt x="3426346" y="4697075"/>
                    </a:cubicBezTo>
                    <a:cubicBezTo>
                      <a:pt x="3476971" y="4732785"/>
                      <a:pt x="3524618" y="4747665"/>
                      <a:pt x="3575243" y="4747665"/>
                    </a:cubicBezTo>
                    <a:cubicBezTo>
                      <a:pt x="3646713" y="4747665"/>
                      <a:pt x="3685426" y="4723858"/>
                      <a:pt x="3685426" y="4673267"/>
                    </a:cubicBezTo>
                    <a:cubicBezTo>
                      <a:pt x="3685426" y="4649460"/>
                      <a:pt x="3676492" y="4625653"/>
                      <a:pt x="3655647" y="4607798"/>
                    </a:cubicBezTo>
                    <a:cubicBezTo>
                      <a:pt x="3637779" y="4586967"/>
                      <a:pt x="3602044" y="4563159"/>
                      <a:pt x="3548441" y="4536376"/>
                    </a:cubicBezTo>
                    <a:cubicBezTo>
                      <a:pt x="3494839" y="4509593"/>
                      <a:pt x="3459103" y="4488762"/>
                      <a:pt x="3441236" y="4473883"/>
                    </a:cubicBezTo>
                    <a:cubicBezTo>
                      <a:pt x="3420390" y="4456027"/>
                      <a:pt x="3405501" y="4435196"/>
                      <a:pt x="3396567" y="4414365"/>
                    </a:cubicBezTo>
                    <a:cubicBezTo>
                      <a:pt x="3384655" y="4390558"/>
                      <a:pt x="3381677" y="4363775"/>
                      <a:pt x="3381677" y="4336992"/>
                    </a:cubicBezTo>
                    <a:cubicBezTo>
                      <a:pt x="3381677" y="4292353"/>
                      <a:pt x="3393589" y="4256643"/>
                      <a:pt x="3423368" y="4226884"/>
                    </a:cubicBezTo>
                    <a:cubicBezTo>
                      <a:pt x="3450170" y="4194149"/>
                      <a:pt x="3485905" y="4170342"/>
                      <a:pt x="3533552" y="4161414"/>
                    </a:cubicBezTo>
                    <a:cubicBezTo>
                      <a:pt x="3533552" y="4075113"/>
                      <a:pt x="3533552" y="4075113"/>
                      <a:pt x="3533552" y="4075113"/>
                    </a:cubicBezTo>
                    <a:close/>
                    <a:moveTo>
                      <a:pt x="1932486" y="3735388"/>
                    </a:moveTo>
                    <a:lnTo>
                      <a:pt x="1932486" y="5310188"/>
                    </a:lnTo>
                    <a:lnTo>
                      <a:pt x="5272586" y="5310188"/>
                    </a:lnTo>
                    <a:lnTo>
                      <a:pt x="5272586" y="3735388"/>
                    </a:lnTo>
                    <a:close/>
                    <a:moveTo>
                      <a:pt x="1867774" y="3608388"/>
                    </a:moveTo>
                    <a:cubicBezTo>
                      <a:pt x="5337298" y="3608388"/>
                      <a:pt x="5337298" y="3608388"/>
                      <a:pt x="5337298" y="3608388"/>
                    </a:cubicBezTo>
                    <a:cubicBezTo>
                      <a:pt x="5373005" y="3608388"/>
                      <a:pt x="5402761" y="3635177"/>
                      <a:pt x="5402761" y="3670896"/>
                    </a:cubicBezTo>
                    <a:cubicBezTo>
                      <a:pt x="5402761" y="5376467"/>
                      <a:pt x="5402761" y="5376467"/>
                      <a:pt x="5402761" y="5376467"/>
                    </a:cubicBezTo>
                    <a:cubicBezTo>
                      <a:pt x="5402761" y="5412186"/>
                      <a:pt x="5373005" y="5441951"/>
                      <a:pt x="5337298" y="5441951"/>
                    </a:cubicBezTo>
                    <a:cubicBezTo>
                      <a:pt x="1867774" y="5441951"/>
                      <a:pt x="1867774" y="5441951"/>
                      <a:pt x="1867774" y="5441951"/>
                    </a:cubicBezTo>
                    <a:cubicBezTo>
                      <a:pt x="1832067" y="5441951"/>
                      <a:pt x="1802311" y="5412186"/>
                      <a:pt x="1802311" y="5376467"/>
                    </a:cubicBezTo>
                    <a:cubicBezTo>
                      <a:pt x="1802311" y="3670896"/>
                      <a:pt x="1802311" y="3670896"/>
                      <a:pt x="1802311" y="3670896"/>
                    </a:cubicBezTo>
                    <a:cubicBezTo>
                      <a:pt x="1802311" y="3635177"/>
                      <a:pt x="1832067" y="3608388"/>
                      <a:pt x="1867774" y="3608388"/>
                    </a:cubicBezTo>
                    <a:close/>
                    <a:moveTo>
                      <a:pt x="409138" y="2566988"/>
                    </a:moveTo>
                    <a:cubicBezTo>
                      <a:pt x="409138" y="2566988"/>
                      <a:pt x="409138" y="2566988"/>
                      <a:pt x="465674" y="2623521"/>
                    </a:cubicBezTo>
                    <a:cubicBezTo>
                      <a:pt x="581720" y="2739561"/>
                      <a:pt x="769180" y="2929987"/>
                      <a:pt x="792985" y="2950815"/>
                    </a:cubicBezTo>
                    <a:cubicBezTo>
                      <a:pt x="822740" y="2977594"/>
                      <a:pt x="828691" y="3022225"/>
                      <a:pt x="804887" y="3057929"/>
                    </a:cubicBezTo>
                    <a:cubicBezTo>
                      <a:pt x="790009" y="3075782"/>
                      <a:pt x="766205" y="3087683"/>
                      <a:pt x="742400" y="3087683"/>
                    </a:cubicBezTo>
                    <a:cubicBezTo>
                      <a:pt x="724547" y="3087683"/>
                      <a:pt x="709669" y="3081733"/>
                      <a:pt x="694791" y="3072806"/>
                    </a:cubicBezTo>
                    <a:cubicBezTo>
                      <a:pt x="688840" y="3069831"/>
                      <a:pt x="679914" y="3060905"/>
                      <a:pt x="489478" y="2867504"/>
                    </a:cubicBezTo>
                    <a:cubicBezTo>
                      <a:pt x="489478" y="2867504"/>
                      <a:pt x="489478" y="2867504"/>
                      <a:pt x="489478" y="4444467"/>
                    </a:cubicBezTo>
                    <a:cubicBezTo>
                      <a:pt x="489478" y="4444467"/>
                      <a:pt x="489478" y="4444467"/>
                      <a:pt x="1667797" y="4444467"/>
                    </a:cubicBezTo>
                    <a:cubicBezTo>
                      <a:pt x="1712430" y="4444467"/>
                      <a:pt x="1745161" y="4480172"/>
                      <a:pt x="1745161" y="4524803"/>
                    </a:cubicBezTo>
                    <a:cubicBezTo>
                      <a:pt x="1745161" y="4566458"/>
                      <a:pt x="1712430" y="4602163"/>
                      <a:pt x="1667797" y="4602163"/>
                    </a:cubicBezTo>
                    <a:cubicBezTo>
                      <a:pt x="1667797" y="4602163"/>
                      <a:pt x="1667797" y="4602163"/>
                      <a:pt x="331774" y="4602163"/>
                    </a:cubicBezTo>
                    <a:cubicBezTo>
                      <a:pt x="331774" y="4602163"/>
                      <a:pt x="331774" y="4602163"/>
                      <a:pt x="331774" y="2867504"/>
                    </a:cubicBezTo>
                    <a:cubicBezTo>
                      <a:pt x="331774" y="2867504"/>
                      <a:pt x="331774" y="2867504"/>
                      <a:pt x="132412" y="3063880"/>
                    </a:cubicBezTo>
                    <a:cubicBezTo>
                      <a:pt x="102657" y="3096610"/>
                      <a:pt x="52072" y="3096610"/>
                      <a:pt x="22316" y="3063880"/>
                    </a:cubicBezTo>
                    <a:cubicBezTo>
                      <a:pt x="-7439" y="3034126"/>
                      <a:pt x="-7439" y="2983544"/>
                      <a:pt x="22316" y="2953790"/>
                    </a:cubicBezTo>
                    <a:cubicBezTo>
                      <a:pt x="22316" y="2953790"/>
                      <a:pt x="22316" y="2953790"/>
                      <a:pt x="409138" y="2566988"/>
                    </a:cubicBezTo>
                    <a:close/>
                    <a:moveTo>
                      <a:pt x="3075116" y="1373188"/>
                    </a:moveTo>
                    <a:cubicBezTo>
                      <a:pt x="3075116" y="1373188"/>
                      <a:pt x="3075116" y="1373188"/>
                      <a:pt x="4412049" y="1373188"/>
                    </a:cubicBezTo>
                    <a:cubicBezTo>
                      <a:pt x="4412049" y="1373188"/>
                      <a:pt x="4412049" y="1373188"/>
                      <a:pt x="4412049" y="3104872"/>
                    </a:cubicBezTo>
                    <a:cubicBezTo>
                      <a:pt x="4412049" y="3104872"/>
                      <a:pt x="4412049" y="3104872"/>
                      <a:pt x="4605591" y="2914446"/>
                    </a:cubicBezTo>
                    <a:cubicBezTo>
                      <a:pt x="4635367" y="2884692"/>
                      <a:pt x="4685986" y="2884692"/>
                      <a:pt x="4715761" y="2917422"/>
                    </a:cubicBezTo>
                    <a:cubicBezTo>
                      <a:pt x="4745537" y="2947176"/>
                      <a:pt x="4745537" y="2997758"/>
                      <a:pt x="4715761" y="3027512"/>
                    </a:cubicBezTo>
                    <a:cubicBezTo>
                      <a:pt x="4715761" y="3027512"/>
                      <a:pt x="4715761" y="3027512"/>
                      <a:pt x="4400138" y="3336954"/>
                    </a:cubicBezTo>
                    <a:cubicBezTo>
                      <a:pt x="4394183" y="3348855"/>
                      <a:pt x="4385250" y="3357781"/>
                      <a:pt x="4376318" y="3363732"/>
                    </a:cubicBezTo>
                    <a:cubicBezTo>
                      <a:pt x="4376318" y="3363732"/>
                      <a:pt x="4376318" y="3363732"/>
                      <a:pt x="4331654" y="3408363"/>
                    </a:cubicBezTo>
                    <a:cubicBezTo>
                      <a:pt x="4331654" y="3408363"/>
                      <a:pt x="4331654" y="3408363"/>
                      <a:pt x="4275080" y="3351831"/>
                    </a:cubicBezTo>
                    <a:cubicBezTo>
                      <a:pt x="4161932" y="3238765"/>
                      <a:pt x="3974345" y="3051315"/>
                      <a:pt x="3953502" y="3030487"/>
                    </a:cubicBezTo>
                    <a:cubicBezTo>
                      <a:pt x="3920748" y="3003709"/>
                      <a:pt x="3914793" y="2959077"/>
                      <a:pt x="3938614" y="2923373"/>
                    </a:cubicBezTo>
                    <a:cubicBezTo>
                      <a:pt x="3965412" y="2890643"/>
                      <a:pt x="4013053" y="2881717"/>
                      <a:pt x="4048784" y="2908496"/>
                    </a:cubicBezTo>
                    <a:cubicBezTo>
                      <a:pt x="4054739" y="2911471"/>
                      <a:pt x="4063672" y="2917422"/>
                      <a:pt x="4257214" y="3110823"/>
                    </a:cubicBezTo>
                    <a:cubicBezTo>
                      <a:pt x="4257214" y="3110823"/>
                      <a:pt x="4257214" y="3110823"/>
                      <a:pt x="4257214" y="1527909"/>
                    </a:cubicBezTo>
                    <a:cubicBezTo>
                      <a:pt x="4257214" y="1527909"/>
                      <a:pt x="4257214" y="1527909"/>
                      <a:pt x="3075116" y="1527909"/>
                    </a:cubicBezTo>
                    <a:cubicBezTo>
                      <a:pt x="3033430" y="1527909"/>
                      <a:pt x="2997699" y="1495180"/>
                      <a:pt x="2997699" y="1450549"/>
                    </a:cubicBezTo>
                    <a:cubicBezTo>
                      <a:pt x="2997699" y="1408893"/>
                      <a:pt x="3033430" y="1373188"/>
                      <a:pt x="3075116" y="1373188"/>
                    </a:cubicBezTo>
                    <a:close/>
                    <a:moveTo>
                      <a:pt x="1464174" y="669925"/>
                    </a:moveTo>
                    <a:cubicBezTo>
                      <a:pt x="1038949" y="669925"/>
                      <a:pt x="694236" y="1014993"/>
                      <a:pt x="694236" y="1440657"/>
                    </a:cubicBezTo>
                    <a:cubicBezTo>
                      <a:pt x="694236" y="1866321"/>
                      <a:pt x="1038949" y="2211389"/>
                      <a:pt x="1464174" y="2211389"/>
                    </a:cubicBezTo>
                    <a:cubicBezTo>
                      <a:pt x="1889399" y="2211389"/>
                      <a:pt x="2234112" y="1866321"/>
                      <a:pt x="2234112" y="1440657"/>
                    </a:cubicBezTo>
                    <a:cubicBezTo>
                      <a:pt x="2234112" y="1014993"/>
                      <a:pt x="1889399" y="669925"/>
                      <a:pt x="1464174" y="669925"/>
                    </a:cubicBezTo>
                    <a:close/>
                    <a:moveTo>
                      <a:pt x="1465761" y="533400"/>
                    </a:moveTo>
                    <a:cubicBezTo>
                      <a:pt x="1967263" y="533400"/>
                      <a:pt x="2373811" y="939948"/>
                      <a:pt x="2373811" y="1441450"/>
                    </a:cubicBezTo>
                    <a:cubicBezTo>
                      <a:pt x="2373811" y="1942952"/>
                      <a:pt x="1967263" y="2349500"/>
                      <a:pt x="1465761" y="2349500"/>
                    </a:cubicBezTo>
                    <a:cubicBezTo>
                      <a:pt x="964259" y="2349500"/>
                      <a:pt x="557711" y="1942952"/>
                      <a:pt x="557711" y="1441450"/>
                    </a:cubicBezTo>
                    <a:cubicBezTo>
                      <a:pt x="557711" y="939948"/>
                      <a:pt x="964259" y="533400"/>
                      <a:pt x="1465761" y="533400"/>
                    </a:cubicBezTo>
                    <a:close/>
                    <a:moveTo>
                      <a:pt x="1333910" y="142875"/>
                    </a:moveTo>
                    <a:cubicBezTo>
                      <a:pt x="1333910" y="142875"/>
                      <a:pt x="1333910" y="142875"/>
                      <a:pt x="1232714" y="416804"/>
                    </a:cubicBezTo>
                    <a:cubicBezTo>
                      <a:pt x="1232714" y="416804"/>
                      <a:pt x="1232714" y="416804"/>
                      <a:pt x="1196998" y="425736"/>
                    </a:cubicBezTo>
                    <a:cubicBezTo>
                      <a:pt x="1131519" y="440624"/>
                      <a:pt x="1071992" y="461466"/>
                      <a:pt x="1009489" y="488263"/>
                    </a:cubicBezTo>
                    <a:cubicBezTo>
                      <a:pt x="1009489" y="488263"/>
                      <a:pt x="1009489" y="488263"/>
                      <a:pt x="979726" y="503152"/>
                    </a:cubicBezTo>
                    <a:cubicBezTo>
                      <a:pt x="979726" y="503152"/>
                      <a:pt x="979726" y="503152"/>
                      <a:pt x="732690" y="363209"/>
                    </a:cubicBezTo>
                    <a:cubicBezTo>
                      <a:pt x="682092" y="401916"/>
                      <a:pt x="631494" y="440624"/>
                      <a:pt x="628518" y="443601"/>
                    </a:cubicBezTo>
                    <a:cubicBezTo>
                      <a:pt x="628518" y="443601"/>
                      <a:pt x="577920" y="485287"/>
                      <a:pt x="530299" y="532926"/>
                    </a:cubicBezTo>
                    <a:cubicBezTo>
                      <a:pt x="530299" y="532926"/>
                      <a:pt x="530299" y="532926"/>
                      <a:pt x="619589" y="777080"/>
                    </a:cubicBezTo>
                    <a:cubicBezTo>
                      <a:pt x="619589" y="777080"/>
                      <a:pt x="619589" y="777080"/>
                      <a:pt x="592802" y="806854"/>
                    </a:cubicBezTo>
                    <a:cubicBezTo>
                      <a:pt x="542204" y="869382"/>
                      <a:pt x="500536" y="937864"/>
                      <a:pt x="467796" y="1009324"/>
                    </a:cubicBezTo>
                    <a:cubicBezTo>
                      <a:pt x="467796" y="1009324"/>
                      <a:pt x="467796" y="1009324"/>
                      <a:pt x="452914" y="1039098"/>
                    </a:cubicBezTo>
                    <a:cubicBezTo>
                      <a:pt x="452914" y="1039098"/>
                      <a:pt x="452914" y="1039098"/>
                      <a:pt x="211831" y="1086738"/>
                    </a:cubicBezTo>
                    <a:cubicBezTo>
                      <a:pt x="196949" y="1146289"/>
                      <a:pt x="185044" y="1205838"/>
                      <a:pt x="185044" y="1211793"/>
                    </a:cubicBezTo>
                    <a:cubicBezTo>
                      <a:pt x="185044" y="1214771"/>
                      <a:pt x="173139" y="1277297"/>
                      <a:pt x="167186" y="1345779"/>
                    </a:cubicBezTo>
                    <a:cubicBezTo>
                      <a:pt x="167186" y="1345779"/>
                      <a:pt x="167186" y="1345779"/>
                      <a:pt x="366601" y="1461902"/>
                    </a:cubicBezTo>
                    <a:cubicBezTo>
                      <a:pt x="366601" y="1461902"/>
                      <a:pt x="366601" y="1461902"/>
                      <a:pt x="369577" y="1500609"/>
                    </a:cubicBezTo>
                    <a:cubicBezTo>
                      <a:pt x="375530" y="1583978"/>
                      <a:pt x="390411" y="1673303"/>
                      <a:pt x="417198" y="1756673"/>
                    </a:cubicBezTo>
                    <a:cubicBezTo>
                      <a:pt x="417198" y="1756673"/>
                      <a:pt x="417198" y="1756673"/>
                      <a:pt x="429104" y="1789425"/>
                    </a:cubicBezTo>
                    <a:cubicBezTo>
                      <a:pt x="429104" y="1789425"/>
                      <a:pt x="429104" y="1789425"/>
                      <a:pt x="277311" y="1974029"/>
                    </a:cubicBezTo>
                    <a:cubicBezTo>
                      <a:pt x="304098" y="2033579"/>
                      <a:pt x="336837" y="2090151"/>
                      <a:pt x="336837" y="2090151"/>
                    </a:cubicBezTo>
                    <a:cubicBezTo>
                      <a:pt x="336837" y="2090151"/>
                      <a:pt x="369577" y="2146723"/>
                      <a:pt x="408269" y="2200318"/>
                    </a:cubicBezTo>
                    <a:cubicBezTo>
                      <a:pt x="408269" y="2200318"/>
                      <a:pt x="408269" y="2200318"/>
                      <a:pt x="658281" y="2161611"/>
                    </a:cubicBezTo>
                    <a:cubicBezTo>
                      <a:pt x="658281" y="2161611"/>
                      <a:pt x="658281" y="2161611"/>
                      <a:pt x="685068" y="2185431"/>
                    </a:cubicBezTo>
                    <a:cubicBezTo>
                      <a:pt x="735666" y="2236048"/>
                      <a:pt x="798169" y="2283688"/>
                      <a:pt x="863649" y="2325372"/>
                    </a:cubicBezTo>
                    <a:cubicBezTo>
                      <a:pt x="863649" y="2325372"/>
                      <a:pt x="863649" y="2325372"/>
                      <a:pt x="896388" y="2346215"/>
                    </a:cubicBezTo>
                    <a:cubicBezTo>
                      <a:pt x="896388" y="2346215"/>
                      <a:pt x="896388" y="2346215"/>
                      <a:pt x="896388" y="2611211"/>
                    </a:cubicBezTo>
                    <a:cubicBezTo>
                      <a:pt x="955915" y="2638008"/>
                      <a:pt x="1018418" y="2661828"/>
                      <a:pt x="1018418" y="2661828"/>
                    </a:cubicBezTo>
                    <a:cubicBezTo>
                      <a:pt x="1018418" y="2661828"/>
                      <a:pt x="1080921" y="2682671"/>
                      <a:pt x="1143424" y="2700536"/>
                    </a:cubicBezTo>
                    <a:cubicBezTo>
                      <a:pt x="1143424" y="2700536"/>
                      <a:pt x="1143424" y="2700536"/>
                      <a:pt x="1324981" y="2492112"/>
                    </a:cubicBezTo>
                    <a:cubicBezTo>
                      <a:pt x="1324981" y="2492112"/>
                      <a:pt x="1324981" y="2492112"/>
                      <a:pt x="1360697" y="2495089"/>
                    </a:cubicBezTo>
                    <a:cubicBezTo>
                      <a:pt x="1429152" y="2501044"/>
                      <a:pt x="1494632" y="2501044"/>
                      <a:pt x="1566064" y="2495089"/>
                    </a:cubicBezTo>
                    <a:cubicBezTo>
                      <a:pt x="1566064" y="2495089"/>
                      <a:pt x="1566064" y="2495089"/>
                      <a:pt x="1601780" y="2492112"/>
                    </a:cubicBezTo>
                    <a:cubicBezTo>
                      <a:pt x="1601780" y="2492112"/>
                      <a:pt x="1601780" y="2492112"/>
                      <a:pt x="1783336" y="2703513"/>
                    </a:cubicBezTo>
                    <a:cubicBezTo>
                      <a:pt x="1845839" y="2685648"/>
                      <a:pt x="1902390" y="2661828"/>
                      <a:pt x="1905366" y="2661828"/>
                    </a:cubicBezTo>
                    <a:cubicBezTo>
                      <a:pt x="1905366" y="2661828"/>
                      <a:pt x="1967869" y="2638008"/>
                      <a:pt x="2030372" y="2611211"/>
                    </a:cubicBezTo>
                    <a:cubicBezTo>
                      <a:pt x="2030372" y="2611211"/>
                      <a:pt x="2030372" y="2611211"/>
                      <a:pt x="2033348" y="2349192"/>
                    </a:cubicBezTo>
                    <a:cubicBezTo>
                      <a:pt x="2033348" y="2349192"/>
                      <a:pt x="2033348" y="2349192"/>
                      <a:pt x="2063112" y="2328350"/>
                    </a:cubicBezTo>
                    <a:cubicBezTo>
                      <a:pt x="2128591" y="2286665"/>
                      <a:pt x="2188118" y="2239025"/>
                      <a:pt x="2244668" y="2185431"/>
                    </a:cubicBezTo>
                    <a:cubicBezTo>
                      <a:pt x="2244668" y="2185431"/>
                      <a:pt x="2244668" y="2185431"/>
                      <a:pt x="2271455" y="2161611"/>
                    </a:cubicBezTo>
                    <a:cubicBezTo>
                      <a:pt x="2271455" y="2161611"/>
                      <a:pt x="2271455" y="2161611"/>
                      <a:pt x="2518491" y="2200318"/>
                    </a:cubicBezTo>
                    <a:cubicBezTo>
                      <a:pt x="2554207" y="2149701"/>
                      <a:pt x="2586947" y="2093129"/>
                      <a:pt x="2589923" y="2090151"/>
                    </a:cubicBezTo>
                    <a:cubicBezTo>
                      <a:pt x="2589923" y="2090151"/>
                      <a:pt x="2622663" y="2033579"/>
                      <a:pt x="2649450" y="1977007"/>
                    </a:cubicBezTo>
                    <a:cubicBezTo>
                      <a:pt x="2649450" y="1977007"/>
                      <a:pt x="2649450" y="1977007"/>
                      <a:pt x="2497657" y="1792402"/>
                    </a:cubicBezTo>
                    <a:cubicBezTo>
                      <a:pt x="2497657" y="1792402"/>
                      <a:pt x="2497657" y="1792402"/>
                      <a:pt x="2509562" y="1756673"/>
                    </a:cubicBezTo>
                    <a:cubicBezTo>
                      <a:pt x="2536349" y="1673303"/>
                      <a:pt x="2554207" y="1586956"/>
                      <a:pt x="2557183" y="1500609"/>
                    </a:cubicBezTo>
                    <a:cubicBezTo>
                      <a:pt x="2557183" y="1500609"/>
                      <a:pt x="2557183" y="1500609"/>
                      <a:pt x="2560160" y="1464879"/>
                    </a:cubicBezTo>
                    <a:cubicBezTo>
                      <a:pt x="2560160" y="1464879"/>
                      <a:pt x="2560160" y="1464879"/>
                      <a:pt x="2759574" y="1345779"/>
                    </a:cubicBezTo>
                    <a:cubicBezTo>
                      <a:pt x="2753621" y="1280275"/>
                      <a:pt x="2741716" y="1214771"/>
                      <a:pt x="2741716" y="1214771"/>
                    </a:cubicBezTo>
                    <a:cubicBezTo>
                      <a:pt x="2741716" y="1214771"/>
                      <a:pt x="2729811" y="1152243"/>
                      <a:pt x="2714929" y="1086738"/>
                    </a:cubicBezTo>
                    <a:cubicBezTo>
                      <a:pt x="2714929" y="1086738"/>
                      <a:pt x="2714929" y="1086738"/>
                      <a:pt x="2476822" y="1042076"/>
                    </a:cubicBezTo>
                    <a:cubicBezTo>
                      <a:pt x="2476822" y="1042076"/>
                      <a:pt x="2476822" y="1042076"/>
                      <a:pt x="2461941" y="1009324"/>
                    </a:cubicBezTo>
                    <a:cubicBezTo>
                      <a:pt x="2429201" y="940841"/>
                      <a:pt x="2384556" y="869382"/>
                      <a:pt x="2333958" y="806854"/>
                    </a:cubicBezTo>
                    <a:cubicBezTo>
                      <a:pt x="2333958" y="806854"/>
                      <a:pt x="2333958" y="806854"/>
                      <a:pt x="2310148" y="777080"/>
                    </a:cubicBezTo>
                    <a:cubicBezTo>
                      <a:pt x="2310148" y="777080"/>
                      <a:pt x="2310148" y="777080"/>
                      <a:pt x="2396461" y="532926"/>
                    </a:cubicBezTo>
                    <a:cubicBezTo>
                      <a:pt x="2348840" y="488263"/>
                      <a:pt x="2301218" y="446579"/>
                      <a:pt x="2298242" y="443601"/>
                    </a:cubicBezTo>
                    <a:cubicBezTo>
                      <a:pt x="2292289" y="440624"/>
                      <a:pt x="2247645" y="401916"/>
                      <a:pt x="2197047" y="363209"/>
                    </a:cubicBezTo>
                    <a:cubicBezTo>
                      <a:pt x="2197047" y="363209"/>
                      <a:pt x="2197047" y="363209"/>
                      <a:pt x="1950011" y="503152"/>
                    </a:cubicBezTo>
                    <a:cubicBezTo>
                      <a:pt x="1950011" y="503152"/>
                      <a:pt x="1950011" y="503152"/>
                      <a:pt x="1917271" y="488263"/>
                    </a:cubicBezTo>
                    <a:cubicBezTo>
                      <a:pt x="1860721" y="461466"/>
                      <a:pt x="1798218" y="440624"/>
                      <a:pt x="1732739" y="425736"/>
                    </a:cubicBezTo>
                    <a:cubicBezTo>
                      <a:pt x="1732739" y="425736"/>
                      <a:pt x="1732739" y="425736"/>
                      <a:pt x="1697023" y="416804"/>
                    </a:cubicBezTo>
                    <a:cubicBezTo>
                      <a:pt x="1697023" y="416804"/>
                      <a:pt x="1697023" y="416804"/>
                      <a:pt x="1595827" y="142875"/>
                    </a:cubicBezTo>
                    <a:cubicBezTo>
                      <a:pt x="1527371" y="142875"/>
                      <a:pt x="1464868" y="142875"/>
                      <a:pt x="1464868" y="142875"/>
                    </a:cubicBezTo>
                    <a:cubicBezTo>
                      <a:pt x="1464868" y="142875"/>
                      <a:pt x="1399389" y="142875"/>
                      <a:pt x="1333910" y="142875"/>
                    </a:cubicBezTo>
                    <a:close/>
                    <a:moveTo>
                      <a:pt x="1464868" y="0"/>
                    </a:moveTo>
                    <a:cubicBezTo>
                      <a:pt x="1470821" y="0"/>
                      <a:pt x="1569041" y="0"/>
                      <a:pt x="1655355" y="11906"/>
                    </a:cubicBezTo>
                    <a:cubicBezTo>
                      <a:pt x="1655355" y="11906"/>
                      <a:pt x="1655355" y="11906"/>
                      <a:pt x="1694048" y="17858"/>
                    </a:cubicBezTo>
                    <a:cubicBezTo>
                      <a:pt x="1694048" y="17858"/>
                      <a:pt x="1694048" y="17858"/>
                      <a:pt x="1801197" y="300612"/>
                    </a:cubicBezTo>
                    <a:cubicBezTo>
                      <a:pt x="1848819" y="315494"/>
                      <a:pt x="1896440" y="330376"/>
                      <a:pt x="1941086" y="348234"/>
                    </a:cubicBezTo>
                    <a:cubicBezTo>
                      <a:pt x="1941086" y="348234"/>
                      <a:pt x="1941086" y="348234"/>
                      <a:pt x="2203005" y="202392"/>
                    </a:cubicBezTo>
                    <a:cubicBezTo>
                      <a:pt x="2203005" y="202392"/>
                      <a:pt x="2203005" y="202392"/>
                      <a:pt x="2238721" y="226203"/>
                    </a:cubicBezTo>
                    <a:cubicBezTo>
                      <a:pt x="2310154" y="273825"/>
                      <a:pt x="2387539" y="339305"/>
                      <a:pt x="2387539" y="339305"/>
                    </a:cubicBezTo>
                    <a:cubicBezTo>
                      <a:pt x="2390516" y="342281"/>
                      <a:pt x="2467901" y="404784"/>
                      <a:pt x="2524452" y="467288"/>
                    </a:cubicBezTo>
                    <a:cubicBezTo>
                      <a:pt x="2524452" y="467288"/>
                      <a:pt x="2524452" y="467288"/>
                      <a:pt x="2554215" y="500028"/>
                    </a:cubicBezTo>
                    <a:cubicBezTo>
                      <a:pt x="2554215" y="500028"/>
                      <a:pt x="2554215" y="500028"/>
                      <a:pt x="2467901" y="753018"/>
                    </a:cubicBezTo>
                    <a:cubicBezTo>
                      <a:pt x="2503617" y="803616"/>
                      <a:pt x="2539333" y="860167"/>
                      <a:pt x="2572073" y="919694"/>
                    </a:cubicBezTo>
                    <a:cubicBezTo>
                      <a:pt x="2572073" y="919694"/>
                      <a:pt x="2572073" y="919694"/>
                      <a:pt x="2825064" y="964339"/>
                    </a:cubicBezTo>
                    <a:cubicBezTo>
                      <a:pt x="2825064" y="964339"/>
                      <a:pt x="2825064" y="964339"/>
                      <a:pt x="2836969" y="1006008"/>
                    </a:cubicBezTo>
                    <a:cubicBezTo>
                      <a:pt x="2863756" y="1089346"/>
                      <a:pt x="2878638" y="1187566"/>
                      <a:pt x="2878638" y="1190543"/>
                    </a:cubicBezTo>
                    <a:cubicBezTo>
                      <a:pt x="2878638" y="1190543"/>
                      <a:pt x="2896496" y="1291738"/>
                      <a:pt x="2899473" y="1378053"/>
                    </a:cubicBezTo>
                    <a:cubicBezTo>
                      <a:pt x="2899473" y="1378053"/>
                      <a:pt x="2899473" y="1378053"/>
                      <a:pt x="2902449" y="1419722"/>
                    </a:cubicBezTo>
                    <a:cubicBezTo>
                      <a:pt x="2902449" y="1419722"/>
                      <a:pt x="2902449" y="1419722"/>
                      <a:pt x="2691128" y="1547705"/>
                    </a:cubicBezTo>
                    <a:cubicBezTo>
                      <a:pt x="2685175" y="1619138"/>
                      <a:pt x="2676246" y="1690570"/>
                      <a:pt x="2655411" y="1762003"/>
                    </a:cubicBezTo>
                    <a:cubicBezTo>
                      <a:pt x="2655411" y="1762003"/>
                      <a:pt x="2655411" y="1762003"/>
                      <a:pt x="2810182" y="1952489"/>
                    </a:cubicBezTo>
                    <a:cubicBezTo>
                      <a:pt x="2810182" y="1952489"/>
                      <a:pt x="2810182" y="1952489"/>
                      <a:pt x="2792324" y="1988206"/>
                    </a:cubicBezTo>
                    <a:cubicBezTo>
                      <a:pt x="2759584" y="2071544"/>
                      <a:pt x="2708986" y="2160834"/>
                      <a:pt x="2706010" y="2160834"/>
                    </a:cubicBezTo>
                    <a:cubicBezTo>
                      <a:pt x="2703033" y="2169763"/>
                      <a:pt x="2655411" y="2250125"/>
                      <a:pt x="2604813" y="2318581"/>
                    </a:cubicBezTo>
                    <a:cubicBezTo>
                      <a:pt x="2604813" y="2318581"/>
                      <a:pt x="2604813" y="2318581"/>
                      <a:pt x="2581002" y="2351321"/>
                    </a:cubicBezTo>
                    <a:cubicBezTo>
                      <a:pt x="2581002" y="2351321"/>
                      <a:pt x="2581002" y="2351321"/>
                      <a:pt x="2313130" y="2309652"/>
                    </a:cubicBezTo>
                    <a:cubicBezTo>
                      <a:pt x="2271461" y="2351321"/>
                      <a:pt x="2220863" y="2390014"/>
                      <a:pt x="2170265" y="2422754"/>
                    </a:cubicBezTo>
                    <a:cubicBezTo>
                      <a:pt x="2170265" y="2422754"/>
                      <a:pt x="2170265" y="2422754"/>
                      <a:pt x="2164312" y="2699555"/>
                    </a:cubicBezTo>
                    <a:cubicBezTo>
                      <a:pt x="2164312" y="2699555"/>
                      <a:pt x="2164312" y="2699555"/>
                      <a:pt x="2128596" y="2717413"/>
                    </a:cubicBezTo>
                    <a:cubicBezTo>
                      <a:pt x="2054187" y="2756105"/>
                      <a:pt x="1958944" y="2791822"/>
                      <a:pt x="1952991" y="2791822"/>
                    </a:cubicBezTo>
                    <a:cubicBezTo>
                      <a:pt x="1950015" y="2794798"/>
                      <a:pt x="1857748" y="2824562"/>
                      <a:pt x="1774410" y="2845396"/>
                    </a:cubicBezTo>
                    <a:cubicBezTo>
                      <a:pt x="1774410" y="2845396"/>
                      <a:pt x="1774410" y="2845396"/>
                      <a:pt x="1732741" y="2854325"/>
                    </a:cubicBezTo>
                    <a:cubicBezTo>
                      <a:pt x="1732741" y="2854325"/>
                      <a:pt x="1732741" y="2854325"/>
                      <a:pt x="1542254" y="2634075"/>
                    </a:cubicBezTo>
                    <a:cubicBezTo>
                      <a:pt x="1488679" y="2637051"/>
                      <a:pt x="1438081" y="2637051"/>
                      <a:pt x="1384507" y="2634075"/>
                    </a:cubicBezTo>
                    <a:cubicBezTo>
                      <a:pt x="1384507" y="2634075"/>
                      <a:pt x="1384507" y="2634075"/>
                      <a:pt x="1194020" y="2854325"/>
                    </a:cubicBezTo>
                    <a:cubicBezTo>
                      <a:pt x="1194020" y="2854325"/>
                      <a:pt x="1194020" y="2854325"/>
                      <a:pt x="1152351" y="2845396"/>
                    </a:cubicBezTo>
                    <a:cubicBezTo>
                      <a:pt x="1069013" y="2824562"/>
                      <a:pt x="973769" y="2794798"/>
                      <a:pt x="970793" y="2791822"/>
                    </a:cubicBezTo>
                    <a:cubicBezTo>
                      <a:pt x="967817" y="2791822"/>
                      <a:pt x="875550" y="2756105"/>
                      <a:pt x="798164" y="2717413"/>
                    </a:cubicBezTo>
                    <a:cubicBezTo>
                      <a:pt x="798164" y="2717413"/>
                      <a:pt x="798164" y="2717413"/>
                      <a:pt x="759472" y="2696578"/>
                    </a:cubicBezTo>
                    <a:cubicBezTo>
                      <a:pt x="759472" y="2696578"/>
                      <a:pt x="759472" y="2696578"/>
                      <a:pt x="756495" y="2419777"/>
                    </a:cubicBezTo>
                    <a:cubicBezTo>
                      <a:pt x="705897" y="2387037"/>
                      <a:pt x="658275" y="2348345"/>
                      <a:pt x="613630" y="2306676"/>
                    </a:cubicBezTo>
                    <a:cubicBezTo>
                      <a:pt x="613630" y="2306676"/>
                      <a:pt x="613630" y="2306676"/>
                      <a:pt x="345758" y="2351321"/>
                    </a:cubicBezTo>
                    <a:cubicBezTo>
                      <a:pt x="345758" y="2351321"/>
                      <a:pt x="345758" y="2351321"/>
                      <a:pt x="321947" y="2315605"/>
                    </a:cubicBezTo>
                    <a:cubicBezTo>
                      <a:pt x="271349" y="2250125"/>
                      <a:pt x="223727" y="2169763"/>
                      <a:pt x="217774" y="2160834"/>
                    </a:cubicBezTo>
                    <a:cubicBezTo>
                      <a:pt x="217774" y="2154882"/>
                      <a:pt x="167176" y="2068567"/>
                      <a:pt x="131460" y="1988206"/>
                    </a:cubicBezTo>
                    <a:cubicBezTo>
                      <a:pt x="131460" y="1988206"/>
                      <a:pt x="131460" y="1988206"/>
                      <a:pt x="116578" y="1952489"/>
                    </a:cubicBezTo>
                    <a:cubicBezTo>
                      <a:pt x="116578" y="1952489"/>
                      <a:pt x="116578" y="1952489"/>
                      <a:pt x="274325" y="1759026"/>
                    </a:cubicBezTo>
                    <a:cubicBezTo>
                      <a:pt x="253491" y="1690570"/>
                      <a:pt x="241585" y="1616161"/>
                      <a:pt x="235633" y="1544729"/>
                    </a:cubicBezTo>
                    <a:cubicBezTo>
                      <a:pt x="235633" y="1544729"/>
                      <a:pt x="235633" y="1544729"/>
                      <a:pt x="24311" y="1419722"/>
                    </a:cubicBezTo>
                    <a:cubicBezTo>
                      <a:pt x="24311" y="1419722"/>
                      <a:pt x="24311" y="1419722"/>
                      <a:pt x="27287" y="1375077"/>
                    </a:cubicBezTo>
                    <a:cubicBezTo>
                      <a:pt x="30264" y="1288763"/>
                      <a:pt x="48122" y="1190543"/>
                      <a:pt x="48122" y="1187566"/>
                    </a:cubicBezTo>
                    <a:cubicBezTo>
                      <a:pt x="48122" y="1187566"/>
                      <a:pt x="65980" y="1089346"/>
                      <a:pt x="92767" y="1006008"/>
                    </a:cubicBezTo>
                    <a:cubicBezTo>
                      <a:pt x="92767" y="1006008"/>
                      <a:pt x="92767" y="1006008"/>
                      <a:pt x="104673" y="964339"/>
                    </a:cubicBezTo>
                    <a:cubicBezTo>
                      <a:pt x="104673" y="964339"/>
                      <a:pt x="104673" y="964339"/>
                      <a:pt x="357663" y="916718"/>
                    </a:cubicBezTo>
                    <a:cubicBezTo>
                      <a:pt x="387427" y="860167"/>
                      <a:pt x="423143" y="803616"/>
                      <a:pt x="464812" y="753018"/>
                    </a:cubicBezTo>
                    <a:cubicBezTo>
                      <a:pt x="464812" y="753018"/>
                      <a:pt x="464812" y="753018"/>
                      <a:pt x="372545" y="497051"/>
                    </a:cubicBezTo>
                    <a:cubicBezTo>
                      <a:pt x="372545" y="497051"/>
                      <a:pt x="372545" y="497051"/>
                      <a:pt x="402309" y="467288"/>
                    </a:cubicBezTo>
                    <a:cubicBezTo>
                      <a:pt x="461836" y="404784"/>
                      <a:pt x="536245" y="342281"/>
                      <a:pt x="539221" y="339305"/>
                    </a:cubicBezTo>
                    <a:cubicBezTo>
                      <a:pt x="542197" y="336328"/>
                      <a:pt x="619583" y="270848"/>
                      <a:pt x="693992" y="223227"/>
                    </a:cubicBezTo>
                    <a:cubicBezTo>
                      <a:pt x="693992" y="223227"/>
                      <a:pt x="693992" y="223227"/>
                      <a:pt x="726732" y="199416"/>
                    </a:cubicBezTo>
                    <a:cubicBezTo>
                      <a:pt x="726732" y="199416"/>
                      <a:pt x="726732" y="199416"/>
                      <a:pt x="985675" y="345257"/>
                    </a:cubicBezTo>
                    <a:cubicBezTo>
                      <a:pt x="1033297" y="330376"/>
                      <a:pt x="1080918" y="315494"/>
                      <a:pt x="1125564" y="300612"/>
                    </a:cubicBezTo>
                    <a:cubicBezTo>
                      <a:pt x="1125564" y="300612"/>
                      <a:pt x="1125564" y="300612"/>
                      <a:pt x="1235689" y="17858"/>
                    </a:cubicBezTo>
                    <a:cubicBezTo>
                      <a:pt x="1235689" y="17858"/>
                      <a:pt x="1235689" y="17858"/>
                      <a:pt x="1277358" y="11906"/>
                    </a:cubicBezTo>
                    <a:cubicBezTo>
                      <a:pt x="1360696" y="0"/>
                      <a:pt x="1461892" y="0"/>
                      <a:pt x="1464868"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2" name="Freeform 21"/>
              <p:cNvSpPr>
                <a:spLocks/>
              </p:cNvSpPr>
              <p:nvPr/>
            </p:nvSpPr>
            <p:spPr bwMode="auto">
              <a:xfrm>
                <a:off x="4449764" y="1741488"/>
                <a:ext cx="4068761" cy="4125913"/>
              </a:xfrm>
              <a:custGeom>
                <a:avLst/>
                <a:gdLst>
                  <a:gd name="connsiteX0" fmla="*/ 2733075 w 4068763"/>
                  <a:gd name="connsiteY0" fmla="*/ 2836862 h 4125912"/>
                  <a:gd name="connsiteX1" fmla="*/ 3851602 w 4068763"/>
                  <a:gd name="connsiteY1" fmla="*/ 2836862 h 4125912"/>
                  <a:gd name="connsiteX2" fmla="*/ 3860527 w 4068763"/>
                  <a:gd name="connsiteY2" fmla="*/ 2842816 h 4125912"/>
                  <a:gd name="connsiteX3" fmla="*/ 3851602 w 4068763"/>
                  <a:gd name="connsiteY3" fmla="*/ 2890449 h 4125912"/>
                  <a:gd name="connsiteX4" fmla="*/ 4006292 w 4068763"/>
                  <a:gd name="connsiteY4" fmla="*/ 3042277 h 4125912"/>
                  <a:gd name="connsiteX5" fmla="*/ 4059839 w 4068763"/>
                  <a:gd name="connsiteY5" fmla="*/ 3030369 h 4125912"/>
                  <a:gd name="connsiteX6" fmla="*/ 4068763 w 4068763"/>
                  <a:gd name="connsiteY6" fmla="*/ 3039300 h 4125912"/>
                  <a:gd name="connsiteX7" fmla="*/ 4068763 w 4068763"/>
                  <a:gd name="connsiteY7" fmla="*/ 3926452 h 4125912"/>
                  <a:gd name="connsiteX8" fmla="*/ 4059839 w 4068763"/>
                  <a:gd name="connsiteY8" fmla="*/ 3932406 h 4125912"/>
                  <a:gd name="connsiteX9" fmla="*/ 4006292 w 4068763"/>
                  <a:gd name="connsiteY9" fmla="*/ 3923475 h 4125912"/>
                  <a:gd name="connsiteX10" fmla="*/ 3851602 w 4068763"/>
                  <a:gd name="connsiteY10" fmla="*/ 4072326 h 4125912"/>
                  <a:gd name="connsiteX11" fmla="*/ 3857552 w 4068763"/>
                  <a:gd name="connsiteY11" fmla="*/ 4116981 h 4125912"/>
                  <a:gd name="connsiteX12" fmla="*/ 3851602 w 4068763"/>
                  <a:gd name="connsiteY12" fmla="*/ 4125912 h 4125912"/>
                  <a:gd name="connsiteX13" fmla="*/ 2733075 w 4068763"/>
                  <a:gd name="connsiteY13" fmla="*/ 4125912 h 4125912"/>
                  <a:gd name="connsiteX14" fmla="*/ 2730100 w 4068763"/>
                  <a:gd name="connsiteY14" fmla="*/ 4114004 h 4125912"/>
                  <a:gd name="connsiteX15" fmla="*/ 3042455 w 4068763"/>
                  <a:gd name="connsiteY15" fmla="*/ 3482876 h 4125912"/>
                  <a:gd name="connsiteX16" fmla="*/ 2730100 w 4068763"/>
                  <a:gd name="connsiteY16" fmla="*/ 2845793 h 4125912"/>
                  <a:gd name="connsiteX17" fmla="*/ 2733075 w 4068763"/>
                  <a:gd name="connsiteY17" fmla="*/ 2836862 h 4125912"/>
                  <a:gd name="connsiteX18" fmla="*/ 1232160 w 4068763"/>
                  <a:gd name="connsiteY18" fmla="*/ 2836862 h 4125912"/>
                  <a:gd name="connsiteX19" fmla="*/ 2348702 w 4068763"/>
                  <a:gd name="connsiteY19" fmla="*/ 2836862 h 4125912"/>
                  <a:gd name="connsiteX20" fmla="*/ 2354657 w 4068763"/>
                  <a:gd name="connsiteY20" fmla="*/ 2845793 h 4125912"/>
                  <a:gd name="connsiteX21" fmla="*/ 2045003 w 4068763"/>
                  <a:gd name="connsiteY21" fmla="*/ 3482876 h 4125912"/>
                  <a:gd name="connsiteX22" fmla="*/ 2354657 w 4068763"/>
                  <a:gd name="connsiteY22" fmla="*/ 4114004 h 4125912"/>
                  <a:gd name="connsiteX23" fmla="*/ 2348702 w 4068763"/>
                  <a:gd name="connsiteY23" fmla="*/ 4125912 h 4125912"/>
                  <a:gd name="connsiteX24" fmla="*/ 1235138 w 4068763"/>
                  <a:gd name="connsiteY24" fmla="*/ 4125912 h 4125912"/>
                  <a:gd name="connsiteX25" fmla="*/ 1229183 w 4068763"/>
                  <a:gd name="connsiteY25" fmla="*/ 4116981 h 4125912"/>
                  <a:gd name="connsiteX26" fmla="*/ 1235138 w 4068763"/>
                  <a:gd name="connsiteY26" fmla="*/ 4072326 h 4125912"/>
                  <a:gd name="connsiteX27" fmla="*/ 1080311 w 4068763"/>
                  <a:gd name="connsiteY27" fmla="*/ 3923475 h 4125912"/>
                  <a:gd name="connsiteX28" fmla="*/ 1029694 w 4068763"/>
                  <a:gd name="connsiteY28" fmla="*/ 3929429 h 4125912"/>
                  <a:gd name="connsiteX29" fmla="*/ 1020762 w 4068763"/>
                  <a:gd name="connsiteY29" fmla="*/ 3923475 h 4125912"/>
                  <a:gd name="connsiteX30" fmla="*/ 1020762 w 4068763"/>
                  <a:gd name="connsiteY30" fmla="*/ 3039300 h 4125912"/>
                  <a:gd name="connsiteX31" fmla="*/ 1029694 w 4068763"/>
                  <a:gd name="connsiteY31" fmla="*/ 3033346 h 4125912"/>
                  <a:gd name="connsiteX32" fmla="*/ 1080311 w 4068763"/>
                  <a:gd name="connsiteY32" fmla="*/ 3042277 h 4125912"/>
                  <a:gd name="connsiteX33" fmla="*/ 1235138 w 4068763"/>
                  <a:gd name="connsiteY33" fmla="*/ 2890449 h 4125912"/>
                  <a:gd name="connsiteX34" fmla="*/ 1229183 w 4068763"/>
                  <a:gd name="connsiteY34" fmla="*/ 2842816 h 4125912"/>
                  <a:gd name="connsiteX35" fmla="*/ 1232160 w 4068763"/>
                  <a:gd name="connsiteY35" fmla="*/ 2836862 h 4125912"/>
                  <a:gd name="connsiteX36" fmla="*/ 415132 w 4068763"/>
                  <a:gd name="connsiteY36" fmla="*/ 0 h 4125912"/>
                  <a:gd name="connsiteX37" fmla="*/ 830264 w 4068763"/>
                  <a:gd name="connsiteY37" fmla="*/ 411957 h 4125912"/>
                  <a:gd name="connsiteX38" fmla="*/ 415132 w 4068763"/>
                  <a:gd name="connsiteY38" fmla="*/ 823914 h 4125912"/>
                  <a:gd name="connsiteX39" fmla="*/ 0 w 4068763"/>
                  <a:gd name="connsiteY39" fmla="*/ 411957 h 4125912"/>
                  <a:gd name="connsiteX40" fmla="*/ 415132 w 4068763"/>
                  <a:gd name="connsiteY40" fmla="*/ 0 h 412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68763" h="4125912">
                    <a:moveTo>
                      <a:pt x="2733075" y="2836862"/>
                    </a:moveTo>
                    <a:cubicBezTo>
                      <a:pt x="2733075" y="2836862"/>
                      <a:pt x="2733075" y="2836862"/>
                      <a:pt x="3851602" y="2836862"/>
                    </a:cubicBezTo>
                    <a:cubicBezTo>
                      <a:pt x="3857552" y="2836862"/>
                      <a:pt x="3860527" y="2839839"/>
                      <a:pt x="3860527" y="2842816"/>
                    </a:cubicBezTo>
                    <a:cubicBezTo>
                      <a:pt x="3854577" y="2857701"/>
                      <a:pt x="3851602" y="2875564"/>
                      <a:pt x="3851602" y="2890449"/>
                    </a:cubicBezTo>
                    <a:cubicBezTo>
                      <a:pt x="3851602" y="2973805"/>
                      <a:pt x="3920023" y="3042277"/>
                      <a:pt x="4006292" y="3042277"/>
                    </a:cubicBezTo>
                    <a:cubicBezTo>
                      <a:pt x="4024141" y="3042277"/>
                      <a:pt x="4044965" y="3039300"/>
                      <a:pt x="4059839" y="3030369"/>
                    </a:cubicBezTo>
                    <a:cubicBezTo>
                      <a:pt x="4065788" y="3030369"/>
                      <a:pt x="4068763" y="3033346"/>
                      <a:pt x="4068763" y="3039300"/>
                    </a:cubicBezTo>
                    <a:cubicBezTo>
                      <a:pt x="4068763" y="3039300"/>
                      <a:pt x="4068763" y="3039300"/>
                      <a:pt x="4068763" y="3926452"/>
                    </a:cubicBezTo>
                    <a:cubicBezTo>
                      <a:pt x="4068763" y="3929429"/>
                      <a:pt x="4065788" y="3932406"/>
                      <a:pt x="4059839" y="3932406"/>
                    </a:cubicBezTo>
                    <a:cubicBezTo>
                      <a:pt x="4044965" y="3926452"/>
                      <a:pt x="4024141" y="3923475"/>
                      <a:pt x="4006292" y="3923475"/>
                    </a:cubicBezTo>
                    <a:cubicBezTo>
                      <a:pt x="3920023" y="3923475"/>
                      <a:pt x="3851602" y="3991946"/>
                      <a:pt x="3851602" y="4072326"/>
                    </a:cubicBezTo>
                    <a:cubicBezTo>
                      <a:pt x="3851602" y="4087211"/>
                      <a:pt x="3851602" y="4102096"/>
                      <a:pt x="3857552" y="4116981"/>
                    </a:cubicBezTo>
                    <a:cubicBezTo>
                      <a:pt x="3860527" y="4119958"/>
                      <a:pt x="3857552" y="4125912"/>
                      <a:pt x="3851602" y="4125912"/>
                    </a:cubicBezTo>
                    <a:cubicBezTo>
                      <a:pt x="3851602" y="4125912"/>
                      <a:pt x="3851602" y="4125912"/>
                      <a:pt x="2733075" y="4125912"/>
                    </a:cubicBezTo>
                    <a:cubicBezTo>
                      <a:pt x="2727125" y="4125912"/>
                      <a:pt x="2724150" y="4116981"/>
                      <a:pt x="2730100" y="4114004"/>
                    </a:cubicBezTo>
                    <a:cubicBezTo>
                      <a:pt x="2890739" y="4003854"/>
                      <a:pt x="3042455" y="3759739"/>
                      <a:pt x="3042455" y="3482876"/>
                    </a:cubicBezTo>
                    <a:cubicBezTo>
                      <a:pt x="3042455" y="3200059"/>
                      <a:pt x="2890739" y="2955943"/>
                      <a:pt x="2730100" y="2845793"/>
                    </a:cubicBezTo>
                    <a:cubicBezTo>
                      <a:pt x="2724150" y="2842816"/>
                      <a:pt x="2727125" y="2836862"/>
                      <a:pt x="2733075" y="2836862"/>
                    </a:cubicBezTo>
                    <a:close/>
                    <a:moveTo>
                      <a:pt x="1232160" y="2836862"/>
                    </a:moveTo>
                    <a:cubicBezTo>
                      <a:pt x="1232160" y="2836862"/>
                      <a:pt x="1232160" y="2836862"/>
                      <a:pt x="2348702" y="2836862"/>
                    </a:cubicBezTo>
                    <a:cubicBezTo>
                      <a:pt x="2357634" y="2836862"/>
                      <a:pt x="2360612" y="2842816"/>
                      <a:pt x="2354657" y="2845793"/>
                    </a:cubicBezTo>
                    <a:cubicBezTo>
                      <a:pt x="2196852" y="2955943"/>
                      <a:pt x="2045003" y="3200059"/>
                      <a:pt x="2045003" y="3482876"/>
                    </a:cubicBezTo>
                    <a:cubicBezTo>
                      <a:pt x="2045003" y="3759739"/>
                      <a:pt x="2196852" y="4003854"/>
                      <a:pt x="2354657" y="4114004"/>
                    </a:cubicBezTo>
                    <a:cubicBezTo>
                      <a:pt x="2360612" y="4116981"/>
                      <a:pt x="2357634" y="4125912"/>
                      <a:pt x="2348702" y="4125912"/>
                    </a:cubicBezTo>
                    <a:cubicBezTo>
                      <a:pt x="2348702" y="4125912"/>
                      <a:pt x="2348702" y="4125912"/>
                      <a:pt x="1235138" y="4125912"/>
                    </a:cubicBezTo>
                    <a:cubicBezTo>
                      <a:pt x="1232160" y="4125912"/>
                      <a:pt x="1229183" y="4119958"/>
                      <a:pt x="1229183" y="4116981"/>
                    </a:cubicBezTo>
                    <a:cubicBezTo>
                      <a:pt x="1232160" y="4102096"/>
                      <a:pt x="1235138" y="4087211"/>
                      <a:pt x="1235138" y="4072326"/>
                    </a:cubicBezTo>
                    <a:cubicBezTo>
                      <a:pt x="1235138" y="3991946"/>
                      <a:pt x="1166657" y="3923475"/>
                      <a:pt x="1080311" y="3923475"/>
                    </a:cubicBezTo>
                    <a:cubicBezTo>
                      <a:pt x="1062446" y="3923475"/>
                      <a:pt x="1044581" y="3926452"/>
                      <a:pt x="1029694" y="3929429"/>
                    </a:cubicBezTo>
                    <a:cubicBezTo>
                      <a:pt x="1026717" y="3932406"/>
                      <a:pt x="1020762" y="3929429"/>
                      <a:pt x="1020762" y="3923475"/>
                    </a:cubicBezTo>
                    <a:cubicBezTo>
                      <a:pt x="1020762" y="3923475"/>
                      <a:pt x="1020762" y="3923475"/>
                      <a:pt x="1020762" y="3039300"/>
                    </a:cubicBezTo>
                    <a:cubicBezTo>
                      <a:pt x="1020762" y="3033346"/>
                      <a:pt x="1026717" y="3030369"/>
                      <a:pt x="1029694" y="3033346"/>
                    </a:cubicBezTo>
                    <a:cubicBezTo>
                      <a:pt x="1044581" y="3039300"/>
                      <a:pt x="1062446" y="3042277"/>
                      <a:pt x="1080311" y="3042277"/>
                    </a:cubicBezTo>
                    <a:cubicBezTo>
                      <a:pt x="1166657" y="3042277"/>
                      <a:pt x="1235138" y="2973805"/>
                      <a:pt x="1235138" y="2890449"/>
                    </a:cubicBezTo>
                    <a:cubicBezTo>
                      <a:pt x="1235138" y="2875564"/>
                      <a:pt x="1232160" y="2857701"/>
                      <a:pt x="1229183" y="2842816"/>
                    </a:cubicBezTo>
                    <a:cubicBezTo>
                      <a:pt x="1226205" y="2839839"/>
                      <a:pt x="1229183" y="2836862"/>
                      <a:pt x="1232160" y="2836862"/>
                    </a:cubicBezTo>
                    <a:close/>
                    <a:moveTo>
                      <a:pt x="415132" y="0"/>
                    </a:moveTo>
                    <a:cubicBezTo>
                      <a:pt x="644403" y="0"/>
                      <a:pt x="830264" y="184439"/>
                      <a:pt x="830264" y="411957"/>
                    </a:cubicBezTo>
                    <a:cubicBezTo>
                      <a:pt x="830264" y="639475"/>
                      <a:pt x="644403" y="823914"/>
                      <a:pt x="415132" y="823914"/>
                    </a:cubicBezTo>
                    <a:cubicBezTo>
                      <a:pt x="185861" y="823914"/>
                      <a:pt x="0" y="639475"/>
                      <a:pt x="0" y="411957"/>
                    </a:cubicBezTo>
                    <a:cubicBezTo>
                      <a:pt x="0" y="184439"/>
                      <a:pt x="185861" y="0"/>
                      <a:pt x="415132" y="0"/>
                    </a:cubicBezTo>
                    <a:close/>
                  </a:path>
                </a:pathLst>
              </a:custGeom>
              <a:solidFill>
                <a:srgbClr val="295E7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3" name="Picture 2">
            <a:extLst>
              <a:ext uri="{FF2B5EF4-FFF2-40B4-BE49-F238E27FC236}">
                <a16:creationId xmlns:a16="http://schemas.microsoft.com/office/drawing/2014/main" id="{46F42C4D-A23B-704E-8644-8DF177C7EAA5}"/>
              </a:ext>
            </a:extLst>
          </p:cNvPr>
          <p:cNvPicPr>
            <a:picLocks noChangeAspect="1"/>
          </p:cNvPicPr>
          <p:nvPr/>
        </p:nvPicPr>
        <p:blipFill>
          <a:blip r:embed="rId8"/>
          <a:stretch>
            <a:fillRect/>
          </a:stretch>
        </p:blipFill>
        <p:spPr>
          <a:xfrm>
            <a:off x="6204995" y="1141631"/>
            <a:ext cx="5666622" cy="42076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54B37D0F-F313-2149-8FE9-4C813918E792}"/>
              </a:ext>
            </a:extLst>
          </p:cNvPr>
          <p:cNvPicPr>
            <a:picLocks noChangeAspect="1"/>
          </p:cNvPicPr>
          <p:nvPr/>
        </p:nvPicPr>
        <p:blipFill rotWithShape="1">
          <a:blip r:embed="rId9"/>
          <a:srcRect r="1555"/>
          <a:stretch/>
        </p:blipFill>
        <p:spPr>
          <a:xfrm>
            <a:off x="320384" y="1141631"/>
            <a:ext cx="5621483" cy="42076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TextBox 13">
            <a:extLst>
              <a:ext uri="{FF2B5EF4-FFF2-40B4-BE49-F238E27FC236}">
                <a16:creationId xmlns:a16="http://schemas.microsoft.com/office/drawing/2014/main" id="{7B8C2E99-103A-5A4B-85C3-1B4A0EBAAFC5}"/>
              </a:ext>
            </a:extLst>
          </p:cNvPr>
          <p:cNvSpPr txBox="1"/>
          <p:nvPr/>
        </p:nvSpPr>
        <p:spPr>
          <a:xfrm>
            <a:off x="1517715" y="5487589"/>
            <a:ext cx="3226819" cy="1340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sz="2000" dirty="0">
                <a:solidFill>
                  <a:schemeClr val="tx2"/>
                </a:solidFill>
                <a:latin typeface="Trebuchet MS" panose="020B0603020202020204" pitchFamily="34" charset="0"/>
              </a:rPr>
              <a:t>Apex-charts library</a:t>
            </a:r>
          </a:p>
          <a:p>
            <a:pPr marL="781200" lvl="2" indent="-216000">
              <a:buClr>
                <a:schemeClr val="tx2">
                  <a:lumMod val="100000"/>
                </a:schemeClr>
              </a:buClr>
              <a:buSzPct val="100000"/>
              <a:buFont typeface="Trebuchet MS" panose="020B0603020202020204" pitchFamily="34" charset="0"/>
              <a:buChar char="•"/>
            </a:pPr>
            <a:r>
              <a:rPr lang="en-US" dirty="0">
                <a:solidFill>
                  <a:schemeClr val="tx2"/>
                </a:solidFill>
                <a:latin typeface="Trebuchet MS" panose="020B0603020202020204" pitchFamily="34" charset="0"/>
              </a:rPr>
              <a:t>React based</a:t>
            </a:r>
          </a:p>
        </p:txBody>
      </p:sp>
      <p:sp>
        <p:nvSpPr>
          <p:cNvPr id="15" name="TextBox 14">
            <a:extLst>
              <a:ext uri="{FF2B5EF4-FFF2-40B4-BE49-F238E27FC236}">
                <a16:creationId xmlns:a16="http://schemas.microsoft.com/office/drawing/2014/main" id="{B6AB9919-B0D6-C949-B6DF-9BC977B7049E}"/>
              </a:ext>
            </a:extLst>
          </p:cNvPr>
          <p:cNvSpPr txBox="1"/>
          <p:nvPr/>
        </p:nvSpPr>
        <p:spPr>
          <a:xfrm>
            <a:off x="7844144" y="5487588"/>
            <a:ext cx="1887307" cy="1340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sz="2000" dirty="0" err="1">
                <a:solidFill>
                  <a:schemeClr val="tx2"/>
                </a:solidFill>
                <a:latin typeface="Trebuchet MS" panose="020B0603020202020204" pitchFamily="34" charset="0"/>
              </a:rPr>
              <a:t>Plotly</a:t>
            </a:r>
            <a:endParaRPr lang="en-US" sz="2000" dirty="0">
              <a:solidFill>
                <a:schemeClr val="tx2"/>
              </a:solidFill>
              <a:latin typeface="Trebuchet MS" panose="020B0603020202020204" pitchFamily="34" charset="0"/>
            </a:endParaRPr>
          </a:p>
          <a:p>
            <a:pPr marL="565200" lvl="2">
              <a:buClr>
                <a:schemeClr val="tx2">
                  <a:lumMod val="100000"/>
                </a:schemeClr>
              </a:buClr>
              <a:buSzPct val="100000"/>
            </a:pPr>
            <a:endParaRPr lang="en-US" dirty="0">
              <a:solidFill>
                <a:schemeClr val="tx2"/>
              </a:solidFill>
              <a:latin typeface="Trebuchet MS" panose="020B0603020202020204" pitchFamily="34" charset="0"/>
            </a:endParaRPr>
          </a:p>
        </p:txBody>
      </p:sp>
      <p:sp>
        <p:nvSpPr>
          <p:cNvPr id="7" name="TextBox 6">
            <a:extLst>
              <a:ext uri="{FF2B5EF4-FFF2-40B4-BE49-F238E27FC236}">
                <a16:creationId xmlns:a16="http://schemas.microsoft.com/office/drawing/2014/main" id="{9B6708EC-8EB6-7D4F-B0C4-C757A1D525AF}"/>
              </a:ext>
            </a:extLst>
          </p:cNvPr>
          <p:cNvSpPr txBox="1"/>
          <p:nvPr/>
        </p:nvSpPr>
        <p:spPr>
          <a:xfrm>
            <a:off x="179614" y="6550959"/>
            <a:ext cx="3608615" cy="2766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hlinkClick r:id="rId10"/>
              </a:rPr>
              <a:t>https://</a:t>
            </a:r>
            <a:r>
              <a:rPr lang="en-US" sz="1200" dirty="0" err="1">
                <a:solidFill>
                  <a:srgbClr val="575757"/>
                </a:solidFill>
                <a:hlinkClick r:id="rId10"/>
              </a:rPr>
              <a:t>www.macrotrends.net</a:t>
            </a:r>
            <a:endParaRPr lang="en-US" sz="1200" dirty="0">
              <a:solidFill>
                <a:srgbClr val="575757"/>
              </a:solidFill>
            </a:endParaRPr>
          </a:p>
        </p:txBody>
      </p:sp>
    </p:spTree>
    <p:extLst>
      <p:ext uri="{BB962C8B-B14F-4D97-AF65-F5344CB8AC3E}">
        <p14:creationId xmlns:p14="http://schemas.microsoft.com/office/powerpoint/2010/main" val="1377286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8" name="think-cell Slide" r:id="rId6" imgW="338" imgH="338" progId="TCLayout.ActiveDocument.1">
                  <p:embed/>
                </p:oleObj>
              </mc:Choice>
              <mc:Fallback>
                <p:oleObj name="think-cell Slide" r:id="rId6" imgW="338" imgH="338"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Picture 4"/>
          <p:cNvPicPr>
            <a:picLocks noChangeAspect="1"/>
          </p:cNvPicPr>
          <p:nvPr/>
        </p:nvPicPr>
        <p:blipFill>
          <a:blip r:embed="rId8"/>
          <a:stretch>
            <a:fillRect/>
          </a:stretch>
        </p:blipFill>
        <p:spPr>
          <a:xfrm>
            <a:off x="247303" y="2738148"/>
            <a:ext cx="6040804" cy="3681627"/>
          </a:xfrm>
          <a:prstGeom prst="rect">
            <a:avLst/>
          </a:prstGeom>
        </p:spPr>
      </p:pic>
      <p:sp>
        <p:nvSpPr>
          <p:cNvPr id="3" name="Title 2"/>
          <p:cNvSpPr>
            <a:spLocks noGrp="1"/>
          </p:cNvSpPr>
          <p:nvPr>
            <p:ph type="title"/>
          </p:nvPr>
        </p:nvSpPr>
        <p:spPr/>
        <p:txBody>
          <a:bodyPr/>
          <a:lstStyle/>
          <a:p>
            <a:r>
              <a:rPr lang="en-US" dirty="0">
                <a:solidFill>
                  <a:schemeClr val="accent6">
                    <a:lumMod val="75000"/>
                  </a:schemeClr>
                </a:solidFill>
              </a:rPr>
              <a:t>Top destinations</a:t>
            </a:r>
          </a:p>
        </p:txBody>
      </p:sp>
      <p:sp>
        <p:nvSpPr>
          <p:cNvPr id="597" name="Freeform 596"/>
          <p:cNvSpPr>
            <a:spLocks/>
          </p:cNvSpPr>
          <p:nvPr/>
        </p:nvSpPr>
        <p:spPr bwMode="auto">
          <a:xfrm>
            <a:off x="12504737" y="2807949"/>
            <a:ext cx="70970" cy="40745"/>
          </a:xfrm>
          <a:custGeom>
            <a:avLst/>
            <a:gdLst>
              <a:gd name="T0" fmla="*/ 4026 w 69"/>
              <a:gd name="T1" fmla="*/ 8379 h 36"/>
              <a:gd name="T2" fmla="*/ 4026 w 69"/>
              <a:gd name="T3" fmla="*/ 4189 h 36"/>
              <a:gd name="T4" fmla="*/ 0 w 69"/>
              <a:gd name="T5" fmla="*/ 4189 h 36"/>
              <a:gd name="T6" fmla="*/ 4026 w 69"/>
              <a:gd name="T7" fmla="*/ 4189 h 36"/>
              <a:gd name="T8" fmla="*/ 4026 w 69"/>
              <a:gd name="T9" fmla="*/ 0 h 36"/>
              <a:gd name="T10" fmla="*/ 7247 w 69"/>
              <a:gd name="T11" fmla="*/ 0 h 36"/>
              <a:gd name="T12" fmla="*/ 7247 w 69"/>
              <a:gd name="T13" fmla="*/ 4189 h 36"/>
              <a:gd name="T14" fmla="*/ 10468 w 69"/>
              <a:gd name="T15" fmla="*/ 4189 h 36"/>
              <a:gd name="T16" fmla="*/ 14495 w 69"/>
              <a:gd name="T17" fmla="*/ 4189 h 36"/>
              <a:gd name="T18" fmla="*/ 10468 w 69"/>
              <a:gd name="T19" fmla="*/ 4189 h 36"/>
              <a:gd name="T20" fmla="*/ 7247 w 69"/>
              <a:gd name="T21" fmla="*/ 8379 h 36"/>
              <a:gd name="T22" fmla="*/ 4026 w 69"/>
              <a:gd name="T23" fmla="*/ 837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599" name="Freeform 598"/>
          <p:cNvSpPr>
            <a:spLocks/>
          </p:cNvSpPr>
          <p:nvPr/>
        </p:nvSpPr>
        <p:spPr bwMode="auto">
          <a:xfrm>
            <a:off x="11419925" y="4208285"/>
            <a:ext cx="178436" cy="205868"/>
          </a:xfrm>
          <a:custGeom>
            <a:avLst/>
            <a:gdLst>
              <a:gd name="T0" fmla="*/ 0 w 175"/>
              <a:gd name="T1" fmla="*/ 28575 h 192"/>
              <a:gd name="T2" fmla="*/ 0 w 175"/>
              <a:gd name="T3" fmla="*/ 28575 h 192"/>
              <a:gd name="T4" fmla="*/ 0 w 175"/>
              <a:gd name="T5" fmla="*/ 31750 h 192"/>
              <a:gd name="T6" fmla="*/ 3991 w 175"/>
              <a:gd name="T7" fmla="*/ 31750 h 192"/>
              <a:gd name="T8" fmla="*/ 20755 w 175"/>
              <a:gd name="T9" fmla="*/ 31750 h 192"/>
              <a:gd name="T10" fmla="*/ 20755 w 175"/>
              <a:gd name="T11" fmla="*/ 34925 h 192"/>
              <a:gd name="T12" fmla="*/ 17562 w 175"/>
              <a:gd name="T13" fmla="*/ 34925 h 192"/>
              <a:gd name="T14" fmla="*/ 20755 w 175"/>
              <a:gd name="T15" fmla="*/ 34925 h 192"/>
              <a:gd name="T16" fmla="*/ 24747 w 175"/>
              <a:gd name="T17" fmla="*/ 31750 h 192"/>
              <a:gd name="T18" fmla="*/ 27940 w 175"/>
              <a:gd name="T19" fmla="*/ 31750 h 192"/>
              <a:gd name="T20" fmla="*/ 27940 w 175"/>
              <a:gd name="T21" fmla="*/ 34925 h 192"/>
              <a:gd name="T22" fmla="*/ 31931 w 175"/>
              <a:gd name="T23" fmla="*/ 34925 h 192"/>
              <a:gd name="T24" fmla="*/ 31931 w 175"/>
              <a:gd name="T25" fmla="*/ 38100 h 192"/>
              <a:gd name="T26" fmla="*/ 35125 w 175"/>
              <a:gd name="T27" fmla="*/ 38100 h 192"/>
              <a:gd name="T28" fmla="*/ 35125 w 175"/>
              <a:gd name="T29" fmla="*/ 31750 h 192"/>
              <a:gd name="T30" fmla="*/ 31931 w 175"/>
              <a:gd name="T31" fmla="*/ 31750 h 192"/>
              <a:gd name="T32" fmla="*/ 35125 w 175"/>
              <a:gd name="T33" fmla="*/ 28575 h 192"/>
              <a:gd name="T34" fmla="*/ 31931 w 175"/>
              <a:gd name="T35" fmla="*/ 31750 h 192"/>
              <a:gd name="T36" fmla="*/ 27940 w 175"/>
              <a:gd name="T37" fmla="*/ 28575 h 192"/>
              <a:gd name="T38" fmla="*/ 35125 w 175"/>
              <a:gd name="T39" fmla="*/ 22225 h 192"/>
              <a:gd name="T40" fmla="*/ 31931 w 175"/>
              <a:gd name="T41" fmla="*/ 24606 h 192"/>
              <a:gd name="T42" fmla="*/ 27940 w 175"/>
              <a:gd name="T43" fmla="*/ 22225 h 192"/>
              <a:gd name="T44" fmla="*/ 31931 w 175"/>
              <a:gd name="T45" fmla="*/ 19050 h 192"/>
              <a:gd name="T46" fmla="*/ 20755 w 175"/>
              <a:gd name="T47" fmla="*/ 19050 h 192"/>
              <a:gd name="T48" fmla="*/ 17562 w 175"/>
              <a:gd name="T49" fmla="*/ 15875 h 192"/>
              <a:gd name="T50" fmla="*/ 20755 w 175"/>
              <a:gd name="T51" fmla="*/ 12700 h 192"/>
              <a:gd name="T52" fmla="*/ 17562 w 175"/>
              <a:gd name="T53" fmla="*/ 12700 h 192"/>
              <a:gd name="T54" fmla="*/ 14369 w 175"/>
              <a:gd name="T55" fmla="*/ 15875 h 192"/>
              <a:gd name="T56" fmla="*/ 20755 w 175"/>
              <a:gd name="T57" fmla="*/ 0 h 192"/>
              <a:gd name="T58" fmla="*/ 14369 w 175"/>
              <a:gd name="T59" fmla="*/ 3175 h 192"/>
              <a:gd name="T60" fmla="*/ 3991 w 175"/>
              <a:gd name="T61" fmla="*/ 22225 h 192"/>
              <a:gd name="T62" fmla="*/ 3991 w 175"/>
              <a:gd name="T63" fmla="*/ 24606 h 192"/>
              <a:gd name="T64" fmla="*/ 0 w 175"/>
              <a:gd name="T65" fmla="*/ 28575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653" name="Freeform 652"/>
          <p:cNvSpPr>
            <a:spLocks/>
          </p:cNvSpPr>
          <p:nvPr/>
        </p:nvSpPr>
        <p:spPr bwMode="auto">
          <a:xfrm>
            <a:off x="13334062" y="2599937"/>
            <a:ext cx="36498" cy="40745"/>
          </a:xfrm>
          <a:custGeom>
            <a:avLst/>
            <a:gdLst>
              <a:gd name="T0" fmla="*/ 3969 w 36"/>
              <a:gd name="T1" fmla="*/ 0 h 36"/>
              <a:gd name="T2" fmla="*/ 3969 w 36"/>
              <a:gd name="T3" fmla="*/ 4189 h 36"/>
              <a:gd name="T4" fmla="*/ 7144 w 36"/>
              <a:gd name="T5" fmla="*/ 8379 h 36"/>
              <a:gd name="T6" fmla="*/ 3969 w 36"/>
              <a:gd name="T7" fmla="*/ 4189 h 36"/>
              <a:gd name="T8" fmla="*/ 0 w 36"/>
              <a:gd name="T9" fmla="*/ 4189 h 36"/>
              <a:gd name="T10" fmla="*/ 396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714" name="Freeform 713"/>
          <p:cNvSpPr>
            <a:spLocks/>
          </p:cNvSpPr>
          <p:nvPr/>
        </p:nvSpPr>
        <p:spPr bwMode="auto">
          <a:xfrm>
            <a:off x="12598011" y="5029613"/>
            <a:ext cx="20277" cy="17156"/>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716" name="Freeform 715"/>
          <p:cNvSpPr>
            <a:spLocks/>
          </p:cNvSpPr>
          <p:nvPr/>
        </p:nvSpPr>
        <p:spPr bwMode="auto">
          <a:xfrm>
            <a:off x="12671007" y="5029613"/>
            <a:ext cx="14194" cy="17156"/>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grpSp>
        <p:nvGrpSpPr>
          <p:cNvPr id="938" name="Group 937"/>
          <p:cNvGrpSpPr/>
          <p:nvPr/>
        </p:nvGrpSpPr>
        <p:grpSpPr>
          <a:xfrm>
            <a:off x="4960847" y="589710"/>
            <a:ext cx="6637513" cy="5870360"/>
            <a:chOff x="6526183" y="1265995"/>
            <a:chExt cx="5001158" cy="4604221"/>
          </a:xfrm>
        </p:grpSpPr>
        <p:sp>
          <p:nvSpPr>
            <p:cNvPr id="732" name="Freeform 731"/>
            <p:cNvSpPr>
              <a:spLocks/>
            </p:cNvSpPr>
            <p:nvPr/>
          </p:nvSpPr>
          <p:spPr bwMode="auto">
            <a:xfrm>
              <a:off x="6526183" y="5175228"/>
              <a:ext cx="26988" cy="26988"/>
            </a:xfrm>
            <a:custGeom>
              <a:avLst/>
              <a:gdLst>
                <a:gd name="T0" fmla="*/ 7144 w 34"/>
                <a:gd name="T1" fmla="*/ 4217 h 32"/>
                <a:gd name="T2" fmla="*/ 7144 w 34"/>
                <a:gd name="T3" fmla="*/ 4217 h 32"/>
                <a:gd name="T4" fmla="*/ 7144 w 34"/>
                <a:gd name="T5" fmla="*/ 0 h 32"/>
                <a:gd name="T6" fmla="*/ 3175 w 34"/>
                <a:gd name="T7" fmla="*/ 0 h 32"/>
                <a:gd name="T8" fmla="*/ 0 w 34"/>
                <a:gd name="T9" fmla="*/ 4217 h 32"/>
                <a:gd name="T10" fmla="*/ 3175 w 34"/>
                <a:gd name="T11" fmla="*/ 7590 h 32"/>
                <a:gd name="T12" fmla="*/ 7144 w 34"/>
                <a:gd name="T13" fmla="*/ 42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462" name="Line 42"/>
            <p:cNvSpPr>
              <a:spLocks noChangeShapeType="1"/>
            </p:cNvSpPr>
            <p:nvPr/>
          </p:nvSpPr>
          <p:spPr bwMode="auto">
            <a:xfrm flipV="1">
              <a:off x="8392550" y="4128921"/>
              <a:ext cx="18250" cy="68623"/>
            </a:xfrm>
            <a:prstGeom prst="line">
              <a:avLst/>
            </a:prstGeom>
            <a:solidFill>
              <a:schemeClr val="bg1">
                <a:lumMod val="65000"/>
              </a:schemeClr>
            </a:solidFill>
            <a:ln w="9525">
              <a:solidFill>
                <a:schemeClr val="bg1"/>
              </a:solidFill>
              <a:round/>
              <a:headEnd/>
              <a:tailEnd/>
            </a:ln>
          </p:spPr>
          <p:txBody>
            <a:bodyPr/>
            <a:lstStyle/>
            <a:p>
              <a:endParaRPr lang="en-US" dirty="0">
                <a:solidFill>
                  <a:srgbClr val="575757"/>
                </a:solidFill>
              </a:endParaRPr>
            </a:p>
          </p:txBody>
        </p:sp>
        <p:sp>
          <p:nvSpPr>
            <p:cNvPr id="463" name="Line 57"/>
            <p:cNvSpPr>
              <a:spLocks noChangeShapeType="1"/>
            </p:cNvSpPr>
            <p:nvPr/>
          </p:nvSpPr>
          <p:spPr bwMode="auto">
            <a:xfrm>
              <a:off x="11377292" y="5449904"/>
              <a:ext cx="18250" cy="17156"/>
            </a:xfrm>
            <a:prstGeom prst="line">
              <a:avLst/>
            </a:prstGeom>
            <a:solidFill>
              <a:schemeClr val="bg1">
                <a:lumMod val="65000"/>
              </a:schemeClr>
            </a:solidFill>
            <a:ln w="9525">
              <a:solidFill>
                <a:schemeClr val="bg1"/>
              </a:solidFill>
              <a:round/>
              <a:headEnd/>
              <a:tailEnd/>
            </a:ln>
          </p:spPr>
          <p:txBody>
            <a:bodyPr/>
            <a:lstStyle/>
            <a:p>
              <a:endParaRPr lang="en-US" dirty="0">
                <a:solidFill>
                  <a:srgbClr val="575757"/>
                </a:solidFill>
              </a:endParaRPr>
            </a:p>
          </p:txBody>
        </p:sp>
        <p:sp>
          <p:nvSpPr>
            <p:cNvPr id="464" name="Line 58"/>
            <p:cNvSpPr>
              <a:spLocks noChangeShapeType="1"/>
            </p:cNvSpPr>
            <p:nvPr/>
          </p:nvSpPr>
          <p:spPr bwMode="auto">
            <a:xfrm>
              <a:off x="10884567" y="5106791"/>
              <a:ext cx="38527" cy="17156"/>
            </a:xfrm>
            <a:prstGeom prst="line">
              <a:avLst/>
            </a:prstGeom>
            <a:solidFill>
              <a:schemeClr val="bg1">
                <a:lumMod val="65000"/>
              </a:schemeClr>
            </a:solidFill>
            <a:ln w="9525">
              <a:solidFill>
                <a:schemeClr val="bg1"/>
              </a:solidFill>
              <a:round/>
              <a:headEnd/>
              <a:tailEnd/>
            </a:ln>
          </p:spPr>
          <p:txBody>
            <a:bodyPr/>
            <a:lstStyle/>
            <a:p>
              <a:endParaRPr lang="en-US" dirty="0">
                <a:solidFill>
                  <a:srgbClr val="575757"/>
                </a:solidFill>
              </a:endParaRPr>
            </a:p>
          </p:txBody>
        </p:sp>
        <p:sp>
          <p:nvSpPr>
            <p:cNvPr id="465" name="Line 63"/>
            <p:cNvSpPr>
              <a:spLocks noChangeShapeType="1"/>
            </p:cNvSpPr>
            <p:nvPr/>
          </p:nvSpPr>
          <p:spPr bwMode="auto">
            <a:xfrm>
              <a:off x="10975813" y="5175414"/>
              <a:ext cx="14194" cy="17156"/>
            </a:xfrm>
            <a:prstGeom prst="line">
              <a:avLst/>
            </a:prstGeom>
            <a:solidFill>
              <a:schemeClr val="bg1">
                <a:lumMod val="65000"/>
              </a:schemeClr>
            </a:solidFill>
            <a:ln w="9525">
              <a:solidFill>
                <a:schemeClr val="bg1"/>
              </a:solidFill>
              <a:round/>
              <a:headEnd/>
              <a:tailEnd/>
            </a:ln>
          </p:spPr>
          <p:txBody>
            <a:bodyPr/>
            <a:lstStyle/>
            <a:p>
              <a:endParaRPr lang="en-US" dirty="0">
                <a:solidFill>
                  <a:srgbClr val="575757"/>
                </a:solidFill>
              </a:endParaRPr>
            </a:p>
          </p:txBody>
        </p:sp>
        <p:sp>
          <p:nvSpPr>
            <p:cNvPr id="466" name="Line 64"/>
            <p:cNvSpPr>
              <a:spLocks noChangeShapeType="1"/>
            </p:cNvSpPr>
            <p:nvPr/>
          </p:nvSpPr>
          <p:spPr bwMode="auto">
            <a:xfrm flipV="1">
              <a:off x="10975813" y="4815145"/>
              <a:ext cx="14194" cy="51467"/>
            </a:xfrm>
            <a:prstGeom prst="line">
              <a:avLst/>
            </a:prstGeom>
            <a:solidFill>
              <a:schemeClr val="bg1">
                <a:lumMod val="65000"/>
              </a:schemeClr>
            </a:solidFill>
            <a:ln w="9525">
              <a:solidFill>
                <a:schemeClr val="bg1"/>
              </a:solidFill>
              <a:round/>
              <a:headEnd/>
              <a:tailEnd/>
            </a:ln>
          </p:spPr>
          <p:txBody>
            <a:bodyPr/>
            <a:lstStyle/>
            <a:p>
              <a:endParaRPr lang="en-US" dirty="0">
                <a:solidFill>
                  <a:srgbClr val="575757"/>
                </a:solidFill>
              </a:endParaRPr>
            </a:p>
          </p:txBody>
        </p:sp>
        <p:sp>
          <p:nvSpPr>
            <p:cNvPr id="598" name="Freeform 597"/>
            <p:cNvSpPr>
              <a:spLocks/>
            </p:cNvSpPr>
            <p:nvPr/>
          </p:nvSpPr>
          <p:spPr bwMode="auto">
            <a:xfrm>
              <a:off x="9156985" y="3015949"/>
              <a:ext cx="2370356" cy="1584752"/>
            </a:xfrm>
            <a:custGeom>
              <a:avLst/>
              <a:gdLst>
                <a:gd name="T0" fmla="*/ 336550 w 2338"/>
                <a:gd name="T1" fmla="*/ 284163 h 1478"/>
                <a:gd name="T2" fmla="*/ 319088 w 2338"/>
                <a:gd name="T3" fmla="*/ 284163 h 1478"/>
                <a:gd name="T4" fmla="*/ 329406 w 2338"/>
                <a:gd name="T5" fmla="*/ 274638 h 1478"/>
                <a:gd name="T6" fmla="*/ 305594 w 2338"/>
                <a:gd name="T7" fmla="*/ 258763 h 1478"/>
                <a:gd name="T8" fmla="*/ 288131 w 2338"/>
                <a:gd name="T9" fmla="*/ 239713 h 1478"/>
                <a:gd name="T10" fmla="*/ 254000 w 2338"/>
                <a:gd name="T11" fmla="*/ 242888 h 1478"/>
                <a:gd name="T12" fmla="*/ 96044 w 2338"/>
                <a:gd name="T13" fmla="*/ 239713 h 1478"/>
                <a:gd name="T14" fmla="*/ 71438 w 2338"/>
                <a:gd name="T15" fmla="*/ 223838 h 1478"/>
                <a:gd name="T16" fmla="*/ 57944 w 2338"/>
                <a:gd name="T17" fmla="*/ 197644 h 1478"/>
                <a:gd name="T18" fmla="*/ 37306 w 2338"/>
                <a:gd name="T19" fmla="*/ 156369 h 1478"/>
                <a:gd name="T20" fmla="*/ 20638 w 2338"/>
                <a:gd name="T21" fmla="*/ 153988 h 1478"/>
                <a:gd name="T22" fmla="*/ 0 w 2338"/>
                <a:gd name="T23" fmla="*/ 141288 h 1478"/>
                <a:gd name="T24" fmla="*/ 27781 w 2338"/>
                <a:gd name="T25" fmla="*/ 36513 h 1478"/>
                <a:gd name="T26" fmla="*/ 61119 w 2338"/>
                <a:gd name="T27" fmla="*/ 20638 h 1478"/>
                <a:gd name="T28" fmla="*/ 78581 w 2338"/>
                <a:gd name="T29" fmla="*/ 23019 h 1478"/>
                <a:gd name="T30" fmla="*/ 88900 w 2338"/>
                <a:gd name="T31" fmla="*/ 33338 h 1478"/>
                <a:gd name="T32" fmla="*/ 113506 w 2338"/>
                <a:gd name="T33" fmla="*/ 33338 h 1478"/>
                <a:gd name="T34" fmla="*/ 144463 w 2338"/>
                <a:gd name="T35" fmla="*/ 42069 h 1478"/>
                <a:gd name="T36" fmla="*/ 150813 w 2338"/>
                <a:gd name="T37" fmla="*/ 58738 h 1478"/>
                <a:gd name="T38" fmla="*/ 174625 w 2338"/>
                <a:gd name="T39" fmla="*/ 49213 h 1478"/>
                <a:gd name="T40" fmla="*/ 213519 w 2338"/>
                <a:gd name="T41" fmla="*/ 55563 h 1478"/>
                <a:gd name="T42" fmla="*/ 233363 w 2338"/>
                <a:gd name="T43" fmla="*/ 45244 h 1478"/>
                <a:gd name="T44" fmla="*/ 240506 w 2338"/>
                <a:gd name="T45" fmla="*/ 36513 h 1478"/>
                <a:gd name="T46" fmla="*/ 243681 w 2338"/>
                <a:gd name="T47" fmla="*/ 58738 h 1478"/>
                <a:gd name="T48" fmla="*/ 254000 w 2338"/>
                <a:gd name="T49" fmla="*/ 33338 h 1478"/>
                <a:gd name="T50" fmla="*/ 254000 w 2338"/>
                <a:gd name="T51" fmla="*/ 0 h 1478"/>
                <a:gd name="T52" fmla="*/ 278606 w 2338"/>
                <a:gd name="T53" fmla="*/ 45244 h 1478"/>
                <a:gd name="T54" fmla="*/ 292100 w 2338"/>
                <a:gd name="T55" fmla="*/ 61913 h 1478"/>
                <a:gd name="T56" fmla="*/ 302419 w 2338"/>
                <a:gd name="T57" fmla="*/ 26988 h 1478"/>
                <a:gd name="T58" fmla="*/ 323056 w 2338"/>
                <a:gd name="T59" fmla="*/ 36513 h 1478"/>
                <a:gd name="T60" fmla="*/ 323056 w 2338"/>
                <a:gd name="T61" fmla="*/ 58738 h 1478"/>
                <a:gd name="T62" fmla="*/ 302419 w 2338"/>
                <a:gd name="T63" fmla="*/ 71438 h 1478"/>
                <a:gd name="T64" fmla="*/ 292100 w 2338"/>
                <a:gd name="T65" fmla="*/ 89694 h 1478"/>
                <a:gd name="T66" fmla="*/ 274638 w 2338"/>
                <a:gd name="T67" fmla="*/ 115888 h 1478"/>
                <a:gd name="T68" fmla="*/ 257969 w 2338"/>
                <a:gd name="T69" fmla="*/ 128588 h 1478"/>
                <a:gd name="T70" fmla="*/ 261144 w 2338"/>
                <a:gd name="T71" fmla="*/ 156369 h 1478"/>
                <a:gd name="T72" fmla="*/ 288131 w 2338"/>
                <a:gd name="T73" fmla="*/ 182563 h 1478"/>
                <a:gd name="T74" fmla="*/ 319088 w 2338"/>
                <a:gd name="T75" fmla="*/ 211138 h 1478"/>
                <a:gd name="T76" fmla="*/ 339725 w 2338"/>
                <a:gd name="T77" fmla="*/ 192088 h 1478"/>
                <a:gd name="T78" fmla="*/ 339725 w 2338"/>
                <a:gd name="T79" fmla="*/ 153988 h 1478"/>
                <a:gd name="T80" fmla="*/ 339725 w 2338"/>
                <a:gd name="T81" fmla="*/ 138113 h 1478"/>
                <a:gd name="T82" fmla="*/ 343694 w 2338"/>
                <a:gd name="T83" fmla="*/ 119063 h 1478"/>
                <a:gd name="T84" fmla="*/ 374650 w 2338"/>
                <a:gd name="T85" fmla="*/ 131763 h 1478"/>
                <a:gd name="T86" fmla="*/ 398463 w 2338"/>
                <a:gd name="T87" fmla="*/ 163513 h 1478"/>
                <a:gd name="T88" fmla="*/ 408781 w 2338"/>
                <a:gd name="T89" fmla="*/ 146844 h 1478"/>
                <a:gd name="T90" fmla="*/ 430213 w 2338"/>
                <a:gd name="T91" fmla="*/ 182563 h 1478"/>
                <a:gd name="T92" fmla="*/ 446881 w 2338"/>
                <a:gd name="T93" fmla="*/ 192088 h 1478"/>
                <a:gd name="T94" fmla="*/ 454025 w 2338"/>
                <a:gd name="T95" fmla="*/ 204788 h 1478"/>
                <a:gd name="T96" fmla="*/ 464344 w 2338"/>
                <a:gd name="T97" fmla="*/ 217488 h 1478"/>
                <a:gd name="T98" fmla="*/ 430213 w 2338"/>
                <a:gd name="T99" fmla="*/ 233363 h 1478"/>
                <a:gd name="T100" fmla="*/ 395288 w 2338"/>
                <a:gd name="T101" fmla="*/ 239713 h 1478"/>
                <a:gd name="T102" fmla="*/ 392113 w 2338"/>
                <a:gd name="T103" fmla="*/ 246063 h 1478"/>
                <a:gd name="T104" fmla="*/ 416719 w 2338"/>
                <a:gd name="T105" fmla="*/ 246063 h 1478"/>
                <a:gd name="T106" fmla="*/ 412750 w 2338"/>
                <a:gd name="T107" fmla="*/ 249238 h 1478"/>
                <a:gd name="T108" fmla="*/ 430213 w 2338"/>
                <a:gd name="T109" fmla="*/ 265113 h 1478"/>
                <a:gd name="T110" fmla="*/ 440531 w 2338"/>
                <a:gd name="T111" fmla="*/ 261938 h 1478"/>
                <a:gd name="T112" fmla="*/ 408781 w 2338"/>
                <a:gd name="T113" fmla="*/ 280988 h 1478"/>
                <a:gd name="T114" fmla="*/ 412750 w 2338"/>
                <a:gd name="T115" fmla="*/ 265113 h 1478"/>
                <a:gd name="T116" fmla="*/ 395288 w 2338"/>
                <a:gd name="T117" fmla="*/ 255588 h 1478"/>
                <a:gd name="T118" fmla="*/ 381794 w 2338"/>
                <a:gd name="T119" fmla="*/ 268288 h 1478"/>
                <a:gd name="T120" fmla="*/ 346869 w 2338"/>
                <a:gd name="T121" fmla="*/ 277813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600" name="Freeform 599"/>
            <p:cNvSpPr>
              <a:spLocks/>
            </p:cNvSpPr>
            <p:nvPr/>
          </p:nvSpPr>
          <p:spPr bwMode="auto">
            <a:xfrm>
              <a:off x="10527695" y="5835905"/>
              <a:ext cx="16221" cy="34311"/>
            </a:xfrm>
            <a:custGeom>
              <a:avLst/>
              <a:gdLst>
                <a:gd name="T0" fmla="*/ 0 w 15"/>
                <a:gd name="T1" fmla="*/ 0 h 33"/>
                <a:gd name="T2" fmla="*/ 0 w 15"/>
                <a:gd name="T3" fmla="*/ 0 h 33"/>
                <a:gd name="T4" fmla="*/ 3387 w 15"/>
                <a:gd name="T5" fmla="*/ 3079 h 33"/>
                <a:gd name="T6" fmla="*/ 0 w 15"/>
                <a:gd name="T7" fmla="*/ 3079 h 33"/>
                <a:gd name="T8" fmla="*/ 3387 w 15"/>
                <a:gd name="T9" fmla="*/ 6158 h 33"/>
                <a:gd name="T10" fmla="*/ 3387 w 15"/>
                <a:gd name="T11" fmla="*/ 3079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601" name="Freeform 600"/>
            <p:cNvSpPr>
              <a:spLocks/>
            </p:cNvSpPr>
            <p:nvPr/>
          </p:nvSpPr>
          <p:spPr bwMode="auto">
            <a:xfrm>
              <a:off x="10844013" y="5574282"/>
              <a:ext cx="18250" cy="17156"/>
            </a:xfrm>
            <a:custGeom>
              <a:avLst/>
              <a:gdLst>
                <a:gd name="T0" fmla="*/ 4202 w 17"/>
                <a:gd name="T1" fmla="*/ 2822 h 18"/>
                <a:gd name="T2" fmla="*/ 4202 w 17"/>
                <a:gd name="T3" fmla="*/ 2822 h 18"/>
                <a:gd name="T4" fmla="*/ 4202 w 17"/>
                <a:gd name="T5" fmla="*/ 0 h 18"/>
                <a:gd name="T6" fmla="*/ 0 w 17"/>
                <a:gd name="T7" fmla="*/ 0 h 18"/>
                <a:gd name="T8" fmla="*/ 4202 w 17"/>
                <a:gd name="T9" fmla="*/ 282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a:solidFill>
                <a:schemeClr val="bg1"/>
              </a:solidFill>
              <a:round/>
              <a:headEnd/>
              <a:tailEnd/>
            </a:ln>
          </p:spPr>
          <p:txBody>
            <a:bodyPr/>
            <a:lstStyle/>
            <a:p>
              <a:endParaRPr lang="en-US" dirty="0">
                <a:solidFill>
                  <a:srgbClr val="575757"/>
                </a:solidFill>
              </a:endParaRPr>
            </a:p>
          </p:txBody>
        </p:sp>
        <p:sp>
          <p:nvSpPr>
            <p:cNvPr id="482" name="Freeform 481"/>
            <p:cNvSpPr>
              <a:spLocks/>
            </p:cNvSpPr>
            <p:nvPr/>
          </p:nvSpPr>
          <p:spPr bwMode="auto">
            <a:xfrm>
              <a:off x="9759205" y="2921594"/>
              <a:ext cx="515030" cy="257335"/>
            </a:xfrm>
            <a:custGeom>
              <a:avLst/>
              <a:gdLst>
                <a:gd name="T0" fmla="*/ 90310 w 509"/>
                <a:gd name="T1" fmla="*/ 41275 h 240"/>
                <a:gd name="T2" fmla="*/ 93478 w 509"/>
                <a:gd name="T3" fmla="*/ 44450 h 240"/>
                <a:gd name="T4" fmla="*/ 90310 w 509"/>
                <a:gd name="T5" fmla="*/ 47625 h 240"/>
                <a:gd name="T6" fmla="*/ 76050 w 509"/>
                <a:gd name="T7" fmla="*/ 44450 h 240"/>
                <a:gd name="T8" fmla="*/ 65752 w 509"/>
                <a:gd name="T9" fmla="*/ 44450 h 240"/>
                <a:gd name="T10" fmla="*/ 55453 w 509"/>
                <a:gd name="T11" fmla="*/ 44450 h 240"/>
                <a:gd name="T12" fmla="*/ 48324 w 509"/>
                <a:gd name="T13" fmla="*/ 47625 h 240"/>
                <a:gd name="T14" fmla="*/ 34064 w 509"/>
                <a:gd name="T15" fmla="*/ 47625 h 240"/>
                <a:gd name="T16" fmla="*/ 30895 w 509"/>
                <a:gd name="T17" fmla="*/ 44450 h 240"/>
                <a:gd name="T18" fmla="*/ 23766 w 509"/>
                <a:gd name="T19" fmla="*/ 44450 h 240"/>
                <a:gd name="T20" fmla="*/ 13467 w 509"/>
                <a:gd name="T21" fmla="*/ 44450 h 240"/>
                <a:gd name="T22" fmla="*/ 6338 w 509"/>
                <a:gd name="T23" fmla="*/ 37306 h 240"/>
                <a:gd name="T24" fmla="*/ 20597 w 509"/>
                <a:gd name="T25" fmla="*/ 34131 h 240"/>
                <a:gd name="T26" fmla="*/ 30895 w 509"/>
                <a:gd name="T27" fmla="*/ 34131 h 240"/>
                <a:gd name="T28" fmla="*/ 23766 w 509"/>
                <a:gd name="T29" fmla="*/ 30956 h 240"/>
                <a:gd name="T30" fmla="*/ 13467 w 509"/>
                <a:gd name="T31" fmla="*/ 30956 h 240"/>
                <a:gd name="T32" fmla="*/ 3169 w 509"/>
                <a:gd name="T33" fmla="*/ 26988 h 240"/>
                <a:gd name="T34" fmla="*/ 10298 w 509"/>
                <a:gd name="T35" fmla="*/ 23813 h 240"/>
                <a:gd name="T36" fmla="*/ 3169 w 509"/>
                <a:gd name="T37" fmla="*/ 23813 h 240"/>
                <a:gd name="T38" fmla="*/ 0 w 509"/>
                <a:gd name="T39" fmla="*/ 20638 h 240"/>
                <a:gd name="T40" fmla="*/ 13467 w 509"/>
                <a:gd name="T41" fmla="*/ 7144 h 240"/>
                <a:gd name="T42" fmla="*/ 23766 w 509"/>
                <a:gd name="T43" fmla="*/ 7144 h 240"/>
                <a:gd name="T44" fmla="*/ 27727 w 509"/>
                <a:gd name="T45" fmla="*/ 13494 h 240"/>
                <a:gd name="T46" fmla="*/ 30895 w 509"/>
                <a:gd name="T47" fmla="*/ 7144 h 240"/>
                <a:gd name="T48" fmla="*/ 41194 w 509"/>
                <a:gd name="T49" fmla="*/ 10319 h 240"/>
                <a:gd name="T50" fmla="*/ 45155 w 509"/>
                <a:gd name="T51" fmla="*/ 13494 h 240"/>
                <a:gd name="T52" fmla="*/ 48324 w 509"/>
                <a:gd name="T53" fmla="*/ 10319 h 240"/>
                <a:gd name="T54" fmla="*/ 55453 w 509"/>
                <a:gd name="T55" fmla="*/ 10319 h 240"/>
                <a:gd name="T56" fmla="*/ 55453 w 509"/>
                <a:gd name="T57" fmla="*/ 17463 h 240"/>
                <a:gd name="T58" fmla="*/ 58622 w 509"/>
                <a:gd name="T59" fmla="*/ 20638 h 240"/>
                <a:gd name="T60" fmla="*/ 58622 w 509"/>
                <a:gd name="T61" fmla="*/ 13494 h 240"/>
                <a:gd name="T62" fmla="*/ 55453 w 509"/>
                <a:gd name="T63" fmla="*/ 7144 h 240"/>
                <a:gd name="T64" fmla="*/ 61791 w 509"/>
                <a:gd name="T65" fmla="*/ 3175 h 240"/>
                <a:gd name="T66" fmla="*/ 65752 w 509"/>
                <a:gd name="T67" fmla="*/ 0 h 240"/>
                <a:gd name="T68" fmla="*/ 72882 w 509"/>
                <a:gd name="T69" fmla="*/ 0 h 240"/>
                <a:gd name="T70" fmla="*/ 76050 w 509"/>
                <a:gd name="T71" fmla="*/ 3175 h 240"/>
                <a:gd name="T72" fmla="*/ 76050 w 509"/>
                <a:gd name="T73" fmla="*/ 10319 h 240"/>
                <a:gd name="T74" fmla="*/ 76050 w 509"/>
                <a:gd name="T75" fmla="*/ 20638 h 240"/>
                <a:gd name="T76" fmla="*/ 83180 w 509"/>
                <a:gd name="T77" fmla="*/ 30956 h 240"/>
                <a:gd name="T78" fmla="*/ 100608 w 509"/>
                <a:gd name="T79" fmla="*/ 37306 h 240"/>
                <a:gd name="T80" fmla="*/ 93478 w 509"/>
                <a:gd name="T81" fmla="*/ 37306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3" name="Freeform 482"/>
            <p:cNvSpPr>
              <a:spLocks/>
            </p:cNvSpPr>
            <p:nvPr/>
          </p:nvSpPr>
          <p:spPr bwMode="auto">
            <a:xfrm>
              <a:off x="9560492" y="2863693"/>
              <a:ext cx="306180" cy="203724"/>
            </a:xfrm>
            <a:custGeom>
              <a:avLst/>
              <a:gdLst>
                <a:gd name="T0" fmla="*/ 10353 w 301"/>
                <a:gd name="T1" fmla="*/ 34925 h 190"/>
                <a:gd name="T2" fmla="*/ 10353 w 301"/>
                <a:gd name="T3" fmla="*/ 30956 h 190"/>
                <a:gd name="T4" fmla="*/ 7167 w 301"/>
                <a:gd name="T5" fmla="*/ 30956 h 190"/>
                <a:gd name="T6" fmla="*/ 3982 w 301"/>
                <a:gd name="T7" fmla="*/ 30956 h 190"/>
                <a:gd name="T8" fmla="*/ 0 w 301"/>
                <a:gd name="T9" fmla="*/ 27781 h 190"/>
                <a:gd name="T10" fmla="*/ 3982 w 301"/>
                <a:gd name="T11" fmla="*/ 23813 h 190"/>
                <a:gd name="T12" fmla="*/ 10353 w 301"/>
                <a:gd name="T13" fmla="*/ 14288 h 190"/>
                <a:gd name="T14" fmla="*/ 10353 w 301"/>
                <a:gd name="T15" fmla="*/ 10319 h 190"/>
                <a:gd name="T16" fmla="*/ 10353 w 301"/>
                <a:gd name="T17" fmla="*/ 7938 h 190"/>
                <a:gd name="T18" fmla="*/ 10353 w 301"/>
                <a:gd name="T19" fmla="*/ 3969 h 190"/>
                <a:gd name="T20" fmla="*/ 7167 w 301"/>
                <a:gd name="T21" fmla="*/ 3969 h 190"/>
                <a:gd name="T22" fmla="*/ 10353 w 301"/>
                <a:gd name="T23" fmla="*/ 0 h 190"/>
                <a:gd name="T24" fmla="*/ 14335 w 301"/>
                <a:gd name="T25" fmla="*/ 0 h 190"/>
                <a:gd name="T26" fmla="*/ 21502 w 301"/>
                <a:gd name="T27" fmla="*/ 3969 h 190"/>
                <a:gd name="T28" fmla="*/ 24688 w 301"/>
                <a:gd name="T29" fmla="*/ 0 h 190"/>
                <a:gd name="T30" fmla="*/ 27874 w 301"/>
                <a:gd name="T31" fmla="*/ 0 h 190"/>
                <a:gd name="T32" fmla="*/ 31856 w 301"/>
                <a:gd name="T33" fmla="*/ 3969 h 190"/>
                <a:gd name="T34" fmla="*/ 35837 w 301"/>
                <a:gd name="T35" fmla="*/ 3969 h 190"/>
                <a:gd name="T36" fmla="*/ 39023 w 301"/>
                <a:gd name="T37" fmla="*/ 7938 h 190"/>
                <a:gd name="T38" fmla="*/ 43005 w 301"/>
                <a:gd name="T39" fmla="*/ 3969 h 190"/>
                <a:gd name="T40" fmla="*/ 46191 w 301"/>
                <a:gd name="T41" fmla="*/ 3969 h 190"/>
                <a:gd name="T42" fmla="*/ 49376 w 301"/>
                <a:gd name="T43" fmla="*/ 7938 h 190"/>
                <a:gd name="T44" fmla="*/ 56544 w 301"/>
                <a:gd name="T45" fmla="*/ 10319 h 190"/>
                <a:gd name="T46" fmla="*/ 60526 w 301"/>
                <a:gd name="T47" fmla="*/ 10319 h 190"/>
                <a:gd name="T48" fmla="*/ 56544 w 301"/>
                <a:gd name="T49" fmla="*/ 14288 h 190"/>
                <a:gd name="T50" fmla="*/ 49376 w 301"/>
                <a:gd name="T51" fmla="*/ 17463 h 190"/>
                <a:gd name="T52" fmla="*/ 46191 w 301"/>
                <a:gd name="T53" fmla="*/ 17463 h 190"/>
                <a:gd name="T54" fmla="*/ 39023 w 301"/>
                <a:gd name="T55" fmla="*/ 20638 h 190"/>
                <a:gd name="T56" fmla="*/ 35837 w 301"/>
                <a:gd name="T57" fmla="*/ 23813 h 190"/>
                <a:gd name="T58" fmla="*/ 31856 w 301"/>
                <a:gd name="T59" fmla="*/ 30956 h 190"/>
                <a:gd name="T60" fmla="*/ 27874 w 301"/>
                <a:gd name="T61" fmla="*/ 34925 h 190"/>
                <a:gd name="T62" fmla="*/ 21502 w 301"/>
                <a:gd name="T63" fmla="*/ 34925 h 190"/>
                <a:gd name="T64" fmla="*/ 14335 w 301"/>
                <a:gd name="T65" fmla="*/ 38100 h 190"/>
                <a:gd name="T66" fmla="*/ 14335 w 301"/>
                <a:gd name="T67" fmla="*/ 34925 h 190"/>
                <a:gd name="T68" fmla="*/ 10353 w 301"/>
                <a:gd name="T69" fmla="*/ 3492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4" name="Freeform 483"/>
            <p:cNvSpPr>
              <a:spLocks/>
            </p:cNvSpPr>
            <p:nvPr/>
          </p:nvSpPr>
          <p:spPr bwMode="auto">
            <a:xfrm>
              <a:off x="9795703" y="2735026"/>
              <a:ext cx="332540" cy="147968"/>
            </a:xfrm>
            <a:custGeom>
              <a:avLst/>
              <a:gdLst>
                <a:gd name="T0" fmla="*/ 20637 w 328"/>
                <a:gd name="T1" fmla="*/ 23813 h 138"/>
                <a:gd name="T2" fmla="*/ 20637 w 328"/>
                <a:gd name="T3" fmla="*/ 23813 h 138"/>
                <a:gd name="T4" fmla="*/ 23812 w 328"/>
                <a:gd name="T5" fmla="*/ 19844 h 138"/>
                <a:gd name="T6" fmla="*/ 20637 w 328"/>
                <a:gd name="T7" fmla="*/ 16669 h 138"/>
                <a:gd name="T8" fmla="*/ 16669 w 328"/>
                <a:gd name="T9" fmla="*/ 19844 h 138"/>
                <a:gd name="T10" fmla="*/ 10319 w 328"/>
                <a:gd name="T11" fmla="*/ 19844 h 138"/>
                <a:gd name="T12" fmla="*/ 3969 w 328"/>
                <a:gd name="T13" fmla="*/ 19844 h 138"/>
                <a:gd name="T14" fmla="*/ 0 w 328"/>
                <a:gd name="T15" fmla="*/ 16669 h 138"/>
                <a:gd name="T16" fmla="*/ 3969 w 328"/>
                <a:gd name="T17" fmla="*/ 13494 h 138"/>
                <a:gd name="T18" fmla="*/ 10319 w 328"/>
                <a:gd name="T19" fmla="*/ 13494 h 138"/>
                <a:gd name="T20" fmla="*/ 10319 w 328"/>
                <a:gd name="T21" fmla="*/ 13494 h 138"/>
                <a:gd name="T22" fmla="*/ 3969 w 328"/>
                <a:gd name="T23" fmla="*/ 13494 h 138"/>
                <a:gd name="T24" fmla="*/ 7144 w 328"/>
                <a:gd name="T25" fmla="*/ 9525 h 138"/>
                <a:gd name="T26" fmla="*/ 14288 w 328"/>
                <a:gd name="T27" fmla="*/ 9525 h 138"/>
                <a:gd name="T28" fmla="*/ 14288 w 328"/>
                <a:gd name="T29" fmla="*/ 9525 h 138"/>
                <a:gd name="T30" fmla="*/ 7144 w 328"/>
                <a:gd name="T31" fmla="*/ 9525 h 138"/>
                <a:gd name="T32" fmla="*/ 10319 w 328"/>
                <a:gd name="T33" fmla="*/ 7144 h 138"/>
                <a:gd name="T34" fmla="*/ 10319 w 328"/>
                <a:gd name="T35" fmla="*/ 3175 h 138"/>
                <a:gd name="T36" fmla="*/ 16669 w 328"/>
                <a:gd name="T37" fmla="*/ 3175 h 138"/>
                <a:gd name="T38" fmla="*/ 23812 w 328"/>
                <a:gd name="T39" fmla="*/ 7144 h 138"/>
                <a:gd name="T40" fmla="*/ 34131 w 328"/>
                <a:gd name="T41" fmla="*/ 13494 h 138"/>
                <a:gd name="T42" fmla="*/ 44450 w 328"/>
                <a:gd name="T43" fmla="*/ 13494 h 138"/>
                <a:gd name="T44" fmla="*/ 44450 w 328"/>
                <a:gd name="T45" fmla="*/ 13494 h 138"/>
                <a:gd name="T46" fmla="*/ 44450 w 328"/>
                <a:gd name="T47" fmla="*/ 9525 h 138"/>
                <a:gd name="T48" fmla="*/ 40481 w 328"/>
                <a:gd name="T49" fmla="*/ 7144 h 138"/>
                <a:gd name="T50" fmla="*/ 37306 w 328"/>
                <a:gd name="T51" fmla="*/ 3175 h 138"/>
                <a:gd name="T52" fmla="*/ 44450 w 328"/>
                <a:gd name="T53" fmla="*/ 0 h 138"/>
                <a:gd name="T54" fmla="*/ 47625 w 328"/>
                <a:gd name="T55" fmla="*/ 3175 h 138"/>
                <a:gd name="T56" fmla="*/ 51594 w 328"/>
                <a:gd name="T57" fmla="*/ 9525 h 138"/>
                <a:gd name="T58" fmla="*/ 61913 w 328"/>
                <a:gd name="T59" fmla="*/ 7144 h 138"/>
                <a:gd name="T60" fmla="*/ 65088 w 328"/>
                <a:gd name="T61" fmla="*/ 9525 h 138"/>
                <a:gd name="T62" fmla="*/ 61913 w 328"/>
                <a:gd name="T63" fmla="*/ 19844 h 138"/>
                <a:gd name="T64" fmla="*/ 47625 w 328"/>
                <a:gd name="T65" fmla="*/ 19844 h 138"/>
                <a:gd name="T66" fmla="*/ 37306 w 328"/>
                <a:gd name="T67" fmla="*/ 23813 h 138"/>
                <a:gd name="T68" fmla="*/ 30956 w 328"/>
                <a:gd name="T69" fmla="*/ 23813 h 138"/>
                <a:gd name="T70" fmla="*/ 23812 w 328"/>
                <a:gd name="T71" fmla="*/ 27781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5" name="Freeform 484"/>
            <p:cNvSpPr>
              <a:spLocks/>
            </p:cNvSpPr>
            <p:nvPr/>
          </p:nvSpPr>
          <p:spPr bwMode="auto">
            <a:xfrm>
              <a:off x="9649710" y="2696425"/>
              <a:ext cx="198712" cy="111512"/>
            </a:xfrm>
            <a:custGeom>
              <a:avLst/>
              <a:gdLst>
                <a:gd name="T0" fmla="*/ 38894 w 196"/>
                <a:gd name="T1" fmla="*/ 0 h 104"/>
                <a:gd name="T2" fmla="*/ 38894 w 196"/>
                <a:gd name="T3" fmla="*/ 3969 h 104"/>
                <a:gd name="T4" fmla="*/ 35719 w 196"/>
                <a:gd name="T5" fmla="*/ 3969 h 104"/>
                <a:gd name="T6" fmla="*/ 35719 w 196"/>
                <a:gd name="T7" fmla="*/ 7144 h 104"/>
                <a:gd name="T8" fmla="*/ 38894 w 196"/>
                <a:gd name="T9" fmla="*/ 7144 h 104"/>
                <a:gd name="T10" fmla="*/ 35719 w 196"/>
                <a:gd name="T11" fmla="*/ 7144 h 104"/>
                <a:gd name="T12" fmla="*/ 28575 w 196"/>
                <a:gd name="T13" fmla="*/ 14288 h 104"/>
                <a:gd name="T14" fmla="*/ 24606 w 196"/>
                <a:gd name="T15" fmla="*/ 10319 h 104"/>
                <a:gd name="T16" fmla="*/ 24606 w 196"/>
                <a:gd name="T17" fmla="*/ 7144 h 104"/>
                <a:gd name="T18" fmla="*/ 20637 w 196"/>
                <a:gd name="T19" fmla="*/ 10319 h 104"/>
                <a:gd name="T20" fmla="*/ 20637 w 196"/>
                <a:gd name="T21" fmla="*/ 14288 h 104"/>
                <a:gd name="T22" fmla="*/ 18256 w 196"/>
                <a:gd name="T23" fmla="*/ 14288 h 104"/>
                <a:gd name="T24" fmla="*/ 18256 w 196"/>
                <a:gd name="T25" fmla="*/ 17463 h 104"/>
                <a:gd name="T26" fmla="*/ 18256 w 196"/>
                <a:gd name="T27" fmla="*/ 20638 h 104"/>
                <a:gd name="T28" fmla="*/ 14288 w 196"/>
                <a:gd name="T29" fmla="*/ 20638 h 104"/>
                <a:gd name="T30" fmla="*/ 10319 w 196"/>
                <a:gd name="T31" fmla="*/ 20638 h 104"/>
                <a:gd name="T32" fmla="*/ 10319 w 196"/>
                <a:gd name="T33" fmla="*/ 17463 h 104"/>
                <a:gd name="T34" fmla="*/ 7144 w 196"/>
                <a:gd name="T35" fmla="*/ 17463 h 104"/>
                <a:gd name="T36" fmla="*/ 3969 w 196"/>
                <a:gd name="T37" fmla="*/ 17463 h 104"/>
                <a:gd name="T38" fmla="*/ 0 w 196"/>
                <a:gd name="T39" fmla="*/ 17463 h 104"/>
                <a:gd name="T40" fmla="*/ 0 w 196"/>
                <a:gd name="T41" fmla="*/ 14288 h 104"/>
                <a:gd name="T42" fmla="*/ 3969 w 196"/>
                <a:gd name="T43" fmla="*/ 10319 h 104"/>
                <a:gd name="T44" fmla="*/ 7144 w 196"/>
                <a:gd name="T45" fmla="*/ 10319 h 104"/>
                <a:gd name="T46" fmla="*/ 10319 w 196"/>
                <a:gd name="T47" fmla="*/ 7144 h 104"/>
                <a:gd name="T48" fmla="*/ 14288 w 196"/>
                <a:gd name="T49" fmla="*/ 7144 h 104"/>
                <a:gd name="T50" fmla="*/ 18256 w 196"/>
                <a:gd name="T51" fmla="*/ 7144 h 104"/>
                <a:gd name="T52" fmla="*/ 18256 w 196"/>
                <a:gd name="T53" fmla="*/ 3969 h 104"/>
                <a:gd name="T54" fmla="*/ 20637 w 196"/>
                <a:gd name="T55" fmla="*/ 0 h 104"/>
                <a:gd name="T56" fmla="*/ 24606 w 196"/>
                <a:gd name="T57" fmla="*/ 0 h 104"/>
                <a:gd name="T58" fmla="*/ 28575 w 196"/>
                <a:gd name="T59" fmla="*/ 0 h 104"/>
                <a:gd name="T60" fmla="*/ 35719 w 196"/>
                <a:gd name="T61" fmla="*/ 0 h 104"/>
                <a:gd name="T62" fmla="*/ 38894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6" name="Freeform 485"/>
            <p:cNvSpPr>
              <a:spLocks/>
            </p:cNvSpPr>
            <p:nvPr/>
          </p:nvSpPr>
          <p:spPr bwMode="auto">
            <a:xfrm>
              <a:off x="9915337" y="2623514"/>
              <a:ext cx="107467" cy="38600"/>
            </a:xfrm>
            <a:custGeom>
              <a:avLst/>
              <a:gdLst>
                <a:gd name="T0" fmla="*/ 7144 w 106"/>
                <a:gd name="T1" fmla="*/ 7144 h 36"/>
                <a:gd name="T2" fmla="*/ 3969 w 106"/>
                <a:gd name="T3" fmla="*/ 3969 h 36"/>
                <a:gd name="T4" fmla="*/ 0 w 106"/>
                <a:gd name="T5" fmla="*/ 3969 h 36"/>
                <a:gd name="T6" fmla="*/ 0 w 106"/>
                <a:gd name="T7" fmla="*/ 7144 h 36"/>
                <a:gd name="T8" fmla="*/ 0 w 106"/>
                <a:gd name="T9" fmla="*/ 0 h 36"/>
                <a:gd name="T10" fmla="*/ 7144 w 106"/>
                <a:gd name="T11" fmla="*/ 0 h 36"/>
                <a:gd name="T12" fmla="*/ 10319 w 106"/>
                <a:gd name="T13" fmla="*/ 0 h 36"/>
                <a:gd name="T14" fmla="*/ 14288 w 106"/>
                <a:gd name="T15" fmla="*/ 0 h 36"/>
                <a:gd name="T16" fmla="*/ 17463 w 106"/>
                <a:gd name="T17" fmla="*/ 0 h 36"/>
                <a:gd name="T18" fmla="*/ 21431 w 106"/>
                <a:gd name="T19" fmla="*/ 3969 h 36"/>
                <a:gd name="T20" fmla="*/ 17463 w 106"/>
                <a:gd name="T21" fmla="*/ 3969 h 36"/>
                <a:gd name="T22" fmla="*/ 14288 w 106"/>
                <a:gd name="T23" fmla="*/ 7144 h 36"/>
                <a:gd name="T24" fmla="*/ 10319 w 106"/>
                <a:gd name="T25" fmla="*/ 7144 h 36"/>
                <a:gd name="T26" fmla="*/ 7144 w 106"/>
                <a:gd name="T27" fmla="*/ 7144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7" name="Freeform 486"/>
            <p:cNvSpPr>
              <a:spLocks/>
            </p:cNvSpPr>
            <p:nvPr/>
          </p:nvSpPr>
          <p:spPr bwMode="auto">
            <a:xfrm>
              <a:off x="9915337" y="2662114"/>
              <a:ext cx="91247" cy="55756"/>
            </a:xfrm>
            <a:custGeom>
              <a:avLst/>
              <a:gdLst>
                <a:gd name="T0" fmla="*/ 14612 w 88"/>
                <a:gd name="T1" fmla="*/ 3969 h 52"/>
                <a:gd name="T2" fmla="*/ 11365 w 88"/>
                <a:gd name="T3" fmla="*/ 7144 h 52"/>
                <a:gd name="T4" fmla="*/ 4059 w 88"/>
                <a:gd name="T5" fmla="*/ 10319 h 52"/>
                <a:gd name="T6" fmla="*/ 0 w 88"/>
                <a:gd name="T7" fmla="*/ 7144 h 52"/>
                <a:gd name="T8" fmla="*/ 0 w 88"/>
                <a:gd name="T9" fmla="*/ 3969 h 52"/>
                <a:gd name="T10" fmla="*/ 0 w 88"/>
                <a:gd name="T11" fmla="*/ 0 h 52"/>
                <a:gd name="T12" fmla="*/ 11365 w 88"/>
                <a:gd name="T13" fmla="*/ 0 h 52"/>
                <a:gd name="T14" fmla="*/ 14612 w 88"/>
                <a:gd name="T15" fmla="*/ 0 h 52"/>
                <a:gd name="T16" fmla="*/ 18671 w 88"/>
                <a:gd name="T17" fmla="*/ 0 h 52"/>
                <a:gd name="T18" fmla="*/ 18671 w 88"/>
                <a:gd name="T19" fmla="*/ 3969 h 52"/>
                <a:gd name="T20" fmla="*/ 14612 w 88"/>
                <a:gd name="T21" fmla="*/ 3969 h 52"/>
                <a:gd name="T22" fmla="*/ 11365 w 88"/>
                <a:gd name="T23" fmla="*/ 3969 h 52"/>
                <a:gd name="T24" fmla="*/ 14612 w 88"/>
                <a:gd name="T25" fmla="*/ 3969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8" name="Freeform 487"/>
            <p:cNvSpPr>
              <a:spLocks/>
            </p:cNvSpPr>
            <p:nvPr/>
          </p:nvSpPr>
          <p:spPr bwMode="auto">
            <a:xfrm>
              <a:off x="9866672" y="2735026"/>
              <a:ext cx="34471" cy="0"/>
            </a:xfrm>
            <a:custGeom>
              <a:avLst/>
              <a:gdLst>
                <a:gd name="T0" fmla="*/ 3084 w 35"/>
                <a:gd name="T1" fmla="*/ 0 w 35"/>
                <a:gd name="T2" fmla="*/ 3084 w 35"/>
                <a:gd name="T3" fmla="*/ 6169 w 35"/>
                <a:gd name="T4" fmla="*/ 3084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89" name="Freeform 488"/>
            <p:cNvSpPr>
              <a:spLocks/>
            </p:cNvSpPr>
            <p:nvPr/>
          </p:nvSpPr>
          <p:spPr bwMode="auto">
            <a:xfrm>
              <a:off x="10150548" y="2735026"/>
              <a:ext cx="196685" cy="113656"/>
            </a:xfrm>
            <a:custGeom>
              <a:avLst/>
              <a:gdLst>
                <a:gd name="T0" fmla="*/ 3969 w 194"/>
                <a:gd name="T1" fmla="*/ 7212 h 105"/>
                <a:gd name="T2" fmla="*/ 3969 w 194"/>
                <a:gd name="T3" fmla="*/ 4007 h 105"/>
                <a:gd name="T4" fmla="*/ 0 w 194"/>
                <a:gd name="T5" fmla="*/ 0 h 105"/>
                <a:gd name="T6" fmla="*/ 3969 w 194"/>
                <a:gd name="T7" fmla="*/ 0 h 105"/>
                <a:gd name="T8" fmla="*/ 10319 w 194"/>
                <a:gd name="T9" fmla="*/ 4007 h 105"/>
                <a:gd name="T10" fmla="*/ 14288 w 194"/>
                <a:gd name="T11" fmla="*/ 11218 h 105"/>
                <a:gd name="T12" fmla="*/ 20638 w 194"/>
                <a:gd name="T13" fmla="*/ 11218 h 105"/>
                <a:gd name="T14" fmla="*/ 18256 w 194"/>
                <a:gd name="T15" fmla="*/ 11218 h 105"/>
                <a:gd name="T16" fmla="*/ 14288 w 194"/>
                <a:gd name="T17" fmla="*/ 7212 h 105"/>
                <a:gd name="T18" fmla="*/ 14288 w 194"/>
                <a:gd name="T19" fmla="*/ 4007 h 105"/>
                <a:gd name="T20" fmla="*/ 18256 w 194"/>
                <a:gd name="T21" fmla="*/ 7212 h 105"/>
                <a:gd name="T22" fmla="*/ 24606 w 194"/>
                <a:gd name="T23" fmla="*/ 7212 h 105"/>
                <a:gd name="T24" fmla="*/ 24606 w 194"/>
                <a:gd name="T25" fmla="*/ 11218 h 105"/>
                <a:gd name="T26" fmla="*/ 24606 w 194"/>
                <a:gd name="T27" fmla="*/ 7212 h 105"/>
                <a:gd name="T28" fmla="*/ 24606 w 194"/>
                <a:gd name="T29" fmla="*/ 4007 h 105"/>
                <a:gd name="T30" fmla="*/ 20638 w 194"/>
                <a:gd name="T31" fmla="*/ 4007 h 105"/>
                <a:gd name="T32" fmla="*/ 20638 w 194"/>
                <a:gd name="T33" fmla="*/ 0 h 105"/>
                <a:gd name="T34" fmla="*/ 24606 w 194"/>
                <a:gd name="T35" fmla="*/ 0 h 105"/>
                <a:gd name="T36" fmla="*/ 28575 w 194"/>
                <a:gd name="T37" fmla="*/ 4007 h 105"/>
                <a:gd name="T38" fmla="*/ 31750 w 194"/>
                <a:gd name="T39" fmla="*/ 4007 h 105"/>
                <a:gd name="T40" fmla="*/ 35719 w 194"/>
                <a:gd name="T41" fmla="*/ 4007 h 105"/>
                <a:gd name="T42" fmla="*/ 35719 w 194"/>
                <a:gd name="T43" fmla="*/ 0 h 105"/>
                <a:gd name="T44" fmla="*/ 35719 w 194"/>
                <a:gd name="T45" fmla="*/ 4007 h 105"/>
                <a:gd name="T46" fmla="*/ 38894 w 194"/>
                <a:gd name="T47" fmla="*/ 4007 h 105"/>
                <a:gd name="T48" fmla="*/ 38894 w 194"/>
                <a:gd name="T49" fmla="*/ 7212 h 105"/>
                <a:gd name="T50" fmla="*/ 38894 w 194"/>
                <a:gd name="T51" fmla="*/ 14424 h 105"/>
                <a:gd name="T52" fmla="*/ 35719 w 194"/>
                <a:gd name="T53" fmla="*/ 14424 h 105"/>
                <a:gd name="T54" fmla="*/ 35719 w 194"/>
                <a:gd name="T55" fmla="*/ 21635 h 105"/>
                <a:gd name="T56" fmla="*/ 31750 w 194"/>
                <a:gd name="T57" fmla="*/ 21635 h 105"/>
                <a:gd name="T58" fmla="*/ 28575 w 194"/>
                <a:gd name="T59" fmla="*/ 21635 h 105"/>
                <a:gd name="T60" fmla="*/ 24606 w 194"/>
                <a:gd name="T61" fmla="*/ 21635 h 105"/>
                <a:gd name="T62" fmla="*/ 24606 w 194"/>
                <a:gd name="T63" fmla="*/ 17629 h 105"/>
                <a:gd name="T64" fmla="*/ 24606 w 194"/>
                <a:gd name="T65" fmla="*/ 14424 h 105"/>
                <a:gd name="T66" fmla="*/ 28575 w 194"/>
                <a:gd name="T67" fmla="*/ 14424 h 105"/>
                <a:gd name="T68" fmla="*/ 24606 w 194"/>
                <a:gd name="T69" fmla="*/ 14424 h 105"/>
                <a:gd name="T70" fmla="*/ 18256 w 194"/>
                <a:gd name="T71" fmla="*/ 14424 h 105"/>
                <a:gd name="T72" fmla="*/ 14288 w 194"/>
                <a:gd name="T73" fmla="*/ 14424 h 105"/>
                <a:gd name="T74" fmla="*/ 10319 w 194"/>
                <a:gd name="T75" fmla="*/ 14424 h 105"/>
                <a:gd name="T76" fmla="*/ 7938 w 194"/>
                <a:gd name="T77" fmla="*/ 14424 h 105"/>
                <a:gd name="T78" fmla="*/ 7938 w 194"/>
                <a:gd name="T79" fmla="*/ 11218 h 105"/>
                <a:gd name="T80" fmla="*/ 3969 w 194"/>
                <a:gd name="T81" fmla="*/ 11218 h 105"/>
                <a:gd name="T82" fmla="*/ 3969 w 194"/>
                <a:gd name="T83" fmla="*/ 7212 h 105"/>
                <a:gd name="T84" fmla="*/ 3969 w 194"/>
                <a:gd name="T85" fmla="*/ 4007 h 105"/>
                <a:gd name="T86" fmla="*/ 3969 w 194"/>
                <a:gd name="T87" fmla="*/ 7212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0" name="Freeform 489"/>
            <p:cNvSpPr>
              <a:spLocks/>
            </p:cNvSpPr>
            <p:nvPr/>
          </p:nvSpPr>
          <p:spPr bwMode="auto">
            <a:xfrm>
              <a:off x="10109994" y="2679270"/>
              <a:ext cx="40554" cy="38600"/>
            </a:xfrm>
            <a:custGeom>
              <a:avLst/>
              <a:gdLst>
                <a:gd name="T0" fmla="*/ 9191 w 38"/>
                <a:gd name="T1" fmla="*/ 3969 h 36"/>
                <a:gd name="T2" fmla="*/ 9191 w 38"/>
                <a:gd name="T3" fmla="*/ 7144 h 36"/>
                <a:gd name="T4" fmla="*/ 4178 w 38"/>
                <a:gd name="T5" fmla="*/ 7144 h 36"/>
                <a:gd name="T6" fmla="*/ 0 w 38"/>
                <a:gd name="T7" fmla="*/ 3969 h 36"/>
                <a:gd name="T8" fmla="*/ 0 w 38"/>
                <a:gd name="T9" fmla="*/ 0 h 36"/>
                <a:gd name="T10" fmla="*/ 4178 w 38"/>
                <a:gd name="T11" fmla="*/ 0 h 36"/>
                <a:gd name="T12" fmla="*/ 9191 w 38"/>
                <a:gd name="T13" fmla="*/ 3969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1" name="Freeform 490"/>
            <p:cNvSpPr>
              <a:spLocks/>
            </p:cNvSpPr>
            <p:nvPr/>
          </p:nvSpPr>
          <p:spPr bwMode="auto">
            <a:xfrm>
              <a:off x="10150548" y="2807936"/>
              <a:ext cx="38527" cy="40744"/>
            </a:xfrm>
            <a:custGeom>
              <a:avLst/>
              <a:gdLst>
                <a:gd name="T0" fmla="*/ 3094 w 39"/>
                <a:gd name="T1" fmla="*/ 0 h 36"/>
                <a:gd name="T2" fmla="*/ 6961 w 39"/>
                <a:gd name="T3" fmla="*/ 4189 h 36"/>
                <a:gd name="T4" fmla="*/ 3094 w 39"/>
                <a:gd name="T5" fmla="*/ 8379 h 36"/>
                <a:gd name="T6" fmla="*/ 0 w 39"/>
                <a:gd name="T7" fmla="*/ 8379 h 36"/>
                <a:gd name="T8" fmla="*/ 0 w 39"/>
                <a:gd name="T9" fmla="*/ 4189 h 36"/>
                <a:gd name="T10" fmla="*/ 0 w 39"/>
                <a:gd name="T11" fmla="*/ 0 h 36"/>
                <a:gd name="T12" fmla="*/ 3094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2" name="Freeform 491"/>
            <p:cNvSpPr>
              <a:spLocks/>
            </p:cNvSpPr>
            <p:nvPr/>
          </p:nvSpPr>
          <p:spPr bwMode="auto">
            <a:xfrm>
              <a:off x="10219489" y="2662114"/>
              <a:ext cx="36498" cy="17156"/>
            </a:xfrm>
            <a:custGeom>
              <a:avLst/>
              <a:gdLst>
                <a:gd name="T0" fmla="*/ 0 w 37"/>
                <a:gd name="T1" fmla="*/ 3175 h 16"/>
                <a:gd name="T2" fmla="*/ 0 w 37"/>
                <a:gd name="T3" fmla="*/ 0 h 16"/>
                <a:gd name="T4" fmla="*/ 3861 w 37"/>
                <a:gd name="T5" fmla="*/ 0 h 16"/>
                <a:gd name="T6" fmla="*/ 3861 w 37"/>
                <a:gd name="T7" fmla="*/ 3175 h 16"/>
                <a:gd name="T8" fmla="*/ 6951 w 37"/>
                <a:gd name="T9" fmla="*/ 3175 h 16"/>
                <a:gd name="T10" fmla="*/ 3861 w 37"/>
                <a:gd name="T11" fmla="*/ 3175 h 16"/>
                <a:gd name="T12" fmla="*/ 0 w 37"/>
                <a:gd name="T13" fmla="*/ 3175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3" name="Freeform 492"/>
            <p:cNvSpPr>
              <a:spLocks/>
            </p:cNvSpPr>
            <p:nvPr/>
          </p:nvSpPr>
          <p:spPr bwMode="auto">
            <a:xfrm>
              <a:off x="10292485" y="2531303"/>
              <a:ext cx="36498" cy="19301"/>
            </a:xfrm>
            <a:custGeom>
              <a:avLst/>
              <a:gdLst>
                <a:gd name="T0" fmla="*/ 6951 w 37"/>
                <a:gd name="T1" fmla="*/ 0 h 19"/>
                <a:gd name="T2" fmla="*/ 6951 w 37"/>
                <a:gd name="T3" fmla="*/ 3008 h 19"/>
                <a:gd name="T4" fmla="*/ 3089 w 37"/>
                <a:gd name="T5" fmla="*/ 3008 h 19"/>
                <a:gd name="T6" fmla="*/ 0 w 37"/>
                <a:gd name="T7" fmla="*/ 0 h 19"/>
                <a:gd name="T8" fmla="*/ 3089 w 37"/>
                <a:gd name="T9" fmla="*/ 0 h 19"/>
                <a:gd name="T10" fmla="*/ 6951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4" name="Freeform 493"/>
            <p:cNvSpPr>
              <a:spLocks/>
            </p:cNvSpPr>
            <p:nvPr/>
          </p:nvSpPr>
          <p:spPr bwMode="auto">
            <a:xfrm>
              <a:off x="10134326" y="2569903"/>
              <a:ext cx="180464" cy="109367"/>
            </a:xfrm>
            <a:custGeom>
              <a:avLst/>
              <a:gdLst>
                <a:gd name="T0" fmla="*/ 24469 w 179"/>
                <a:gd name="T1" fmla="*/ 16669 h 102"/>
                <a:gd name="T2" fmla="*/ 17365 w 179"/>
                <a:gd name="T3" fmla="*/ 13494 h 102"/>
                <a:gd name="T4" fmla="*/ 14208 w 179"/>
                <a:gd name="T5" fmla="*/ 13494 h 102"/>
                <a:gd name="T6" fmla="*/ 11050 w 179"/>
                <a:gd name="T7" fmla="*/ 13494 h 102"/>
                <a:gd name="T8" fmla="*/ 7104 w 179"/>
                <a:gd name="T9" fmla="*/ 13494 h 102"/>
                <a:gd name="T10" fmla="*/ 3157 w 179"/>
                <a:gd name="T11" fmla="*/ 13494 h 102"/>
                <a:gd name="T12" fmla="*/ 3157 w 179"/>
                <a:gd name="T13" fmla="*/ 10319 h 102"/>
                <a:gd name="T14" fmla="*/ 7104 w 179"/>
                <a:gd name="T15" fmla="*/ 10319 h 102"/>
                <a:gd name="T16" fmla="*/ 3157 w 179"/>
                <a:gd name="T17" fmla="*/ 10319 h 102"/>
                <a:gd name="T18" fmla="*/ 3157 w 179"/>
                <a:gd name="T19" fmla="*/ 7144 h 102"/>
                <a:gd name="T20" fmla="*/ 0 w 179"/>
                <a:gd name="T21" fmla="*/ 7144 h 102"/>
                <a:gd name="T22" fmla="*/ 0 w 179"/>
                <a:gd name="T23" fmla="*/ 2381 h 102"/>
                <a:gd name="T24" fmla="*/ 3157 w 179"/>
                <a:gd name="T25" fmla="*/ 2381 h 102"/>
                <a:gd name="T26" fmla="*/ 3157 w 179"/>
                <a:gd name="T27" fmla="*/ 0 h 102"/>
                <a:gd name="T28" fmla="*/ 7104 w 179"/>
                <a:gd name="T29" fmla="*/ 2381 h 102"/>
                <a:gd name="T30" fmla="*/ 11050 w 179"/>
                <a:gd name="T31" fmla="*/ 2381 h 102"/>
                <a:gd name="T32" fmla="*/ 14208 w 179"/>
                <a:gd name="T33" fmla="*/ 7144 h 102"/>
                <a:gd name="T34" fmla="*/ 14208 w 179"/>
                <a:gd name="T35" fmla="*/ 2381 h 102"/>
                <a:gd name="T36" fmla="*/ 17365 w 179"/>
                <a:gd name="T37" fmla="*/ 2381 h 102"/>
                <a:gd name="T38" fmla="*/ 21312 w 179"/>
                <a:gd name="T39" fmla="*/ 7144 h 102"/>
                <a:gd name="T40" fmla="*/ 21312 w 179"/>
                <a:gd name="T41" fmla="*/ 10319 h 102"/>
                <a:gd name="T42" fmla="*/ 24469 w 179"/>
                <a:gd name="T43" fmla="*/ 10319 h 102"/>
                <a:gd name="T44" fmla="*/ 24469 w 179"/>
                <a:gd name="T45" fmla="*/ 7144 h 102"/>
                <a:gd name="T46" fmla="*/ 28415 w 179"/>
                <a:gd name="T47" fmla="*/ 7144 h 102"/>
                <a:gd name="T48" fmla="*/ 28415 w 179"/>
                <a:gd name="T49" fmla="*/ 10319 h 102"/>
                <a:gd name="T50" fmla="*/ 31573 w 179"/>
                <a:gd name="T51" fmla="*/ 10319 h 102"/>
                <a:gd name="T52" fmla="*/ 28415 w 179"/>
                <a:gd name="T53" fmla="*/ 10319 h 102"/>
                <a:gd name="T54" fmla="*/ 31573 w 179"/>
                <a:gd name="T55" fmla="*/ 13494 h 102"/>
                <a:gd name="T56" fmla="*/ 34730 w 179"/>
                <a:gd name="T57" fmla="*/ 16669 h 102"/>
                <a:gd name="T58" fmla="*/ 34730 w 179"/>
                <a:gd name="T59" fmla="*/ 20638 h 102"/>
                <a:gd name="T60" fmla="*/ 31573 w 179"/>
                <a:gd name="T61" fmla="*/ 20638 h 102"/>
                <a:gd name="T62" fmla="*/ 28415 w 179"/>
                <a:gd name="T63" fmla="*/ 20638 h 102"/>
                <a:gd name="T64" fmla="*/ 28415 w 179"/>
                <a:gd name="T65" fmla="*/ 16669 h 102"/>
                <a:gd name="T66" fmla="*/ 24469 w 179"/>
                <a:gd name="T67" fmla="*/ 16669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6" name="Freeform 495"/>
            <p:cNvSpPr>
              <a:spLocks/>
            </p:cNvSpPr>
            <p:nvPr/>
          </p:nvSpPr>
          <p:spPr bwMode="auto">
            <a:xfrm>
              <a:off x="10381703" y="2807936"/>
              <a:ext cx="87191" cy="55756"/>
            </a:xfrm>
            <a:custGeom>
              <a:avLst/>
              <a:gdLst>
                <a:gd name="T0" fmla="*/ 3969 w 86"/>
                <a:gd name="T1" fmla="*/ 4047 h 51"/>
                <a:gd name="T2" fmla="*/ 3969 w 86"/>
                <a:gd name="T3" fmla="*/ 0 h 51"/>
                <a:gd name="T4" fmla="*/ 10319 w 86"/>
                <a:gd name="T5" fmla="*/ 0 h 51"/>
                <a:gd name="T6" fmla="*/ 14288 w 86"/>
                <a:gd name="T7" fmla="*/ 0 h 51"/>
                <a:gd name="T8" fmla="*/ 14288 w 86"/>
                <a:gd name="T9" fmla="*/ 4047 h 51"/>
                <a:gd name="T10" fmla="*/ 17463 w 86"/>
                <a:gd name="T11" fmla="*/ 7284 h 51"/>
                <a:gd name="T12" fmla="*/ 14288 w 86"/>
                <a:gd name="T13" fmla="*/ 10521 h 51"/>
                <a:gd name="T14" fmla="*/ 10319 w 86"/>
                <a:gd name="T15" fmla="*/ 10521 h 51"/>
                <a:gd name="T16" fmla="*/ 3969 w 86"/>
                <a:gd name="T17" fmla="*/ 7284 h 51"/>
                <a:gd name="T18" fmla="*/ 0 w 86"/>
                <a:gd name="T19" fmla="*/ 7284 h 51"/>
                <a:gd name="T20" fmla="*/ 3969 w 86"/>
                <a:gd name="T21" fmla="*/ 404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7" name="Freeform 496"/>
            <p:cNvSpPr>
              <a:spLocks/>
            </p:cNvSpPr>
            <p:nvPr/>
          </p:nvSpPr>
          <p:spPr bwMode="auto">
            <a:xfrm>
              <a:off x="10397924" y="2679270"/>
              <a:ext cx="70970" cy="17156"/>
            </a:xfrm>
            <a:custGeom>
              <a:avLst/>
              <a:gdLst>
                <a:gd name="T0" fmla="*/ 10174 w 71"/>
                <a:gd name="T1" fmla="*/ 0 h 17"/>
                <a:gd name="T2" fmla="*/ 13304 w 71"/>
                <a:gd name="T3" fmla="*/ 0 h 17"/>
                <a:gd name="T4" fmla="*/ 13304 w 71"/>
                <a:gd name="T5" fmla="*/ 2988 h 17"/>
                <a:gd name="T6" fmla="*/ 10174 w 71"/>
                <a:gd name="T7" fmla="*/ 2988 h 17"/>
                <a:gd name="T8" fmla="*/ 7043 w 71"/>
                <a:gd name="T9" fmla="*/ 2988 h 17"/>
                <a:gd name="T10" fmla="*/ 0 w 71"/>
                <a:gd name="T11" fmla="*/ 0 h 17"/>
                <a:gd name="T12" fmla="*/ 7043 w 71"/>
                <a:gd name="T13" fmla="*/ 0 h 17"/>
                <a:gd name="T14" fmla="*/ 10174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498" name="Freeform 497"/>
            <p:cNvSpPr>
              <a:spLocks/>
            </p:cNvSpPr>
            <p:nvPr/>
          </p:nvSpPr>
          <p:spPr bwMode="auto">
            <a:xfrm>
              <a:off x="10335066" y="2604214"/>
              <a:ext cx="105440" cy="75057"/>
            </a:xfrm>
            <a:custGeom>
              <a:avLst/>
              <a:gdLst>
                <a:gd name="T0" fmla="*/ 7144 w 104"/>
                <a:gd name="T1" fmla="*/ 14495 h 69"/>
                <a:gd name="T2" fmla="*/ 7144 w 104"/>
                <a:gd name="T3" fmla="*/ 10468 h 69"/>
                <a:gd name="T4" fmla="*/ 3969 w 104"/>
                <a:gd name="T5" fmla="*/ 7247 h 69"/>
                <a:gd name="T6" fmla="*/ 0 w 104"/>
                <a:gd name="T7" fmla="*/ 4026 h 69"/>
                <a:gd name="T8" fmla="*/ 3969 w 104"/>
                <a:gd name="T9" fmla="*/ 0 h 69"/>
                <a:gd name="T10" fmla="*/ 7144 w 104"/>
                <a:gd name="T11" fmla="*/ 0 h 69"/>
                <a:gd name="T12" fmla="*/ 7144 w 104"/>
                <a:gd name="T13" fmla="*/ 4026 h 69"/>
                <a:gd name="T14" fmla="*/ 10319 w 104"/>
                <a:gd name="T15" fmla="*/ 4026 h 69"/>
                <a:gd name="T16" fmla="*/ 14288 w 104"/>
                <a:gd name="T17" fmla="*/ 4026 h 69"/>
                <a:gd name="T18" fmla="*/ 17463 w 104"/>
                <a:gd name="T19" fmla="*/ 4026 h 69"/>
                <a:gd name="T20" fmla="*/ 20638 w 104"/>
                <a:gd name="T21" fmla="*/ 7247 h 69"/>
                <a:gd name="T22" fmla="*/ 17463 w 104"/>
                <a:gd name="T23" fmla="*/ 7247 h 69"/>
                <a:gd name="T24" fmla="*/ 17463 w 104"/>
                <a:gd name="T25" fmla="*/ 10468 h 69"/>
                <a:gd name="T26" fmla="*/ 20638 w 104"/>
                <a:gd name="T27" fmla="*/ 14495 h 69"/>
                <a:gd name="T28" fmla="*/ 14288 w 104"/>
                <a:gd name="T29" fmla="*/ 14495 h 69"/>
                <a:gd name="T30" fmla="*/ 7144 w 104"/>
                <a:gd name="T31" fmla="*/ 14495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1" name="Freeform 500"/>
            <p:cNvSpPr>
              <a:spLocks/>
            </p:cNvSpPr>
            <p:nvPr/>
          </p:nvSpPr>
          <p:spPr bwMode="auto">
            <a:xfrm>
              <a:off x="10219489" y="2921594"/>
              <a:ext cx="178435" cy="128667"/>
            </a:xfrm>
            <a:custGeom>
              <a:avLst/>
              <a:gdLst>
                <a:gd name="T0" fmla="*/ 28738 w 175"/>
                <a:gd name="T1" fmla="*/ 7204 h 119"/>
                <a:gd name="T2" fmla="*/ 28738 w 175"/>
                <a:gd name="T3" fmla="*/ 10405 h 119"/>
                <a:gd name="T4" fmla="*/ 28738 w 175"/>
                <a:gd name="T5" fmla="*/ 13607 h 119"/>
                <a:gd name="T6" fmla="*/ 31931 w 175"/>
                <a:gd name="T7" fmla="*/ 13607 h 119"/>
                <a:gd name="T8" fmla="*/ 35125 w 175"/>
                <a:gd name="T9" fmla="*/ 13607 h 119"/>
                <a:gd name="T10" fmla="*/ 31931 w 175"/>
                <a:gd name="T11" fmla="*/ 17609 h 119"/>
                <a:gd name="T12" fmla="*/ 31931 w 175"/>
                <a:gd name="T13" fmla="*/ 20811 h 119"/>
                <a:gd name="T14" fmla="*/ 24747 w 175"/>
                <a:gd name="T15" fmla="*/ 24013 h 119"/>
                <a:gd name="T16" fmla="*/ 21554 w 175"/>
                <a:gd name="T17" fmla="*/ 24013 h 119"/>
                <a:gd name="T18" fmla="*/ 18361 w 175"/>
                <a:gd name="T19" fmla="*/ 24013 h 119"/>
                <a:gd name="T20" fmla="*/ 18361 w 175"/>
                <a:gd name="T21" fmla="*/ 20811 h 119"/>
                <a:gd name="T22" fmla="*/ 11176 w 175"/>
                <a:gd name="T23" fmla="*/ 17609 h 119"/>
                <a:gd name="T24" fmla="*/ 7185 w 175"/>
                <a:gd name="T25" fmla="*/ 13607 h 119"/>
                <a:gd name="T26" fmla="*/ 0 w 175"/>
                <a:gd name="T27" fmla="*/ 13607 h 119"/>
                <a:gd name="T28" fmla="*/ 0 w 175"/>
                <a:gd name="T29" fmla="*/ 10405 h 119"/>
                <a:gd name="T30" fmla="*/ 0 w 175"/>
                <a:gd name="T31" fmla="*/ 7204 h 119"/>
                <a:gd name="T32" fmla="*/ 3991 w 175"/>
                <a:gd name="T33" fmla="*/ 10405 h 119"/>
                <a:gd name="T34" fmla="*/ 7185 w 175"/>
                <a:gd name="T35" fmla="*/ 10405 h 119"/>
                <a:gd name="T36" fmla="*/ 11176 w 175"/>
                <a:gd name="T37" fmla="*/ 10405 h 119"/>
                <a:gd name="T38" fmla="*/ 11176 w 175"/>
                <a:gd name="T39" fmla="*/ 7204 h 119"/>
                <a:gd name="T40" fmla="*/ 11176 w 175"/>
                <a:gd name="T41" fmla="*/ 3202 h 119"/>
                <a:gd name="T42" fmla="*/ 7185 w 175"/>
                <a:gd name="T43" fmla="*/ 3202 h 119"/>
                <a:gd name="T44" fmla="*/ 7185 w 175"/>
                <a:gd name="T45" fmla="*/ 0 h 119"/>
                <a:gd name="T46" fmla="*/ 11176 w 175"/>
                <a:gd name="T47" fmla="*/ 0 h 119"/>
                <a:gd name="T48" fmla="*/ 14369 w 175"/>
                <a:gd name="T49" fmla="*/ 0 h 119"/>
                <a:gd name="T50" fmla="*/ 21554 w 175"/>
                <a:gd name="T51" fmla="*/ 0 h 119"/>
                <a:gd name="T52" fmla="*/ 24747 w 175"/>
                <a:gd name="T53" fmla="*/ 0 h 119"/>
                <a:gd name="T54" fmla="*/ 28738 w 175"/>
                <a:gd name="T55" fmla="*/ 0 h 119"/>
                <a:gd name="T56" fmla="*/ 28738 w 175"/>
                <a:gd name="T57" fmla="*/ 3202 h 119"/>
                <a:gd name="T58" fmla="*/ 24747 w 175"/>
                <a:gd name="T59" fmla="*/ 7204 h 119"/>
                <a:gd name="T60" fmla="*/ 21554 w 175"/>
                <a:gd name="T61" fmla="*/ 7204 h 119"/>
                <a:gd name="T62" fmla="*/ 24747 w 175"/>
                <a:gd name="T63" fmla="*/ 7204 h 119"/>
                <a:gd name="T64" fmla="*/ 28738 w 175"/>
                <a:gd name="T65" fmla="*/ 7204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2" name="Freeform 501"/>
            <p:cNvSpPr>
              <a:spLocks/>
            </p:cNvSpPr>
            <p:nvPr/>
          </p:nvSpPr>
          <p:spPr bwMode="auto">
            <a:xfrm>
              <a:off x="10308706" y="3121027"/>
              <a:ext cx="105440" cy="79345"/>
            </a:xfrm>
            <a:custGeom>
              <a:avLst/>
              <a:gdLst>
                <a:gd name="T0" fmla="*/ 17632 w 103"/>
                <a:gd name="T1" fmla="*/ 15288 h 73"/>
                <a:gd name="T2" fmla="*/ 10419 w 103"/>
                <a:gd name="T3" fmla="*/ 11265 h 73"/>
                <a:gd name="T4" fmla="*/ 4007 w 103"/>
                <a:gd name="T5" fmla="*/ 8046 h 73"/>
                <a:gd name="T6" fmla="*/ 0 w 103"/>
                <a:gd name="T7" fmla="*/ 8046 h 73"/>
                <a:gd name="T8" fmla="*/ 4007 w 103"/>
                <a:gd name="T9" fmla="*/ 8046 h 73"/>
                <a:gd name="T10" fmla="*/ 4007 w 103"/>
                <a:gd name="T11" fmla="*/ 4023 h 73"/>
                <a:gd name="T12" fmla="*/ 7213 w 103"/>
                <a:gd name="T13" fmla="*/ 0 h 73"/>
                <a:gd name="T14" fmla="*/ 14426 w 103"/>
                <a:gd name="T15" fmla="*/ 4023 h 73"/>
                <a:gd name="T16" fmla="*/ 17632 w 103"/>
                <a:gd name="T17" fmla="*/ 8046 h 73"/>
                <a:gd name="T18" fmla="*/ 20838 w 103"/>
                <a:gd name="T19" fmla="*/ 11265 h 73"/>
                <a:gd name="T20" fmla="*/ 17632 w 103"/>
                <a:gd name="T21" fmla="*/ 11265 h 73"/>
                <a:gd name="T22" fmla="*/ 17632 w 103"/>
                <a:gd name="T23" fmla="*/ 152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3" name="Freeform 502"/>
            <p:cNvSpPr>
              <a:spLocks/>
            </p:cNvSpPr>
            <p:nvPr/>
          </p:nvSpPr>
          <p:spPr bwMode="auto">
            <a:xfrm>
              <a:off x="10397924" y="2882993"/>
              <a:ext cx="160187" cy="128667"/>
            </a:xfrm>
            <a:custGeom>
              <a:avLst/>
              <a:gdLst>
                <a:gd name="T0" fmla="*/ 30762 w 159"/>
                <a:gd name="T1" fmla="*/ 6298 h 121"/>
                <a:gd name="T2" fmla="*/ 27607 w 159"/>
                <a:gd name="T3" fmla="*/ 6298 h 121"/>
                <a:gd name="T4" fmla="*/ 24452 w 159"/>
                <a:gd name="T5" fmla="*/ 6298 h 121"/>
                <a:gd name="T6" fmla="*/ 21297 w 159"/>
                <a:gd name="T7" fmla="*/ 13382 h 121"/>
                <a:gd name="T8" fmla="*/ 21297 w 159"/>
                <a:gd name="T9" fmla="*/ 16531 h 121"/>
                <a:gd name="T10" fmla="*/ 13409 w 159"/>
                <a:gd name="T11" fmla="*/ 16531 h 121"/>
                <a:gd name="T12" fmla="*/ 10254 w 159"/>
                <a:gd name="T13" fmla="*/ 16531 h 121"/>
                <a:gd name="T14" fmla="*/ 10254 w 159"/>
                <a:gd name="T15" fmla="*/ 19680 h 121"/>
                <a:gd name="T16" fmla="*/ 10254 w 159"/>
                <a:gd name="T17" fmla="*/ 23616 h 121"/>
                <a:gd name="T18" fmla="*/ 6310 w 159"/>
                <a:gd name="T19" fmla="*/ 23616 h 121"/>
                <a:gd name="T20" fmla="*/ 3155 w 159"/>
                <a:gd name="T21" fmla="*/ 23616 h 121"/>
                <a:gd name="T22" fmla="*/ 3155 w 159"/>
                <a:gd name="T23" fmla="*/ 19680 h 121"/>
                <a:gd name="T24" fmla="*/ 3155 w 159"/>
                <a:gd name="T25" fmla="*/ 16531 h 121"/>
                <a:gd name="T26" fmla="*/ 3155 w 159"/>
                <a:gd name="T27" fmla="*/ 13382 h 121"/>
                <a:gd name="T28" fmla="*/ 0 w 159"/>
                <a:gd name="T29" fmla="*/ 6298 h 121"/>
                <a:gd name="T30" fmla="*/ 3155 w 159"/>
                <a:gd name="T31" fmla="*/ 6298 h 121"/>
                <a:gd name="T32" fmla="*/ 6310 w 159"/>
                <a:gd name="T33" fmla="*/ 6298 h 121"/>
                <a:gd name="T34" fmla="*/ 6310 w 159"/>
                <a:gd name="T35" fmla="*/ 3149 h 121"/>
                <a:gd name="T36" fmla="*/ 10254 w 159"/>
                <a:gd name="T37" fmla="*/ 3149 h 121"/>
                <a:gd name="T38" fmla="*/ 10254 w 159"/>
                <a:gd name="T39" fmla="*/ 0 h 121"/>
                <a:gd name="T40" fmla="*/ 17353 w 159"/>
                <a:gd name="T41" fmla="*/ 3149 h 121"/>
                <a:gd name="T42" fmla="*/ 21297 w 159"/>
                <a:gd name="T43" fmla="*/ 3149 h 121"/>
                <a:gd name="T44" fmla="*/ 30762 w 159"/>
                <a:gd name="T45" fmla="*/ 3149 h 121"/>
                <a:gd name="T46" fmla="*/ 30762 w 159"/>
                <a:gd name="T47" fmla="*/ 6298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4" name="Freeform 503"/>
            <p:cNvSpPr>
              <a:spLocks/>
            </p:cNvSpPr>
            <p:nvPr/>
          </p:nvSpPr>
          <p:spPr bwMode="auto">
            <a:xfrm>
              <a:off x="10933232" y="3215382"/>
              <a:ext cx="52719" cy="38600"/>
            </a:xfrm>
            <a:custGeom>
              <a:avLst/>
              <a:gdLst>
                <a:gd name="T0" fmla="*/ 10319 w 52"/>
                <a:gd name="T1" fmla="*/ 3969 h 36"/>
                <a:gd name="T2" fmla="*/ 3969 w 52"/>
                <a:gd name="T3" fmla="*/ 7144 h 36"/>
                <a:gd name="T4" fmla="*/ 0 w 52"/>
                <a:gd name="T5" fmla="*/ 7144 h 36"/>
                <a:gd name="T6" fmla="*/ 0 w 52"/>
                <a:gd name="T7" fmla="*/ 3969 h 36"/>
                <a:gd name="T8" fmla="*/ 0 w 52"/>
                <a:gd name="T9" fmla="*/ 0 h 36"/>
                <a:gd name="T10" fmla="*/ 7144 w 52"/>
                <a:gd name="T11" fmla="*/ 0 h 36"/>
                <a:gd name="T12" fmla="*/ 10319 w 52"/>
                <a:gd name="T13" fmla="*/ 396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8" name="Freeform 507"/>
            <p:cNvSpPr>
              <a:spLocks/>
            </p:cNvSpPr>
            <p:nvPr/>
          </p:nvSpPr>
          <p:spPr bwMode="auto">
            <a:xfrm>
              <a:off x="10864291" y="3159627"/>
              <a:ext cx="14194"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09" name="Freeform 508"/>
            <p:cNvSpPr>
              <a:spLocks/>
            </p:cNvSpPr>
            <p:nvPr/>
          </p:nvSpPr>
          <p:spPr bwMode="auto">
            <a:xfrm>
              <a:off x="10985951" y="3215382"/>
              <a:ext cx="38527" cy="19301"/>
            </a:xfrm>
            <a:custGeom>
              <a:avLst/>
              <a:gdLst>
                <a:gd name="T0" fmla="*/ 4189 w 36"/>
                <a:gd name="T1" fmla="*/ 4202 h 17"/>
                <a:gd name="T2" fmla="*/ 0 w 36"/>
                <a:gd name="T3" fmla="*/ 4202 h 17"/>
                <a:gd name="T4" fmla="*/ 0 w 36"/>
                <a:gd name="T5" fmla="*/ 0 h 17"/>
                <a:gd name="T6" fmla="*/ 4189 w 36"/>
                <a:gd name="T7" fmla="*/ 0 h 17"/>
                <a:gd name="T8" fmla="*/ 8379 w 36"/>
                <a:gd name="T9" fmla="*/ 4202 h 17"/>
                <a:gd name="T10" fmla="*/ 4189 w 36"/>
                <a:gd name="T11" fmla="*/ 4202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0" name="Freeform 509"/>
            <p:cNvSpPr>
              <a:spLocks/>
            </p:cNvSpPr>
            <p:nvPr/>
          </p:nvSpPr>
          <p:spPr bwMode="auto">
            <a:xfrm>
              <a:off x="8416882" y="3041684"/>
              <a:ext cx="1038171" cy="1044349"/>
            </a:xfrm>
            <a:custGeom>
              <a:avLst/>
              <a:gdLst>
                <a:gd name="T0" fmla="*/ 203399 w 1023"/>
                <a:gd name="T1" fmla="*/ 187133 h 975"/>
                <a:gd name="T2" fmla="*/ 193070 w 1023"/>
                <a:gd name="T3" fmla="*/ 171274 h 975"/>
                <a:gd name="T4" fmla="*/ 178768 w 1023"/>
                <a:gd name="T5" fmla="*/ 152244 h 975"/>
                <a:gd name="T6" fmla="*/ 168439 w 1023"/>
                <a:gd name="T7" fmla="*/ 145107 h 975"/>
                <a:gd name="T8" fmla="*/ 154933 w 1023"/>
                <a:gd name="T9" fmla="*/ 139557 h 975"/>
                <a:gd name="T10" fmla="*/ 144604 w 1023"/>
                <a:gd name="T11" fmla="*/ 139557 h 975"/>
                <a:gd name="T12" fmla="*/ 144604 w 1023"/>
                <a:gd name="T13" fmla="*/ 25374 h 975"/>
                <a:gd name="T14" fmla="*/ 123946 w 1023"/>
                <a:gd name="T15" fmla="*/ 22202 h 975"/>
                <a:gd name="T16" fmla="*/ 110439 w 1023"/>
                <a:gd name="T17" fmla="*/ 19030 h 975"/>
                <a:gd name="T18" fmla="*/ 86603 w 1023"/>
                <a:gd name="T19" fmla="*/ 12687 h 975"/>
                <a:gd name="T20" fmla="*/ 72302 w 1023"/>
                <a:gd name="T21" fmla="*/ 6343 h 975"/>
                <a:gd name="T22" fmla="*/ 62768 w 1023"/>
                <a:gd name="T23" fmla="*/ 0 h 975"/>
                <a:gd name="T24" fmla="*/ 48466 w 1023"/>
                <a:gd name="T25" fmla="*/ 9515 h 975"/>
                <a:gd name="T26" fmla="*/ 34959 w 1023"/>
                <a:gd name="T27" fmla="*/ 15859 h 975"/>
                <a:gd name="T28" fmla="*/ 24630 w 1023"/>
                <a:gd name="T29" fmla="*/ 34889 h 975"/>
                <a:gd name="T30" fmla="*/ 7151 w 1023"/>
                <a:gd name="T31" fmla="*/ 44404 h 975"/>
                <a:gd name="T32" fmla="*/ 24630 w 1023"/>
                <a:gd name="T33" fmla="*/ 60263 h 975"/>
                <a:gd name="T34" fmla="*/ 31781 w 1023"/>
                <a:gd name="T35" fmla="*/ 72950 h 975"/>
                <a:gd name="T36" fmla="*/ 20658 w 1023"/>
                <a:gd name="T37" fmla="*/ 66607 h 975"/>
                <a:gd name="T38" fmla="*/ 3973 w 1023"/>
                <a:gd name="T39" fmla="*/ 72950 h 975"/>
                <a:gd name="T40" fmla="*/ 7151 w 1023"/>
                <a:gd name="T41" fmla="*/ 82465 h 975"/>
                <a:gd name="T42" fmla="*/ 7151 w 1023"/>
                <a:gd name="T43" fmla="*/ 88809 h 975"/>
                <a:gd name="T44" fmla="*/ 20658 w 1023"/>
                <a:gd name="T45" fmla="*/ 91981 h 975"/>
                <a:gd name="T46" fmla="*/ 34959 w 1023"/>
                <a:gd name="T47" fmla="*/ 88809 h 975"/>
                <a:gd name="T48" fmla="*/ 38137 w 1023"/>
                <a:gd name="T49" fmla="*/ 97531 h 975"/>
                <a:gd name="T50" fmla="*/ 27808 w 1023"/>
                <a:gd name="T51" fmla="*/ 104668 h 975"/>
                <a:gd name="T52" fmla="*/ 20658 w 1023"/>
                <a:gd name="T53" fmla="*/ 107046 h 975"/>
                <a:gd name="T54" fmla="*/ 10329 w 1023"/>
                <a:gd name="T55" fmla="*/ 123698 h 975"/>
                <a:gd name="T56" fmla="*/ 24630 w 1023"/>
                <a:gd name="T57" fmla="*/ 142729 h 975"/>
                <a:gd name="T58" fmla="*/ 31781 w 1023"/>
                <a:gd name="T59" fmla="*/ 145107 h 975"/>
                <a:gd name="T60" fmla="*/ 34959 w 1023"/>
                <a:gd name="T61" fmla="*/ 152244 h 975"/>
                <a:gd name="T62" fmla="*/ 48466 w 1023"/>
                <a:gd name="T63" fmla="*/ 154623 h 975"/>
                <a:gd name="T64" fmla="*/ 55617 w 1023"/>
                <a:gd name="T65" fmla="*/ 152244 h 975"/>
                <a:gd name="T66" fmla="*/ 55617 w 1023"/>
                <a:gd name="T67" fmla="*/ 164138 h 975"/>
                <a:gd name="T68" fmla="*/ 27808 w 1023"/>
                <a:gd name="T69" fmla="*/ 180790 h 975"/>
                <a:gd name="T70" fmla="*/ 14301 w 1023"/>
                <a:gd name="T71" fmla="*/ 190305 h 975"/>
                <a:gd name="T72" fmla="*/ 34959 w 1023"/>
                <a:gd name="T73" fmla="*/ 183168 h 975"/>
                <a:gd name="T74" fmla="*/ 52439 w 1023"/>
                <a:gd name="T75" fmla="*/ 173653 h 975"/>
                <a:gd name="T76" fmla="*/ 76274 w 1023"/>
                <a:gd name="T77" fmla="*/ 154623 h 975"/>
                <a:gd name="T78" fmla="*/ 72302 w 1023"/>
                <a:gd name="T79" fmla="*/ 149072 h 975"/>
                <a:gd name="T80" fmla="*/ 82631 w 1023"/>
                <a:gd name="T81" fmla="*/ 139557 h 975"/>
                <a:gd name="T82" fmla="*/ 92960 w 1023"/>
                <a:gd name="T83" fmla="*/ 126077 h 975"/>
                <a:gd name="T84" fmla="*/ 92960 w 1023"/>
                <a:gd name="T85" fmla="*/ 130042 h 975"/>
                <a:gd name="T86" fmla="*/ 86603 w 1023"/>
                <a:gd name="T87" fmla="*/ 142729 h 975"/>
                <a:gd name="T88" fmla="*/ 86603 w 1023"/>
                <a:gd name="T89" fmla="*/ 149072 h 975"/>
                <a:gd name="T90" fmla="*/ 100110 w 1023"/>
                <a:gd name="T91" fmla="*/ 142729 h 975"/>
                <a:gd name="T92" fmla="*/ 107261 w 1023"/>
                <a:gd name="T93" fmla="*/ 135592 h 975"/>
                <a:gd name="T94" fmla="*/ 113617 w 1023"/>
                <a:gd name="T95" fmla="*/ 133213 h 975"/>
                <a:gd name="T96" fmla="*/ 138248 w 1023"/>
                <a:gd name="T97" fmla="*/ 139557 h 975"/>
                <a:gd name="T98" fmla="*/ 151754 w 1023"/>
                <a:gd name="T99" fmla="*/ 142729 h 975"/>
                <a:gd name="T100" fmla="*/ 168439 w 1023"/>
                <a:gd name="T101" fmla="*/ 158587 h 975"/>
                <a:gd name="T102" fmla="*/ 175590 w 1023"/>
                <a:gd name="T103" fmla="*/ 161759 h 975"/>
                <a:gd name="T104" fmla="*/ 175590 w 1023"/>
                <a:gd name="T105" fmla="*/ 158587 h 975"/>
                <a:gd name="T106" fmla="*/ 178768 w 1023"/>
                <a:gd name="T107" fmla="*/ 168103 h 975"/>
                <a:gd name="T108" fmla="*/ 189097 w 1023"/>
                <a:gd name="T109" fmla="*/ 171274 h 975"/>
                <a:gd name="T110" fmla="*/ 182741 w 1023"/>
                <a:gd name="T111" fmla="*/ 171274 h 975"/>
                <a:gd name="T112" fmla="*/ 185919 w 1023"/>
                <a:gd name="T113" fmla="*/ 173653 h 975"/>
                <a:gd name="T114" fmla="*/ 193070 w 1023"/>
                <a:gd name="T115" fmla="*/ 190305 h 975"/>
                <a:gd name="T116" fmla="*/ 189097 w 1023"/>
                <a:gd name="T117" fmla="*/ 177618 h 975"/>
                <a:gd name="T118" fmla="*/ 193070 w 1023"/>
                <a:gd name="T119" fmla="*/ 180790 h 975"/>
                <a:gd name="T120" fmla="*/ 200221 w 1023"/>
                <a:gd name="T121" fmla="*/ 190305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1" name="Freeform 510"/>
            <p:cNvSpPr>
              <a:spLocks/>
            </p:cNvSpPr>
            <p:nvPr/>
          </p:nvSpPr>
          <p:spPr bwMode="auto">
            <a:xfrm>
              <a:off x="10841985" y="3983097"/>
              <a:ext cx="36498" cy="34311"/>
            </a:xfrm>
            <a:custGeom>
              <a:avLst/>
              <a:gdLst>
                <a:gd name="T0" fmla="*/ 0 w 34"/>
                <a:gd name="T1" fmla="*/ 3079 h 33"/>
                <a:gd name="T2" fmla="*/ 0 w 34"/>
                <a:gd name="T3" fmla="*/ 3079 h 33"/>
                <a:gd name="T4" fmla="*/ 8404 w 34"/>
                <a:gd name="T5" fmla="*/ 6158 h 33"/>
                <a:gd name="T6" fmla="*/ 8404 w 34"/>
                <a:gd name="T7" fmla="*/ 0 h 33"/>
                <a:gd name="T8" fmla="*/ 0 w 34"/>
                <a:gd name="T9" fmla="*/ 3079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2" name="Freeform 511"/>
            <p:cNvSpPr>
              <a:spLocks/>
            </p:cNvSpPr>
            <p:nvPr/>
          </p:nvSpPr>
          <p:spPr bwMode="auto">
            <a:xfrm>
              <a:off x="10789265" y="4137499"/>
              <a:ext cx="36498" cy="19301"/>
            </a:xfrm>
            <a:custGeom>
              <a:avLst/>
              <a:gdLst>
                <a:gd name="T0" fmla="*/ 0 w 34"/>
                <a:gd name="T1" fmla="*/ 0 h 17"/>
                <a:gd name="T2" fmla="*/ 0 w 34"/>
                <a:gd name="T3" fmla="*/ 0 h 17"/>
                <a:gd name="T4" fmla="*/ 8404 w 34"/>
                <a:gd name="T5" fmla="*/ 4202 h 17"/>
                <a:gd name="T6" fmla="*/ 8404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3" name="Freeform 512"/>
            <p:cNvSpPr>
              <a:spLocks/>
            </p:cNvSpPr>
            <p:nvPr/>
          </p:nvSpPr>
          <p:spPr bwMode="auto">
            <a:xfrm>
              <a:off x="8416882" y="3777230"/>
              <a:ext cx="52719" cy="34311"/>
            </a:xfrm>
            <a:custGeom>
              <a:avLst/>
              <a:gdLst>
                <a:gd name="T0" fmla="*/ 0 w 52"/>
                <a:gd name="T1" fmla="*/ 3079 h 33"/>
                <a:gd name="T2" fmla="*/ 0 w 52"/>
                <a:gd name="T3" fmla="*/ 3079 h 33"/>
                <a:gd name="T4" fmla="*/ 7144 w 52"/>
                <a:gd name="T5" fmla="*/ 6158 h 33"/>
                <a:gd name="T6" fmla="*/ 10319 w 52"/>
                <a:gd name="T7" fmla="*/ 3079 h 33"/>
                <a:gd name="T8" fmla="*/ 7144 w 52"/>
                <a:gd name="T9" fmla="*/ 0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4" name="Freeform 513"/>
            <p:cNvSpPr>
              <a:spLocks/>
            </p:cNvSpPr>
            <p:nvPr/>
          </p:nvSpPr>
          <p:spPr bwMode="auto">
            <a:xfrm>
              <a:off x="8769698" y="3880164"/>
              <a:ext cx="87191" cy="85778"/>
            </a:xfrm>
            <a:custGeom>
              <a:avLst/>
              <a:gdLst>
                <a:gd name="T0" fmla="*/ 0 w 87"/>
                <a:gd name="T1" fmla="*/ 12543 h 81"/>
                <a:gd name="T2" fmla="*/ 0 w 87"/>
                <a:gd name="T3" fmla="*/ 12543 h 81"/>
                <a:gd name="T4" fmla="*/ 3139 w 87"/>
                <a:gd name="T5" fmla="*/ 15679 h 81"/>
                <a:gd name="T6" fmla="*/ 10200 w 87"/>
                <a:gd name="T7" fmla="*/ 9407 h 81"/>
                <a:gd name="T8" fmla="*/ 13339 w 87"/>
                <a:gd name="T9" fmla="*/ 9407 h 81"/>
                <a:gd name="T10" fmla="*/ 13339 w 87"/>
                <a:gd name="T11" fmla="*/ 6272 h 81"/>
                <a:gd name="T12" fmla="*/ 10200 w 87"/>
                <a:gd name="T13" fmla="*/ 6272 h 81"/>
                <a:gd name="T14" fmla="*/ 16477 w 87"/>
                <a:gd name="T15" fmla="*/ 3136 h 81"/>
                <a:gd name="T16" fmla="*/ 13339 w 87"/>
                <a:gd name="T17" fmla="*/ 0 h 81"/>
                <a:gd name="T18" fmla="*/ 0 w 87"/>
                <a:gd name="T19" fmla="*/ 12543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5" name="Freeform 514"/>
            <p:cNvSpPr>
              <a:spLocks/>
            </p:cNvSpPr>
            <p:nvPr/>
          </p:nvSpPr>
          <p:spPr bwMode="auto">
            <a:xfrm>
              <a:off x="9382056" y="4086032"/>
              <a:ext cx="54748" cy="102934"/>
            </a:xfrm>
            <a:custGeom>
              <a:avLst/>
              <a:gdLst>
                <a:gd name="T0" fmla="*/ 0 w 54"/>
                <a:gd name="T1" fmla="*/ 0 h 96"/>
                <a:gd name="T2" fmla="*/ 0 w 54"/>
                <a:gd name="T3" fmla="*/ 0 h 96"/>
                <a:gd name="T4" fmla="*/ 0 w 54"/>
                <a:gd name="T5" fmla="*/ 7144 h 96"/>
                <a:gd name="T6" fmla="*/ 3969 w 54"/>
                <a:gd name="T7" fmla="*/ 16669 h 96"/>
                <a:gd name="T8" fmla="*/ 11113 w 54"/>
                <a:gd name="T9" fmla="*/ 19050 h 96"/>
                <a:gd name="T10" fmla="*/ 3969 w 54"/>
                <a:gd name="T11" fmla="*/ 13494 h 96"/>
                <a:gd name="T12" fmla="*/ 7144 w 54"/>
                <a:gd name="T13" fmla="*/ 9525 h 96"/>
                <a:gd name="T14" fmla="*/ 3969 w 54"/>
                <a:gd name="T15" fmla="*/ 7144 h 96"/>
                <a:gd name="T16" fmla="*/ 7144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6" name="Freeform 515"/>
            <p:cNvSpPr>
              <a:spLocks/>
            </p:cNvSpPr>
            <p:nvPr/>
          </p:nvSpPr>
          <p:spPr bwMode="auto">
            <a:xfrm>
              <a:off x="9507773" y="4240432"/>
              <a:ext cx="141938" cy="102934"/>
            </a:xfrm>
            <a:custGeom>
              <a:avLst/>
              <a:gdLst>
                <a:gd name="T0" fmla="*/ 0 w 140"/>
                <a:gd name="T1" fmla="*/ 0 h 96"/>
                <a:gd name="T2" fmla="*/ 0 w 140"/>
                <a:gd name="T3" fmla="*/ 0 h 96"/>
                <a:gd name="T4" fmla="*/ 3175 w 140"/>
                <a:gd name="T5" fmla="*/ 7144 h 96"/>
                <a:gd name="T6" fmla="*/ 10319 w 140"/>
                <a:gd name="T7" fmla="*/ 9525 h 96"/>
                <a:gd name="T8" fmla="*/ 16669 w 140"/>
                <a:gd name="T9" fmla="*/ 13494 h 96"/>
                <a:gd name="T10" fmla="*/ 16669 w 140"/>
                <a:gd name="T11" fmla="*/ 16669 h 96"/>
                <a:gd name="T12" fmla="*/ 23812 w 140"/>
                <a:gd name="T13" fmla="*/ 19050 h 96"/>
                <a:gd name="T14" fmla="*/ 27781 w 140"/>
                <a:gd name="T15" fmla="*/ 19050 h 96"/>
                <a:gd name="T16" fmla="*/ 14287 w 140"/>
                <a:gd name="T17" fmla="*/ 3969 h 96"/>
                <a:gd name="T18" fmla="*/ 3175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7" name="Freeform 516"/>
            <p:cNvSpPr>
              <a:spLocks/>
            </p:cNvSpPr>
            <p:nvPr/>
          </p:nvSpPr>
          <p:spPr bwMode="auto">
            <a:xfrm>
              <a:off x="8416882" y="4105332"/>
              <a:ext cx="36498" cy="15012"/>
            </a:xfrm>
            <a:custGeom>
              <a:avLst/>
              <a:gdLst>
                <a:gd name="T0" fmla="*/ 0 w 34"/>
                <a:gd name="T1" fmla="*/ 2084 h 16"/>
                <a:gd name="T2" fmla="*/ 0 w 34"/>
                <a:gd name="T3" fmla="*/ 2084 h 16"/>
                <a:gd name="T4" fmla="*/ 8404 w 34"/>
                <a:gd name="T5" fmla="*/ 2084 h 16"/>
                <a:gd name="T6" fmla="*/ 8404 w 34"/>
                <a:gd name="T7" fmla="*/ 0 h 16"/>
                <a:gd name="T8" fmla="*/ 4202 w 34"/>
                <a:gd name="T9" fmla="*/ 0 h 16"/>
                <a:gd name="T10" fmla="*/ 4202 w 34"/>
                <a:gd name="T11" fmla="*/ 2084 h 16"/>
                <a:gd name="T12" fmla="*/ 0 w 34"/>
                <a:gd name="T13" fmla="*/ 2084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8" name="Freeform 517"/>
            <p:cNvSpPr>
              <a:spLocks/>
            </p:cNvSpPr>
            <p:nvPr/>
          </p:nvSpPr>
          <p:spPr bwMode="auto">
            <a:xfrm>
              <a:off x="11071113" y="5286926"/>
              <a:ext cx="105440" cy="68623"/>
            </a:xfrm>
            <a:custGeom>
              <a:avLst/>
              <a:gdLst>
                <a:gd name="T0" fmla="*/ 0 w 104"/>
                <a:gd name="T1" fmla="*/ 9676 h 63"/>
                <a:gd name="T2" fmla="*/ 0 w 104"/>
                <a:gd name="T3" fmla="*/ 9676 h 63"/>
                <a:gd name="T4" fmla="*/ 0 w 104"/>
                <a:gd name="T5" fmla="*/ 0 h 63"/>
                <a:gd name="T6" fmla="*/ 10319 w 104"/>
                <a:gd name="T7" fmla="*/ 0 h 63"/>
                <a:gd name="T8" fmla="*/ 10319 w 104"/>
                <a:gd name="T9" fmla="*/ 3225 h 63"/>
                <a:gd name="T10" fmla="*/ 14288 w 104"/>
                <a:gd name="T11" fmla="*/ 3225 h 63"/>
                <a:gd name="T12" fmla="*/ 20638 w 104"/>
                <a:gd name="T13" fmla="*/ 6451 h 63"/>
                <a:gd name="T14" fmla="*/ 17463 w 104"/>
                <a:gd name="T15" fmla="*/ 9676 h 63"/>
                <a:gd name="T16" fmla="*/ 17463 w 104"/>
                <a:gd name="T17" fmla="*/ 6451 h 63"/>
                <a:gd name="T18" fmla="*/ 7144 w 104"/>
                <a:gd name="T19" fmla="*/ 9676 h 63"/>
                <a:gd name="T20" fmla="*/ 7144 w 104"/>
                <a:gd name="T21" fmla="*/ 6451 h 63"/>
                <a:gd name="T22" fmla="*/ 3969 w 104"/>
                <a:gd name="T23" fmla="*/ 9676 h 63"/>
                <a:gd name="T24" fmla="*/ 3969 w 104"/>
                <a:gd name="T25" fmla="*/ 12902 h 63"/>
                <a:gd name="T26" fmla="*/ 0 w 104"/>
                <a:gd name="T27" fmla="*/ 967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19" name="Freeform 518"/>
            <p:cNvSpPr>
              <a:spLocks/>
            </p:cNvSpPr>
            <p:nvPr/>
          </p:nvSpPr>
          <p:spPr bwMode="auto">
            <a:xfrm>
              <a:off x="11000144" y="5286926"/>
              <a:ext cx="70970" cy="51467"/>
            </a:xfrm>
            <a:custGeom>
              <a:avLst/>
              <a:gdLst>
                <a:gd name="T0" fmla="*/ 14495 w 69"/>
                <a:gd name="T1" fmla="*/ 9525 h 48"/>
                <a:gd name="T2" fmla="*/ 14495 w 69"/>
                <a:gd name="T3" fmla="*/ 9525 h 48"/>
                <a:gd name="T4" fmla="*/ 14495 w 69"/>
                <a:gd name="T5" fmla="*/ 0 h 48"/>
                <a:gd name="T6" fmla="*/ 7247 w 69"/>
                <a:gd name="T7" fmla="*/ 0 h 48"/>
                <a:gd name="T8" fmla="*/ 10468 w 69"/>
                <a:gd name="T9" fmla="*/ 5556 h 48"/>
                <a:gd name="T10" fmla="*/ 0 w 69"/>
                <a:gd name="T11" fmla="*/ 9525 h 48"/>
                <a:gd name="T12" fmla="*/ 4026 w 69"/>
                <a:gd name="T13" fmla="*/ 9525 h 48"/>
                <a:gd name="T14" fmla="*/ 14495 w 69"/>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0" name="Freeform 519"/>
            <p:cNvSpPr>
              <a:spLocks/>
            </p:cNvSpPr>
            <p:nvPr/>
          </p:nvSpPr>
          <p:spPr bwMode="auto">
            <a:xfrm>
              <a:off x="11352960" y="5544259"/>
              <a:ext cx="16221" cy="17156"/>
            </a:xfrm>
            <a:custGeom>
              <a:avLst/>
              <a:gdLst>
                <a:gd name="T0" fmla="*/ 0 w 17"/>
                <a:gd name="T1" fmla="*/ 3387 h 15"/>
                <a:gd name="T2" fmla="*/ 0 w 17"/>
                <a:gd name="T3" fmla="*/ 3387 h 15"/>
                <a:gd name="T4" fmla="*/ 2988 w 17"/>
                <a:gd name="T5" fmla="*/ 3387 h 15"/>
                <a:gd name="T6" fmla="*/ 2988 w 17"/>
                <a:gd name="T7" fmla="*/ 0 h 15"/>
                <a:gd name="T8" fmla="*/ 0 w 17"/>
                <a:gd name="T9" fmla="*/ 0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1" name="Freeform 520"/>
            <p:cNvSpPr>
              <a:spLocks/>
            </p:cNvSpPr>
            <p:nvPr/>
          </p:nvSpPr>
          <p:spPr bwMode="auto">
            <a:xfrm>
              <a:off x="10894704" y="5321237"/>
              <a:ext cx="52719" cy="34311"/>
            </a:xfrm>
            <a:custGeom>
              <a:avLst/>
              <a:gdLst>
                <a:gd name="T0" fmla="*/ 0 w 51"/>
                <a:gd name="T1" fmla="*/ 3175 h 32"/>
                <a:gd name="T2" fmla="*/ 0 w 51"/>
                <a:gd name="T3" fmla="*/ 3175 h 32"/>
                <a:gd name="T4" fmla="*/ 7284 w 51"/>
                <a:gd name="T5" fmla="*/ 6350 h 32"/>
                <a:gd name="T6" fmla="*/ 10521 w 51"/>
                <a:gd name="T7" fmla="*/ 3175 h 32"/>
                <a:gd name="T8" fmla="*/ 4047 w 51"/>
                <a:gd name="T9" fmla="*/ 0 h 32"/>
                <a:gd name="T10" fmla="*/ 0 w 51"/>
                <a:gd name="T11" fmla="*/ 3175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2" name="Freeform 521"/>
            <p:cNvSpPr>
              <a:spLocks/>
            </p:cNvSpPr>
            <p:nvPr/>
          </p:nvSpPr>
          <p:spPr bwMode="auto">
            <a:xfrm>
              <a:off x="10720324" y="5183992"/>
              <a:ext cx="279819" cy="102934"/>
            </a:xfrm>
            <a:custGeom>
              <a:avLst/>
              <a:gdLst>
                <a:gd name="T0" fmla="*/ 0 w 276"/>
                <a:gd name="T1" fmla="*/ 9525 h 96"/>
                <a:gd name="T2" fmla="*/ 0 w 276"/>
                <a:gd name="T3" fmla="*/ 9525 h 96"/>
                <a:gd name="T4" fmla="*/ 3175 w 276"/>
                <a:gd name="T5" fmla="*/ 9525 h 96"/>
                <a:gd name="T6" fmla="*/ 10319 w 276"/>
                <a:gd name="T7" fmla="*/ 2381 h 96"/>
                <a:gd name="T8" fmla="*/ 16669 w 276"/>
                <a:gd name="T9" fmla="*/ 5556 h 96"/>
                <a:gd name="T10" fmla="*/ 13494 w 276"/>
                <a:gd name="T11" fmla="*/ 5556 h 96"/>
                <a:gd name="T12" fmla="*/ 16669 w 276"/>
                <a:gd name="T13" fmla="*/ 5556 h 96"/>
                <a:gd name="T14" fmla="*/ 30162 w 276"/>
                <a:gd name="T15" fmla="*/ 9525 h 96"/>
                <a:gd name="T16" fmla="*/ 34131 w 276"/>
                <a:gd name="T17" fmla="*/ 15875 h 96"/>
                <a:gd name="T18" fmla="*/ 40481 w 276"/>
                <a:gd name="T19" fmla="*/ 15875 h 96"/>
                <a:gd name="T20" fmla="*/ 37306 w 276"/>
                <a:gd name="T21" fmla="*/ 19050 h 96"/>
                <a:gd name="T22" fmla="*/ 54769 w 276"/>
                <a:gd name="T23" fmla="*/ 19050 h 96"/>
                <a:gd name="T24" fmla="*/ 51594 w 276"/>
                <a:gd name="T25" fmla="*/ 15875 h 96"/>
                <a:gd name="T26" fmla="*/ 47625 w 276"/>
                <a:gd name="T27" fmla="*/ 15875 h 96"/>
                <a:gd name="T28" fmla="*/ 47625 w 276"/>
                <a:gd name="T29" fmla="*/ 11906 h 96"/>
                <a:gd name="T30" fmla="*/ 34131 w 276"/>
                <a:gd name="T31" fmla="*/ 5556 h 96"/>
                <a:gd name="T32" fmla="*/ 16669 w 276"/>
                <a:gd name="T33" fmla="*/ 0 h 96"/>
                <a:gd name="T34" fmla="*/ 7144 w 276"/>
                <a:gd name="T35" fmla="*/ 2381 h 96"/>
                <a:gd name="T36" fmla="*/ 0 w 276"/>
                <a:gd name="T37" fmla="*/ 9525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3" name="Freeform 522"/>
            <p:cNvSpPr>
              <a:spLocks/>
            </p:cNvSpPr>
            <p:nvPr/>
          </p:nvSpPr>
          <p:spPr bwMode="auto">
            <a:xfrm>
              <a:off x="11213051" y="5321237"/>
              <a:ext cx="32443" cy="17156"/>
            </a:xfrm>
            <a:custGeom>
              <a:avLst/>
              <a:gdLst>
                <a:gd name="T0" fmla="*/ 0 w 33"/>
                <a:gd name="T1" fmla="*/ 2988 h 17"/>
                <a:gd name="T2" fmla="*/ 0 w 33"/>
                <a:gd name="T3" fmla="*/ 2988 h 17"/>
                <a:gd name="T4" fmla="*/ 6158 w 33"/>
                <a:gd name="T5" fmla="*/ 2988 h 17"/>
                <a:gd name="T6" fmla="*/ 0 w 33"/>
                <a:gd name="T7" fmla="*/ 0 h 17"/>
                <a:gd name="T8" fmla="*/ 0 w 33"/>
                <a:gd name="T9" fmla="*/ 29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4" name="Freeform 523"/>
            <p:cNvSpPr>
              <a:spLocks/>
            </p:cNvSpPr>
            <p:nvPr/>
          </p:nvSpPr>
          <p:spPr bwMode="auto">
            <a:xfrm>
              <a:off x="11352960" y="5389859"/>
              <a:ext cx="16221" cy="17156"/>
            </a:xfrm>
            <a:custGeom>
              <a:avLst/>
              <a:gdLst>
                <a:gd name="T0" fmla="*/ 0 w 17"/>
                <a:gd name="T1" fmla="*/ 0 h 15"/>
                <a:gd name="T2" fmla="*/ 0 w 17"/>
                <a:gd name="T3" fmla="*/ 0 h 15"/>
                <a:gd name="T4" fmla="*/ 0 w 17"/>
                <a:gd name="T5" fmla="*/ 3387 h 15"/>
                <a:gd name="T6" fmla="*/ 29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5" name="Freeform 524"/>
            <p:cNvSpPr>
              <a:spLocks/>
            </p:cNvSpPr>
            <p:nvPr/>
          </p:nvSpPr>
          <p:spPr bwMode="auto">
            <a:xfrm>
              <a:off x="10894704" y="5132525"/>
              <a:ext cx="18250" cy="51467"/>
            </a:xfrm>
            <a:custGeom>
              <a:avLst/>
              <a:gdLst>
                <a:gd name="T0" fmla="*/ 0 w 17"/>
                <a:gd name="T1" fmla="*/ 0 h 48"/>
                <a:gd name="T2" fmla="*/ 0 w 17"/>
                <a:gd name="T3" fmla="*/ 0 h 48"/>
                <a:gd name="T4" fmla="*/ 0 w 17"/>
                <a:gd name="T5" fmla="*/ 2381 h 48"/>
                <a:gd name="T6" fmla="*/ 4202 w 17"/>
                <a:gd name="T7" fmla="*/ 9525 h 48"/>
                <a:gd name="T8" fmla="*/ 4202 w 17"/>
                <a:gd name="T9" fmla="*/ 2381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6" name="Freeform 525"/>
            <p:cNvSpPr>
              <a:spLocks/>
            </p:cNvSpPr>
            <p:nvPr/>
          </p:nvSpPr>
          <p:spPr bwMode="auto">
            <a:xfrm>
              <a:off x="11018394" y="4620002"/>
              <a:ext cx="52719" cy="15012"/>
            </a:xfrm>
            <a:custGeom>
              <a:avLst/>
              <a:gdLst>
                <a:gd name="T0" fmla="*/ 0 w 51"/>
                <a:gd name="T1" fmla="*/ 2084 h 16"/>
                <a:gd name="T2" fmla="*/ 10521 w 51"/>
                <a:gd name="T3" fmla="*/ 0 h 16"/>
                <a:gd name="T4" fmla="*/ 7284 w 51"/>
                <a:gd name="T5" fmla="*/ 0 h 16"/>
                <a:gd name="T6" fmla="*/ 0 w 51"/>
                <a:gd name="T7" fmla="*/ 2084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7" name="Freeform 526"/>
            <p:cNvSpPr>
              <a:spLocks/>
            </p:cNvSpPr>
            <p:nvPr/>
          </p:nvSpPr>
          <p:spPr bwMode="auto">
            <a:xfrm>
              <a:off x="11279963" y="4274743"/>
              <a:ext cx="72997" cy="36457"/>
            </a:xfrm>
            <a:custGeom>
              <a:avLst/>
              <a:gdLst>
                <a:gd name="T0" fmla="*/ 0 w 71"/>
                <a:gd name="T1" fmla="*/ 0 h 32"/>
                <a:gd name="T2" fmla="*/ 0 w 71"/>
                <a:gd name="T3" fmla="*/ 0 h 32"/>
                <a:gd name="T4" fmla="*/ 7244 w 71"/>
                <a:gd name="T5" fmla="*/ 7590 h 32"/>
                <a:gd name="T6" fmla="*/ 14489 w 71"/>
                <a:gd name="T7" fmla="*/ 7590 h 32"/>
                <a:gd name="T8" fmla="*/ 7244 w 71"/>
                <a:gd name="T9" fmla="*/ 3374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8" name="Freeform 527"/>
            <p:cNvSpPr>
              <a:spLocks/>
            </p:cNvSpPr>
            <p:nvPr/>
          </p:nvSpPr>
          <p:spPr bwMode="auto">
            <a:xfrm>
              <a:off x="11279964" y="4394832"/>
              <a:ext cx="72997" cy="51467"/>
            </a:xfrm>
            <a:custGeom>
              <a:avLst/>
              <a:gdLst>
                <a:gd name="T0" fmla="*/ 0 w 71"/>
                <a:gd name="T1" fmla="*/ 3969 h 48"/>
                <a:gd name="T2" fmla="*/ 0 w 71"/>
                <a:gd name="T3" fmla="*/ 3969 h 48"/>
                <a:gd name="T4" fmla="*/ 10464 w 71"/>
                <a:gd name="T5" fmla="*/ 9525 h 48"/>
                <a:gd name="T6" fmla="*/ 10464 w 71"/>
                <a:gd name="T7" fmla="*/ 7144 h 48"/>
                <a:gd name="T8" fmla="*/ 14489 w 71"/>
                <a:gd name="T9" fmla="*/ 3969 h 48"/>
                <a:gd name="T10" fmla="*/ 7244 w 71"/>
                <a:gd name="T11" fmla="*/ 3969 h 48"/>
                <a:gd name="T12" fmla="*/ 4025 w 71"/>
                <a:gd name="T13" fmla="*/ 3969 h 48"/>
                <a:gd name="T14" fmla="*/ 4025 w 71"/>
                <a:gd name="T15" fmla="*/ 0 h 48"/>
                <a:gd name="T16" fmla="*/ 0 w 71"/>
                <a:gd name="T17" fmla="*/ 3969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29" name="Freeform 528"/>
            <p:cNvSpPr>
              <a:spLocks/>
            </p:cNvSpPr>
            <p:nvPr/>
          </p:nvSpPr>
          <p:spPr bwMode="auto">
            <a:xfrm>
              <a:off x="10912954" y="5081058"/>
              <a:ext cx="18250" cy="34311"/>
            </a:xfrm>
            <a:custGeom>
              <a:avLst/>
              <a:gdLst>
                <a:gd name="T0" fmla="*/ 0 w 17"/>
                <a:gd name="T1" fmla="*/ 0 h 31"/>
                <a:gd name="T2" fmla="*/ 0 w 17"/>
                <a:gd name="T3" fmla="*/ 0 h 31"/>
                <a:gd name="T4" fmla="*/ 4202 w 17"/>
                <a:gd name="T5" fmla="*/ 3277 h 31"/>
                <a:gd name="T6" fmla="*/ 4202 w 17"/>
                <a:gd name="T7" fmla="*/ 655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30" name="Freeform 529"/>
            <p:cNvSpPr>
              <a:spLocks/>
            </p:cNvSpPr>
            <p:nvPr/>
          </p:nvSpPr>
          <p:spPr bwMode="auto">
            <a:xfrm>
              <a:off x="10931203" y="5115369"/>
              <a:ext cx="16221" cy="34311"/>
            </a:xfrm>
            <a:custGeom>
              <a:avLst/>
              <a:gdLst>
                <a:gd name="T0" fmla="*/ 0 w 17"/>
                <a:gd name="T1" fmla="*/ 0 h 32"/>
                <a:gd name="T2" fmla="*/ 0 w 17"/>
                <a:gd name="T3" fmla="*/ 0 h 32"/>
                <a:gd name="T4" fmla="*/ 2988 w 17"/>
                <a:gd name="T5" fmla="*/ 3175 h 32"/>
                <a:gd name="T6" fmla="*/ 2988 w 17"/>
                <a:gd name="T7" fmla="*/ 6350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31" name="Freeform 530"/>
            <p:cNvSpPr>
              <a:spLocks/>
            </p:cNvSpPr>
            <p:nvPr/>
          </p:nvSpPr>
          <p:spPr bwMode="auto">
            <a:xfrm>
              <a:off x="11000144" y="5201147"/>
              <a:ext cx="18250" cy="17156"/>
            </a:xfrm>
            <a:custGeom>
              <a:avLst/>
              <a:gdLst>
                <a:gd name="T0" fmla="*/ 0 w 18"/>
                <a:gd name="T1" fmla="*/ 0 h 16"/>
                <a:gd name="T2" fmla="*/ 0 w 18"/>
                <a:gd name="T3" fmla="*/ 0 h 16"/>
                <a:gd name="T4" fmla="*/ 3969 w 18"/>
                <a:gd name="T5" fmla="*/ 3175 h 16"/>
                <a:gd name="T6" fmla="*/ 0 w 18"/>
                <a:gd name="T7" fmla="*/ 31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32" name="Freeform 531"/>
            <p:cNvSpPr>
              <a:spLocks/>
            </p:cNvSpPr>
            <p:nvPr/>
          </p:nvSpPr>
          <p:spPr bwMode="auto">
            <a:xfrm>
              <a:off x="11054892" y="5235459"/>
              <a:ext cx="32443" cy="0"/>
            </a:xfrm>
            <a:custGeom>
              <a:avLst/>
              <a:gdLst>
                <a:gd name="T0" fmla="*/ 0 w 33"/>
                <a:gd name="T1" fmla="*/ 0 w 33"/>
                <a:gd name="T2" fmla="*/ 2309 w 33"/>
                <a:gd name="T3" fmla="*/ 6158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33" name="Freeform 532"/>
            <p:cNvSpPr>
              <a:spLocks/>
            </p:cNvSpPr>
            <p:nvPr/>
          </p:nvSpPr>
          <p:spPr bwMode="auto">
            <a:xfrm>
              <a:off x="9613212" y="4291899"/>
              <a:ext cx="1599839" cy="840626"/>
            </a:xfrm>
            <a:custGeom>
              <a:avLst/>
              <a:gdLst>
                <a:gd name="T0" fmla="*/ 157956 w 1578"/>
                <a:gd name="T1" fmla="*/ 3171 h 785"/>
                <a:gd name="T2" fmla="*/ 171450 w 1578"/>
                <a:gd name="T3" fmla="*/ 6342 h 785"/>
                <a:gd name="T4" fmla="*/ 175419 w 1578"/>
                <a:gd name="T5" fmla="*/ 22197 h 785"/>
                <a:gd name="T6" fmla="*/ 196056 w 1578"/>
                <a:gd name="T7" fmla="*/ 19026 h 785"/>
                <a:gd name="T8" fmla="*/ 203200 w 1578"/>
                <a:gd name="T9" fmla="*/ 22197 h 785"/>
                <a:gd name="T10" fmla="*/ 220663 w 1578"/>
                <a:gd name="T11" fmla="*/ 25368 h 785"/>
                <a:gd name="T12" fmla="*/ 199231 w 1578"/>
                <a:gd name="T13" fmla="*/ 38051 h 785"/>
                <a:gd name="T14" fmla="*/ 199231 w 1578"/>
                <a:gd name="T15" fmla="*/ 53906 h 785"/>
                <a:gd name="T16" fmla="*/ 207169 w 1578"/>
                <a:gd name="T17" fmla="*/ 53906 h 785"/>
                <a:gd name="T18" fmla="*/ 213519 w 1578"/>
                <a:gd name="T19" fmla="*/ 31710 h 785"/>
                <a:gd name="T20" fmla="*/ 223838 w 1578"/>
                <a:gd name="T21" fmla="*/ 38051 h 785"/>
                <a:gd name="T22" fmla="*/ 227806 w 1578"/>
                <a:gd name="T23" fmla="*/ 47564 h 785"/>
                <a:gd name="T24" fmla="*/ 227806 w 1578"/>
                <a:gd name="T25" fmla="*/ 57077 h 785"/>
                <a:gd name="T26" fmla="*/ 247650 w 1578"/>
                <a:gd name="T27" fmla="*/ 44393 h 785"/>
                <a:gd name="T28" fmla="*/ 268288 w 1578"/>
                <a:gd name="T29" fmla="*/ 34881 h 785"/>
                <a:gd name="T30" fmla="*/ 300038 w 1578"/>
                <a:gd name="T31" fmla="*/ 15855 h 785"/>
                <a:gd name="T32" fmla="*/ 306388 w 1578"/>
                <a:gd name="T33" fmla="*/ 19026 h 785"/>
                <a:gd name="T34" fmla="*/ 313531 w 1578"/>
                <a:gd name="T35" fmla="*/ 34881 h 785"/>
                <a:gd name="T36" fmla="*/ 300038 w 1578"/>
                <a:gd name="T37" fmla="*/ 41222 h 785"/>
                <a:gd name="T38" fmla="*/ 292894 w 1578"/>
                <a:gd name="T39" fmla="*/ 57077 h 785"/>
                <a:gd name="T40" fmla="*/ 296069 w 1578"/>
                <a:gd name="T41" fmla="*/ 57077 h 785"/>
                <a:gd name="T42" fmla="*/ 275431 w 1578"/>
                <a:gd name="T43" fmla="*/ 63419 h 785"/>
                <a:gd name="T44" fmla="*/ 265113 w 1578"/>
                <a:gd name="T45" fmla="*/ 69761 h 785"/>
                <a:gd name="T46" fmla="*/ 265113 w 1578"/>
                <a:gd name="T47" fmla="*/ 79274 h 785"/>
                <a:gd name="T48" fmla="*/ 261938 w 1578"/>
                <a:gd name="T49" fmla="*/ 72932 h 785"/>
                <a:gd name="T50" fmla="*/ 261938 w 1578"/>
                <a:gd name="T51" fmla="*/ 79274 h 785"/>
                <a:gd name="T52" fmla="*/ 261938 w 1578"/>
                <a:gd name="T53" fmla="*/ 101471 h 785"/>
                <a:gd name="T54" fmla="*/ 234156 w 1578"/>
                <a:gd name="T55" fmla="*/ 123667 h 785"/>
                <a:gd name="T56" fmla="*/ 237331 w 1578"/>
                <a:gd name="T57" fmla="*/ 155377 h 785"/>
                <a:gd name="T58" fmla="*/ 227806 w 1578"/>
                <a:gd name="T59" fmla="*/ 133180 h 785"/>
                <a:gd name="T60" fmla="*/ 213519 w 1578"/>
                <a:gd name="T61" fmla="*/ 126838 h 785"/>
                <a:gd name="T62" fmla="*/ 199231 w 1578"/>
                <a:gd name="T63" fmla="*/ 123667 h 785"/>
                <a:gd name="T64" fmla="*/ 192881 w 1578"/>
                <a:gd name="T65" fmla="*/ 126838 h 785"/>
                <a:gd name="T66" fmla="*/ 188913 w 1578"/>
                <a:gd name="T67" fmla="*/ 133180 h 785"/>
                <a:gd name="T68" fmla="*/ 175419 w 1578"/>
                <a:gd name="T69" fmla="*/ 130009 h 785"/>
                <a:gd name="T70" fmla="*/ 161131 w 1578"/>
                <a:gd name="T71" fmla="*/ 130009 h 785"/>
                <a:gd name="T72" fmla="*/ 148431 w 1578"/>
                <a:gd name="T73" fmla="*/ 142693 h 785"/>
                <a:gd name="T74" fmla="*/ 123825 w 1578"/>
                <a:gd name="T75" fmla="*/ 130009 h 785"/>
                <a:gd name="T76" fmla="*/ 114300 w 1578"/>
                <a:gd name="T77" fmla="*/ 133180 h 785"/>
                <a:gd name="T78" fmla="*/ 99219 w 1578"/>
                <a:gd name="T79" fmla="*/ 117325 h 785"/>
                <a:gd name="T80" fmla="*/ 41275 w 1578"/>
                <a:gd name="T81" fmla="*/ 114154 h 785"/>
                <a:gd name="T82" fmla="*/ 34925 w 1578"/>
                <a:gd name="T83" fmla="*/ 104642 h 785"/>
                <a:gd name="T84" fmla="*/ 14288 w 1578"/>
                <a:gd name="T85" fmla="*/ 91958 h 785"/>
                <a:gd name="T86" fmla="*/ 10319 w 1578"/>
                <a:gd name="T87" fmla="*/ 82445 h 785"/>
                <a:gd name="T88" fmla="*/ 7144 w 1578"/>
                <a:gd name="T89" fmla="*/ 79274 h 785"/>
                <a:gd name="T90" fmla="*/ 3969 w 1578"/>
                <a:gd name="T91" fmla="*/ 69761 h 785"/>
                <a:gd name="T92" fmla="*/ 0 w 1578"/>
                <a:gd name="T93" fmla="*/ 47564 h 785"/>
                <a:gd name="T94" fmla="*/ 3969 w 1578"/>
                <a:gd name="T95" fmla="*/ 25368 h 785"/>
                <a:gd name="T96" fmla="*/ 10319 w 1578"/>
                <a:gd name="T97" fmla="*/ 12684 h 785"/>
                <a:gd name="T98" fmla="*/ 10319 w 1578"/>
                <a:gd name="T99" fmla="*/ 6342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1" name="Freeform 550"/>
            <p:cNvSpPr>
              <a:spLocks/>
            </p:cNvSpPr>
            <p:nvPr/>
          </p:nvSpPr>
          <p:spPr bwMode="auto">
            <a:xfrm>
              <a:off x="9824091" y="4905212"/>
              <a:ext cx="825265" cy="531825"/>
            </a:xfrm>
            <a:custGeom>
              <a:avLst/>
              <a:gdLst>
                <a:gd name="T0" fmla="*/ 107156 w 814"/>
                <a:gd name="T1" fmla="*/ 38023 h 497"/>
                <a:gd name="T2" fmla="*/ 103188 w 814"/>
                <a:gd name="T3" fmla="*/ 57035 h 497"/>
                <a:gd name="T4" fmla="*/ 107156 w 814"/>
                <a:gd name="T5" fmla="*/ 63372 h 497"/>
                <a:gd name="T6" fmla="*/ 123825 w 814"/>
                <a:gd name="T7" fmla="*/ 79215 h 497"/>
                <a:gd name="T8" fmla="*/ 141288 w 814"/>
                <a:gd name="T9" fmla="*/ 76047 h 497"/>
                <a:gd name="T10" fmla="*/ 141288 w 814"/>
                <a:gd name="T11" fmla="*/ 72878 h 497"/>
                <a:gd name="T12" fmla="*/ 148431 w 814"/>
                <a:gd name="T13" fmla="*/ 63372 h 497"/>
                <a:gd name="T14" fmla="*/ 161925 w 814"/>
                <a:gd name="T15" fmla="*/ 63372 h 497"/>
                <a:gd name="T16" fmla="*/ 157956 w 814"/>
                <a:gd name="T17" fmla="*/ 79215 h 497"/>
                <a:gd name="T18" fmla="*/ 151606 w 814"/>
                <a:gd name="T19" fmla="*/ 79215 h 497"/>
                <a:gd name="T20" fmla="*/ 138113 w 814"/>
                <a:gd name="T21" fmla="*/ 82384 h 497"/>
                <a:gd name="T22" fmla="*/ 138113 w 814"/>
                <a:gd name="T23" fmla="*/ 88721 h 497"/>
                <a:gd name="T24" fmla="*/ 123825 w 814"/>
                <a:gd name="T25" fmla="*/ 88721 h 497"/>
                <a:gd name="T26" fmla="*/ 113506 w 814"/>
                <a:gd name="T27" fmla="*/ 91890 h 497"/>
                <a:gd name="T28" fmla="*/ 85725 w 814"/>
                <a:gd name="T29" fmla="*/ 82384 h 497"/>
                <a:gd name="T30" fmla="*/ 73025 w 814"/>
                <a:gd name="T31" fmla="*/ 79215 h 497"/>
                <a:gd name="T32" fmla="*/ 62706 w 814"/>
                <a:gd name="T33" fmla="*/ 66541 h 497"/>
                <a:gd name="T34" fmla="*/ 62706 w 814"/>
                <a:gd name="T35" fmla="*/ 57035 h 497"/>
                <a:gd name="T36" fmla="*/ 40481 w 814"/>
                <a:gd name="T37" fmla="*/ 38023 h 497"/>
                <a:gd name="T38" fmla="*/ 34925 w 814"/>
                <a:gd name="T39" fmla="*/ 28518 h 497"/>
                <a:gd name="T40" fmla="*/ 30956 w 814"/>
                <a:gd name="T41" fmla="*/ 25349 h 497"/>
                <a:gd name="T42" fmla="*/ 19844 w 814"/>
                <a:gd name="T43" fmla="*/ 6337 h 497"/>
                <a:gd name="T44" fmla="*/ 10319 w 814"/>
                <a:gd name="T45" fmla="*/ 3169 h 497"/>
                <a:gd name="T46" fmla="*/ 30956 w 814"/>
                <a:gd name="T47" fmla="*/ 34855 h 497"/>
                <a:gd name="T48" fmla="*/ 38100 w 814"/>
                <a:gd name="T49" fmla="*/ 47529 h 497"/>
                <a:gd name="T50" fmla="*/ 38100 w 814"/>
                <a:gd name="T51" fmla="*/ 53866 h 497"/>
                <a:gd name="T52" fmla="*/ 23813 w 814"/>
                <a:gd name="T53" fmla="*/ 44361 h 497"/>
                <a:gd name="T54" fmla="*/ 23813 w 814"/>
                <a:gd name="T55" fmla="*/ 34855 h 497"/>
                <a:gd name="T56" fmla="*/ 10319 w 814"/>
                <a:gd name="T57" fmla="*/ 25349 h 497"/>
                <a:gd name="T58" fmla="*/ 17463 w 814"/>
                <a:gd name="T59" fmla="*/ 22180 h 497"/>
                <a:gd name="T60" fmla="*/ 0 w 814"/>
                <a:gd name="T61" fmla="*/ 0 h 497"/>
                <a:gd name="T62" fmla="*/ 30956 w 814"/>
                <a:gd name="T63" fmla="*/ 6337 h 497"/>
                <a:gd name="T64" fmla="*/ 65881 w 814"/>
                <a:gd name="T65" fmla="*/ 9506 h 497"/>
                <a:gd name="T66" fmla="*/ 73025 w 814"/>
                <a:gd name="T67" fmla="*/ 19012 h 497"/>
                <a:gd name="T68" fmla="*/ 79375 w 814"/>
                <a:gd name="T69" fmla="*/ 15843 h 497"/>
                <a:gd name="T70" fmla="*/ 96044 w 814"/>
                <a:gd name="T71" fmla="*/ 34855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2" name="Freeform 551"/>
            <p:cNvSpPr>
              <a:spLocks/>
            </p:cNvSpPr>
            <p:nvPr/>
          </p:nvSpPr>
          <p:spPr bwMode="auto">
            <a:xfrm>
              <a:off x="10509446" y="5334103"/>
              <a:ext cx="105440" cy="120089"/>
            </a:xfrm>
            <a:custGeom>
              <a:avLst/>
              <a:gdLst>
                <a:gd name="T0" fmla="*/ 17632 w 103"/>
                <a:gd name="T1" fmla="*/ 9611 h 111"/>
                <a:gd name="T2" fmla="*/ 17632 w 103"/>
                <a:gd name="T3" fmla="*/ 9611 h 111"/>
                <a:gd name="T4" fmla="*/ 20838 w 103"/>
                <a:gd name="T5" fmla="*/ 12814 h 111"/>
                <a:gd name="T6" fmla="*/ 14426 w 103"/>
                <a:gd name="T7" fmla="*/ 19222 h 111"/>
                <a:gd name="T8" fmla="*/ 10419 w 103"/>
                <a:gd name="T9" fmla="*/ 22425 h 111"/>
                <a:gd name="T10" fmla="*/ 0 w 103"/>
                <a:gd name="T11" fmla="*/ 19222 h 111"/>
                <a:gd name="T12" fmla="*/ 4007 w 103"/>
                <a:gd name="T13" fmla="*/ 9611 h 111"/>
                <a:gd name="T14" fmla="*/ 10419 w 103"/>
                <a:gd name="T15" fmla="*/ 9611 h 111"/>
                <a:gd name="T16" fmla="*/ 4007 w 103"/>
                <a:gd name="T17" fmla="*/ 3204 h 111"/>
                <a:gd name="T18" fmla="*/ 7213 w 103"/>
                <a:gd name="T19" fmla="*/ 0 h 111"/>
                <a:gd name="T20" fmla="*/ 17632 w 103"/>
                <a:gd name="T21" fmla="*/ 0 h 111"/>
                <a:gd name="T22" fmla="*/ 17632 w 103"/>
                <a:gd name="T23" fmla="*/ 961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3" name="Freeform 552"/>
            <p:cNvSpPr>
              <a:spLocks/>
            </p:cNvSpPr>
            <p:nvPr/>
          </p:nvSpPr>
          <p:spPr bwMode="auto">
            <a:xfrm>
              <a:off x="10582442" y="5402726"/>
              <a:ext cx="172353" cy="68623"/>
            </a:xfrm>
            <a:custGeom>
              <a:avLst/>
              <a:gdLst>
                <a:gd name="T0" fmla="*/ 7144 w 170"/>
                <a:gd name="T1" fmla="*/ 0 h 63"/>
                <a:gd name="T2" fmla="*/ 7144 w 170"/>
                <a:gd name="T3" fmla="*/ 0 h 63"/>
                <a:gd name="T4" fmla="*/ 23019 w 170"/>
                <a:gd name="T5" fmla="*/ 0 h 63"/>
                <a:gd name="T6" fmla="*/ 34131 w 170"/>
                <a:gd name="T7" fmla="*/ 3225 h 63"/>
                <a:gd name="T8" fmla="*/ 26988 w 170"/>
                <a:gd name="T9" fmla="*/ 7257 h 63"/>
                <a:gd name="T10" fmla="*/ 14288 w 170"/>
                <a:gd name="T11" fmla="*/ 12902 h 63"/>
                <a:gd name="T12" fmla="*/ 9525 w 170"/>
                <a:gd name="T13" fmla="*/ 12902 h 63"/>
                <a:gd name="T14" fmla="*/ 9525 w 170"/>
                <a:gd name="T15" fmla="*/ 9676 h 63"/>
                <a:gd name="T16" fmla="*/ 0 w 170"/>
                <a:gd name="T17" fmla="*/ 7257 h 63"/>
                <a:gd name="T18" fmla="*/ 714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4" name="Freeform 553"/>
            <p:cNvSpPr>
              <a:spLocks/>
            </p:cNvSpPr>
            <p:nvPr/>
          </p:nvSpPr>
          <p:spPr bwMode="auto">
            <a:xfrm>
              <a:off x="10562165" y="5437037"/>
              <a:ext cx="72997" cy="34311"/>
            </a:xfrm>
            <a:custGeom>
              <a:avLst/>
              <a:gdLst>
                <a:gd name="T0" fmla="*/ 4025 w 71"/>
                <a:gd name="T1" fmla="*/ 0 h 30"/>
                <a:gd name="T2" fmla="*/ 4025 w 71"/>
                <a:gd name="T3" fmla="*/ 0 h 30"/>
                <a:gd name="T4" fmla="*/ 0 w 71"/>
                <a:gd name="T5" fmla="*/ 3387 h 30"/>
                <a:gd name="T6" fmla="*/ 4025 w 71"/>
                <a:gd name="T7" fmla="*/ 7620 h 30"/>
                <a:gd name="T8" fmla="*/ 14489 w 71"/>
                <a:gd name="T9" fmla="*/ 7620 h 30"/>
                <a:gd name="T10" fmla="*/ 14489 w 71"/>
                <a:gd name="T11" fmla="*/ 3387 h 30"/>
                <a:gd name="T12" fmla="*/ 4025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5" name="Freeform 554"/>
            <p:cNvSpPr>
              <a:spLocks/>
            </p:cNvSpPr>
            <p:nvPr/>
          </p:nvSpPr>
          <p:spPr bwMode="auto">
            <a:xfrm>
              <a:off x="10649356" y="5419882"/>
              <a:ext cx="105440" cy="120089"/>
            </a:xfrm>
            <a:custGeom>
              <a:avLst/>
              <a:gdLst>
                <a:gd name="T0" fmla="*/ 20838 w 103"/>
                <a:gd name="T1" fmla="*/ 0 h 114"/>
                <a:gd name="T2" fmla="*/ 20838 w 103"/>
                <a:gd name="T3" fmla="*/ 0 h 114"/>
                <a:gd name="T4" fmla="*/ 20838 w 103"/>
                <a:gd name="T5" fmla="*/ 3119 h 114"/>
                <a:gd name="T6" fmla="*/ 17632 w 103"/>
                <a:gd name="T7" fmla="*/ 17936 h 114"/>
                <a:gd name="T8" fmla="*/ 20838 w 103"/>
                <a:gd name="T9" fmla="*/ 21835 h 114"/>
                <a:gd name="T10" fmla="*/ 17632 w 103"/>
                <a:gd name="T11" fmla="*/ 21835 h 114"/>
                <a:gd name="T12" fmla="*/ 7213 w 103"/>
                <a:gd name="T13" fmla="*/ 17936 h 114"/>
                <a:gd name="T14" fmla="*/ 0 w 103"/>
                <a:gd name="T15" fmla="*/ 12477 h 114"/>
                <a:gd name="T16" fmla="*/ 0 w 103"/>
                <a:gd name="T17" fmla="*/ 9358 h 114"/>
                <a:gd name="T18" fmla="*/ 14426 w 103"/>
                <a:gd name="T19" fmla="*/ 3119 h 114"/>
                <a:gd name="T20" fmla="*/ 20838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6" name="Freeform 555"/>
            <p:cNvSpPr>
              <a:spLocks/>
            </p:cNvSpPr>
            <p:nvPr/>
          </p:nvSpPr>
          <p:spPr bwMode="auto">
            <a:xfrm>
              <a:off x="10687881" y="5522815"/>
              <a:ext cx="87191" cy="85778"/>
            </a:xfrm>
            <a:custGeom>
              <a:avLst/>
              <a:gdLst>
                <a:gd name="T0" fmla="*/ 16477 w 87"/>
                <a:gd name="T1" fmla="*/ 15679 h 81"/>
                <a:gd name="T2" fmla="*/ 16477 w 87"/>
                <a:gd name="T3" fmla="*/ 15679 h 81"/>
                <a:gd name="T4" fmla="*/ 16477 w 87"/>
                <a:gd name="T5" fmla="*/ 9407 h 81"/>
                <a:gd name="T6" fmla="*/ 13339 w 87"/>
                <a:gd name="T7" fmla="*/ 6272 h 81"/>
                <a:gd name="T8" fmla="*/ 13339 w 87"/>
                <a:gd name="T9" fmla="*/ 3136 h 81"/>
                <a:gd name="T10" fmla="*/ 10200 w 87"/>
                <a:gd name="T11" fmla="*/ 3136 h 81"/>
                <a:gd name="T12" fmla="*/ 0 w 87"/>
                <a:gd name="T13" fmla="*/ 0 h 81"/>
                <a:gd name="T14" fmla="*/ 0 w 87"/>
                <a:gd name="T15" fmla="*/ 6272 h 81"/>
                <a:gd name="T16" fmla="*/ 3139 w 87"/>
                <a:gd name="T17" fmla="*/ 9407 h 81"/>
                <a:gd name="T18" fmla="*/ 6277 w 87"/>
                <a:gd name="T19" fmla="*/ 6272 h 81"/>
                <a:gd name="T20" fmla="*/ 10200 w 87"/>
                <a:gd name="T21" fmla="*/ 12543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7" name="Freeform 556"/>
            <p:cNvSpPr>
              <a:spLocks/>
            </p:cNvSpPr>
            <p:nvPr/>
          </p:nvSpPr>
          <p:spPr bwMode="auto">
            <a:xfrm>
              <a:off x="10775072" y="5574282"/>
              <a:ext cx="85162" cy="68623"/>
            </a:xfrm>
            <a:custGeom>
              <a:avLst/>
              <a:gdLst>
                <a:gd name="T0" fmla="*/ 0 w 84"/>
                <a:gd name="T1" fmla="*/ 6158 h 66"/>
                <a:gd name="T2" fmla="*/ 0 w 84"/>
                <a:gd name="T3" fmla="*/ 6158 h 66"/>
                <a:gd name="T4" fmla="*/ 9525 w 84"/>
                <a:gd name="T5" fmla="*/ 8467 h 66"/>
                <a:gd name="T6" fmla="*/ 9525 w 84"/>
                <a:gd name="T7" fmla="*/ 12315 h 66"/>
                <a:gd name="T8" fmla="*/ 14288 w 84"/>
                <a:gd name="T9" fmla="*/ 8467 h 66"/>
                <a:gd name="T10" fmla="*/ 9525 w 84"/>
                <a:gd name="T11" fmla="*/ 6158 h 66"/>
                <a:gd name="T12" fmla="*/ 16669 w 84"/>
                <a:gd name="T13" fmla="*/ 3079 h 66"/>
                <a:gd name="T14" fmla="*/ 14288 w 84"/>
                <a:gd name="T15" fmla="*/ 0 h 66"/>
                <a:gd name="T16" fmla="*/ 7144 w 84"/>
                <a:gd name="T17" fmla="*/ 3079 h 66"/>
                <a:gd name="T18" fmla="*/ 3969 w 84"/>
                <a:gd name="T19" fmla="*/ 3079 h 66"/>
                <a:gd name="T20" fmla="*/ 0 w 84"/>
                <a:gd name="T21" fmla="*/ 0 h 66"/>
                <a:gd name="T22" fmla="*/ 0 w 84"/>
                <a:gd name="T23" fmla="*/ 6158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sp>
          <p:nvSpPr>
            <p:cNvPr id="558" name="Freeform 557"/>
            <p:cNvSpPr>
              <a:spLocks/>
            </p:cNvSpPr>
            <p:nvPr/>
          </p:nvSpPr>
          <p:spPr bwMode="auto">
            <a:xfrm>
              <a:off x="10862261" y="5574282"/>
              <a:ext cx="70970" cy="68623"/>
            </a:xfrm>
            <a:custGeom>
              <a:avLst/>
              <a:gdLst>
                <a:gd name="T0" fmla="*/ 10468 w 69"/>
                <a:gd name="T1" fmla="*/ 3079 h 66"/>
                <a:gd name="T2" fmla="*/ 10468 w 69"/>
                <a:gd name="T3" fmla="*/ 3079 h 66"/>
                <a:gd name="T4" fmla="*/ 14495 w 69"/>
                <a:gd name="T5" fmla="*/ 6158 h 66"/>
                <a:gd name="T6" fmla="*/ 10468 w 69"/>
                <a:gd name="T7" fmla="*/ 8467 h 66"/>
                <a:gd name="T8" fmla="*/ 10468 w 69"/>
                <a:gd name="T9" fmla="*/ 12315 h 66"/>
                <a:gd name="T10" fmla="*/ 7247 w 69"/>
                <a:gd name="T11" fmla="*/ 6158 h 66"/>
                <a:gd name="T12" fmla="*/ 0 w 69"/>
                <a:gd name="T13" fmla="*/ 3079 h 66"/>
                <a:gd name="T14" fmla="*/ 0 w 69"/>
                <a:gd name="T15" fmla="*/ 0 h 66"/>
                <a:gd name="T16" fmla="*/ 4026 w 69"/>
                <a:gd name="T17" fmla="*/ 0 h 66"/>
                <a:gd name="T18" fmla="*/ 7247 w 69"/>
                <a:gd name="T19" fmla="*/ 0 h 66"/>
                <a:gd name="T20" fmla="*/ 10468 w 69"/>
                <a:gd name="T21" fmla="*/ 3079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rgbClr val="9A9A9A"/>
            </a:solidFill>
            <a:ln w="9525">
              <a:solidFill>
                <a:schemeClr val="bg1"/>
              </a:solidFill>
              <a:round/>
              <a:headEnd/>
              <a:tailEnd/>
            </a:ln>
          </p:spPr>
          <p:txBody>
            <a:bodyPr/>
            <a:lstStyle/>
            <a:p>
              <a:endParaRPr lang="en-US" dirty="0">
                <a:solidFill>
                  <a:srgbClr val="575757"/>
                </a:solidFill>
              </a:endParaRPr>
            </a:p>
          </p:txBody>
        </p:sp>
        <p:pic>
          <p:nvPicPr>
            <p:cNvPr id="836" name="flag_canada"/>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97452" y="3893489"/>
              <a:ext cx="458723" cy="423682"/>
            </a:xfrm>
            <a:prstGeom prst="rect">
              <a:avLst/>
            </a:prstGeom>
            <a:ln w="3175">
              <a:noFill/>
            </a:ln>
          </p:spPr>
        </p:pic>
        <p:sp>
          <p:nvSpPr>
            <p:cNvPr id="838" name="Rectangle 837"/>
            <p:cNvSpPr/>
            <p:nvPr/>
          </p:nvSpPr>
          <p:spPr>
            <a:xfrm>
              <a:off x="6826356" y="4368977"/>
              <a:ext cx="2848887" cy="579346"/>
            </a:xfrm>
            <a:prstGeom prst="rect">
              <a:avLst/>
            </a:prstGeom>
          </p:spPr>
          <p:txBody>
            <a:bodyPr wrap="square" lIns="0" tIns="0" rIns="0" bIns="0">
              <a:spAutoFit/>
            </a:bodyPr>
            <a:lstStyle/>
            <a:p>
              <a:pPr fontAlgn="base">
                <a:buSzPct val="100000"/>
                <a:buFont typeface="Arial" panose="020B0604020202020204" pitchFamily="34" charset="0"/>
                <a:buChar char="​"/>
              </a:pPr>
              <a:r>
                <a:rPr lang="en-US" sz="1200" b="1" dirty="0">
                  <a:solidFill>
                    <a:srgbClr val="575757"/>
                  </a:solidFill>
                  <a:cs typeface="Arial" pitchFamily="34" charset="0"/>
                </a:rPr>
                <a:t>American Airlines</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Chicago</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Dallas</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New York</a:t>
              </a:r>
            </a:p>
            <a:p>
              <a:pPr marL="283464" lvl="1" indent="-173736" fontAlgn="base">
                <a:buClr>
                  <a:srgbClr val="29BA74">
                    <a:lumMod val="100000"/>
                  </a:srgbClr>
                </a:buClr>
                <a:buSzPct val="100000"/>
                <a:buFont typeface="Arial" panose="020B0604020202020204" pitchFamily="34" charset="0"/>
                <a:buChar char="•"/>
              </a:pPr>
              <a:endParaRPr lang="en-US" sz="900" dirty="0">
                <a:solidFill>
                  <a:srgbClr val="575757">
                    <a:lumMod val="100000"/>
                  </a:srgbClr>
                </a:solidFill>
              </a:endParaRPr>
            </a:p>
          </p:txBody>
        </p:sp>
        <p:pic>
          <p:nvPicPr>
            <p:cNvPr id="849" name="flag_belgium"/>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8367619" y="1265995"/>
              <a:ext cx="423682" cy="423682"/>
            </a:xfrm>
            <a:prstGeom prst="rect">
              <a:avLst/>
            </a:prstGeom>
            <a:noFill/>
          </p:spPr>
        </p:pic>
        <p:sp>
          <p:nvSpPr>
            <p:cNvPr id="848" name="Rectangle 847"/>
            <p:cNvSpPr/>
            <p:nvPr/>
          </p:nvSpPr>
          <p:spPr>
            <a:xfrm>
              <a:off x="8279001" y="1741483"/>
              <a:ext cx="2897551" cy="600161"/>
            </a:xfrm>
            <a:prstGeom prst="rect">
              <a:avLst/>
            </a:prstGeom>
          </p:spPr>
          <p:txBody>
            <a:bodyPr wrap="square" lIns="0" tIns="0" rIns="0" bIns="0">
              <a:spAutoFit/>
            </a:bodyPr>
            <a:lstStyle/>
            <a:p>
              <a:pPr fontAlgn="base">
                <a:buSzPct val="100000"/>
                <a:buFont typeface="Arial" panose="020B0604020202020204" pitchFamily="34" charset="0"/>
                <a:buChar char="​"/>
              </a:pPr>
              <a:r>
                <a:rPr lang="en-US" sz="1200" b="1" dirty="0">
                  <a:solidFill>
                    <a:srgbClr val="575757"/>
                  </a:solidFill>
                  <a:cs typeface="Arial" pitchFamily="34" charset="0"/>
                </a:rPr>
                <a:t>Delta</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Atlanta</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New York</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Chicago </a:t>
              </a:r>
            </a:p>
          </p:txBody>
        </p:sp>
        <p:pic>
          <p:nvPicPr>
            <p:cNvPr id="872" name="flag_usa"/>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905358" y="4895542"/>
              <a:ext cx="422867" cy="422867"/>
            </a:xfrm>
            <a:prstGeom prst="rect">
              <a:avLst/>
            </a:prstGeom>
            <a:noFill/>
            <a:ln>
              <a:noFill/>
            </a:ln>
          </p:spPr>
        </p:pic>
        <p:sp>
          <p:nvSpPr>
            <p:cNvPr id="857" name="Rectangle 856"/>
            <p:cNvSpPr/>
            <p:nvPr/>
          </p:nvSpPr>
          <p:spPr>
            <a:xfrm>
              <a:off x="8817418" y="5366530"/>
              <a:ext cx="1886683" cy="461663"/>
            </a:xfrm>
            <a:prstGeom prst="rect">
              <a:avLst/>
            </a:prstGeom>
          </p:spPr>
          <p:txBody>
            <a:bodyPr wrap="square" lIns="0" tIns="0" rIns="0" bIns="0">
              <a:spAutoFit/>
            </a:bodyPr>
            <a:lstStyle/>
            <a:p>
              <a:pPr fontAlgn="base">
                <a:buSzPct val="100000"/>
                <a:buFont typeface="Arial" panose="020B0604020202020204" pitchFamily="34" charset="0"/>
                <a:buChar char="​"/>
              </a:pPr>
              <a:r>
                <a:rPr lang="en-US" sz="1200" b="1" dirty="0">
                  <a:solidFill>
                    <a:srgbClr val="575757"/>
                  </a:solidFill>
                  <a:cs typeface="Arial" pitchFamily="34" charset="0"/>
                </a:rPr>
                <a:t>Southwest</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Dallas</a:t>
              </a:r>
            </a:p>
            <a:p>
              <a:pPr marL="283464" lvl="1" indent="-173736" fontAlgn="base">
                <a:buClr>
                  <a:srgbClr val="29BA74">
                    <a:lumMod val="100000"/>
                  </a:srgbClr>
                </a:buClr>
                <a:buSzPct val="100000"/>
                <a:buFont typeface="Arial" panose="020B0604020202020204" pitchFamily="34" charset="0"/>
                <a:buChar char="•"/>
              </a:pPr>
              <a:r>
                <a:rPr lang="en-US" sz="900" dirty="0">
                  <a:solidFill>
                    <a:srgbClr val="575757">
                      <a:lumMod val="100000"/>
                    </a:srgbClr>
                  </a:solidFill>
                </a:rPr>
                <a:t>Los Angeles</a:t>
              </a:r>
            </a:p>
          </p:txBody>
        </p:sp>
        <p:cxnSp>
          <p:nvCxnSpPr>
            <p:cNvPr id="860" name="Straight Connector 838"/>
            <p:cNvCxnSpPr>
              <a:stCxn id="826" idx="4"/>
              <a:endCxn id="872" idx="3"/>
            </p:cNvCxnSpPr>
            <p:nvPr/>
          </p:nvCxnSpPr>
          <p:spPr>
            <a:xfrm rot="5400000">
              <a:off x="9821290" y="4572926"/>
              <a:ext cx="130012" cy="938090"/>
            </a:xfrm>
            <a:prstGeom prst="bentConnector2">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7" name="Straight Connector 838"/>
            <p:cNvCxnSpPr/>
            <p:nvPr/>
          </p:nvCxnSpPr>
          <p:spPr>
            <a:xfrm rot="10800000">
              <a:off x="7524500" y="4045547"/>
              <a:ext cx="2836927" cy="863892"/>
            </a:xfrm>
            <a:prstGeom prst="bentConnector3">
              <a:avLst>
                <a:gd name="adj1" fmla="val 349"/>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2" name="Straight Connector 838"/>
            <p:cNvCxnSpPr>
              <a:endCxn id="849" idx="3"/>
            </p:cNvCxnSpPr>
            <p:nvPr/>
          </p:nvCxnSpPr>
          <p:spPr>
            <a:xfrm rot="16200000" flipV="1">
              <a:off x="8076556" y="2192582"/>
              <a:ext cx="3410222" cy="1980732"/>
            </a:xfrm>
            <a:prstGeom prst="bentConnector2">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Straight Connector 838"/>
            <p:cNvCxnSpPr>
              <a:endCxn id="849" idx="3"/>
            </p:cNvCxnSpPr>
            <p:nvPr/>
          </p:nvCxnSpPr>
          <p:spPr>
            <a:xfrm rot="16200000" flipV="1">
              <a:off x="8255639" y="2013498"/>
              <a:ext cx="3177770" cy="2106447"/>
            </a:xfrm>
            <a:prstGeom prst="bentConnector2">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4" name="Straight Connector 838"/>
            <p:cNvCxnSpPr>
              <a:endCxn id="849" idx="3"/>
            </p:cNvCxnSpPr>
            <p:nvPr/>
          </p:nvCxnSpPr>
          <p:spPr>
            <a:xfrm rot="16200000" flipV="1">
              <a:off x="8176305" y="2092832"/>
              <a:ext cx="3035996" cy="1806003"/>
            </a:xfrm>
            <a:prstGeom prst="bentConnector2">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838"/>
            <p:cNvCxnSpPr/>
            <p:nvPr/>
          </p:nvCxnSpPr>
          <p:spPr>
            <a:xfrm rot="10800000">
              <a:off x="7392081" y="4047399"/>
              <a:ext cx="3197603" cy="434054"/>
            </a:xfrm>
            <a:prstGeom prst="bentConnector3">
              <a:avLst>
                <a:gd name="adj1" fmla="val 7625"/>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0" name="Oval 419"/>
            <p:cNvSpPr/>
            <p:nvPr/>
          </p:nvSpPr>
          <p:spPr>
            <a:xfrm>
              <a:off x="10570927" y="4458723"/>
              <a:ext cx="81783" cy="74198"/>
            </a:xfrm>
            <a:prstGeom prst="ellipse">
              <a:avLst/>
            </a:prstGeom>
            <a:solidFill>
              <a:srgbClr val="527083"/>
            </a:soli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575757"/>
                </a:solidFill>
                <a:latin typeface="Arial" pitchFamily="34" charset="0"/>
                <a:cs typeface="Arial" pitchFamily="34" charset="0"/>
              </a:endParaRPr>
            </a:p>
          </p:txBody>
        </p:sp>
        <p:sp>
          <p:nvSpPr>
            <p:cNvPr id="421" name="Oval 420"/>
            <p:cNvSpPr/>
            <p:nvPr/>
          </p:nvSpPr>
          <p:spPr>
            <a:xfrm>
              <a:off x="10727515" y="4817145"/>
              <a:ext cx="81783" cy="74198"/>
            </a:xfrm>
            <a:prstGeom prst="ellipse">
              <a:avLst/>
            </a:prstGeom>
            <a:solidFill>
              <a:srgbClr val="527083"/>
            </a:soli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575757"/>
                </a:solidFill>
                <a:latin typeface="Arial" pitchFamily="34" charset="0"/>
                <a:cs typeface="Arial" pitchFamily="34" charset="0"/>
              </a:endParaRPr>
            </a:p>
          </p:txBody>
        </p:sp>
        <p:sp>
          <p:nvSpPr>
            <p:cNvPr id="419" name="Oval 418"/>
            <p:cNvSpPr/>
            <p:nvPr/>
          </p:nvSpPr>
          <p:spPr>
            <a:xfrm>
              <a:off x="10311010" y="4907359"/>
              <a:ext cx="81783" cy="74198"/>
            </a:xfrm>
            <a:prstGeom prst="ellipse">
              <a:avLst/>
            </a:prstGeom>
            <a:solidFill>
              <a:srgbClr val="527083"/>
            </a:soli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575757"/>
                </a:solidFill>
                <a:latin typeface="Arial" pitchFamily="34" charset="0"/>
                <a:cs typeface="Arial" pitchFamily="34" charset="0"/>
              </a:endParaRPr>
            </a:p>
          </p:txBody>
        </p:sp>
        <p:sp>
          <p:nvSpPr>
            <p:cNvPr id="422" name="Oval 421"/>
            <p:cNvSpPr/>
            <p:nvPr/>
          </p:nvSpPr>
          <p:spPr>
            <a:xfrm>
              <a:off x="9738183" y="4795596"/>
              <a:ext cx="81783" cy="74198"/>
            </a:xfrm>
            <a:prstGeom prst="ellipse">
              <a:avLst/>
            </a:prstGeom>
            <a:solidFill>
              <a:srgbClr val="527083"/>
            </a:soli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575757"/>
                </a:solidFill>
                <a:latin typeface="Arial" pitchFamily="34" charset="0"/>
                <a:cs typeface="Arial" pitchFamily="34" charset="0"/>
              </a:endParaRPr>
            </a:p>
          </p:txBody>
        </p:sp>
        <p:cxnSp>
          <p:nvCxnSpPr>
            <p:cNvPr id="423" name="Straight Connector 838"/>
            <p:cNvCxnSpPr>
              <a:stCxn id="422" idx="4"/>
            </p:cNvCxnSpPr>
            <p:nvPr/>
          </p:nvCxnSpPr>
          <p:spPr>
            <a:xfrm rot="5400000">
              <a:off x="9479800" y="4807735"/>
              <a:ext cx="237218" cy="361333"/>
            </a:xfrm>
            <a:prstGeom prst="bentConnector2">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6" name="Straight Connector 838"/>
            <p:cNvCxnSpPr/>
            <p:nvPr/>
          </p:nvCxnSpPr>
          <p:spPr>
            <a:xfrm rot="10800000">
              <a:off x="7366210" y="4047434"/>
              <a:ext cx="3469973" cy="587586"/>
            </a:xfrm>
            <a:prstGeom prst="bentConnector3">
              <a:avLst>
                <a:gd name="adj1" fmla="val 13930"/>
              </a:avLst>
            </a:prstGeom>
            <a:ln w="9525" cap="flat" cmpd="sng" algn="ctr">
              <a:solidFill>
                <a:schemeClr val="bg2">
                  <a:lumMod val="2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0" name="Oval 829"/>
            <p:cNvSpPr/>
            <p:nvPr/>
          </p:nvSpPr>
          <p:spPr>
            <a:xfrm>
              <a:off x="10844509" y="4595328"/>
              <a:ext cx="81783" cy="74198"/>
            </a:xfrm>
            <a:prstGeom prst="ellipse">
              <a:avLst/>
            </a:prstGeom>
            <a:solidFill>
              <a:srgbClr val="527083"/>
            </a:soli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575757"/>
                </a:solidFill>
                <a:latin typeface="Arial" pitchFamily="34" charset="0"/>
                <a:cs typeface="Arial" pitchFamily="34" charset="0"/>
              </a:endParaRPr>
            </a:p>
          </p:txBody>
        </p:sp>
      </p:grpSp>
      <p:sp>
        <p:nvSpPr>
          <p:cNvPr id="969" name="TextBox 968"/>
          <p:cNvSpPr txBox="1"/>
          <p:nvPr/>
        </p:nvSpPr>
        <p:spPr>
          <a:xfrm>
            <a:off x="385100" y="1226393"/>
            <a:ext cx="3990058" cy="18581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dirty="0">
                <a:solidFill>
                  <a:schemeClr val="tx1">
                    <a:lumMod val="50000"/>
                    <a:lumOff val="50000"/>
                  </a:schemeClr>
                </a:solidFill>
                <a:latin typeface="Trebuchet MS" panose="020B0603020202020204" pitchFamily="34" charset="0"/>
              </a:rPr>
              <a:t>Sankey</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50000"/>
                    <a:lumOff val="50000"/>
                  </a:schemeClr>
                </a:solidFill>
                <a:latin typeface="Trebuchet MS" panose="020B0603020202020204" pitchFamily="34" charset="0"/>
              </a:rPr>
              <a:t>Source</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50000"/>
                    <a:lumOff val="50000"/>
                  </a:schemeClr>
                </a:solidFill>
                <a:latin typeface="Trebuchet MS" panose="020B0603020202020204" pitchFamily="34" charset="0"/>
              </a:rPr>
              <a:t>Target</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50000"/>
                    <a:lumOff val="50000"/>
                  </a:schemeClr>
                </a:solidFill>
                <a:latin typeface="Trebuchet MS" panose="020B0603020202020204" pitchFamily="34" charset="0"/>
              </a:rPr>
              <a:t>Measure</a:t>
            </a:r>
          </a:p>
          <a:p>
            <a:endParaRPr lang="en-US" dirty="0">
              <a:solidFill>
                <a:srgbClr val="575757"/>
              </a:solidFill>
            </a:endParaRPr>
          </a:p>
        </p:txBody>
      </p:sp>
      <p:sp>
        <p:nvSpPr>
          <p:cNvPr id="6" name="TextBox 5"/>
          <p:cNvSpPr txBox="1"/>
          <p:nvPr/>
        </p:nvSpPr>
        <p:spPr>
          <a:xfrm>
            <a:off x="148815" y="6533573"/>
            <a:ext cx="4922795" cy="2245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hlinkClick r:id="rId12"/>
              </a:rPr>
              <a:t>http://vizdiff.blogspot.com/Creating-Sankey-Chart-As-Easy-As-1-2-3.html</a:t>
            </a:r>
            <a:endParaRPr lang="en-US" sz="1000" dirty="0">
              <a:solidFill>
                <a:srgbClr val="575757"/>
              </a:solidFill>
            </a:endParaRPr>
          </a:p>
        </p:txBody>
      </p:sp>
    </p:spTree>
    <p:extLst>
      <p:ext uri="{BB962C8B-B14F-4D97-AF65-F5344CB8AC3E}">
        <p14:creationId xmlns:p14="http://schemas.microsoft.com/office/powerpoint/2010/main" val="3643241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WAyhGr4QxqG_2Adxshn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WAyhGr4QxqG_2Adxshn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9WAyhGr4QxqG_2Adxshn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Q7zjBPiS3GfVlzVGtHv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Q7zjBPiS3GfVlzVGtHv9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Y1mmycOTNSFDNeTnAaG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Y1mmycOTNSFDNeTnAaG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986</TotalTime>
  <Words>660</Words>
  <Application>Microsoft Macintosh PowerPoint</Application>
  <PresentationFormat>Widescreen</PresentationFormat>
  <Paragraphs>101</Paragraphs>
  <Slides>14</Slides>
  <Notes>1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4</vt:i4>
      </vt:variant>
      <vt:variant>
        <vt:lpstr>Custom Shows</vt:lpstr>
      </vt:variant>
      <vt:variant>
        <vt:i4>1</vt:i4>
      </vt:variant>
    </vt:vector>
  </HeadingPairs>
  <TitlesOfParts>
    <vt:vector size="19" baseType="lpstr">
      <vt:lpstr>Arial</vt:lpstr>
      <vt:lpstr>Trebuchet MS</vt:lpstr>
      <vt:lpstr>BCG Grid 16:9</vt:lpstr>
      <vt:lpstr>think-cell Slide</vt:lpstr>
      <vt:lpstr>PowerPoint Presentation</vt:lpstr>
      <vt:lpstr>Intro</vt:lpstr>
      <vt:lpstr>Visuals</vt:lpstr>
      <vt:lpstr>Process</vt:lpstr>
      <vt:lpstr>PowerPoint Presentation</vt:lpstr>
      <vt:lpstr>Bar chart of domestic routes by airline</vt:lpstr>
      <vt:lpstr>Revenue chart code</vt:lpstr>
      <vt:lpstr>Revenue charts</vt:lpstr>
      <vt:lpstr>Top destinations</vt:lpstr>
      <vt:lpstr>Top destinations</vt:lpstr>
      <vt:lpstr>Flight paths</vt:lpstr>
      <vt:lpstr>Flight paths</vt:lpstr>
      <vt:lpstr>Conclusion</vt:lpstr>
      <vt:lpstr>Question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Heloisa Walsh</cp:lastModifiedBy>
  <cp:revision>50</cp:revision>
  <cp:lastPrinted>2016-04-06T18:59:25Z</cp:lastPrinted>
  <dcterms:created xsi:type="dcterms:W3CDTF">2019-06-30T18:32:11Z</dcterms:created>
  <dcterms:modified xsi:type="dcterms:W3CDTF">2019-07-02T23:5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